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1.xml" ContentType="application/vnd.openxmlformats-officedocument.presentationml.notesSlide+xml"/>
  <Override PartName="/ppt/tags/tag48.xml" ContentType="application/vnd.openxmlformats-officedocument.presentationml.tags+xml"/>
  <Override PartName="/ppt/notesSlides/notesSlide12.xml" ContentType="application/vnd.openxmlformats-officedocument.presentationml.notesSlide+xml"/>
  <Override PartName="/ppt/tags/tag49.xml" ContentType="application/vnd.openxmlformats-officedocument.presentationml.tags+xml"/>
  <Override PartName="/ppt/notesSlides/notesSlide13.xml" ContentType="application/vnd.openxmlformats-officedocument.presentationml.notesSlide+xml"/>
  <Override PartName="/ppt/tags/tag50.xml" ContentType="application/vnd.openxmlformats-officedocument.presentationml.tags+xml"/>
  <Override PartName="/ppt/notesSlides/notesSlide14.xml" ContentType="application/vnd.openxmlformats-officedocument.presentationml.notesSlide+xml"/>
  <Override PartName="/ppt/tags/tag51.xml" ContentType="application/vnd.openxmlformats-officedocument.presentationml.tags+xml"/>
  <Override PartName="/ppt/notesSlides/notesSlide15.xml" ContentType="application/vnd.openxmlformats-officedocument.presentationml.notesSlide+xml"/>
  <Override PartName="/ppt/tags/tag52.xml" ContentType="application/vnd.openxmlformats-officedocument.presentationml.tags+xml"/>
  <Override PartName="/ppt/notesSlides/notesSlide16.xml" ContentType="application/vnd.openxmlformats-officedocument.presentationml.notesSlide+xml"/>
  <Override PartName="/ppt/tags/tag53.xml" ContentType="application/vnd.openxmlformats-officedocument.presentationml.tags+xml"/>
  <Override PartName="/ppt/notesSlides/notesSlide17.xml" ContentType="application/vnd.openxmlformats-officedocument.presentationml.notesSlide+xml"/>
  <Override PartName="/ppt/tags/tag54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0"/>
  </p:notesMasterIdLst>
  <p:handoutMasterIdLst>
    <p:handoutMasterId r:id="rId21"/>
  </p:handoutMasterIdLst>
  <p:sldIdLst>
    <p:sldId id="256" r:id="rId2"/>
    <p:sldId id="257" r:id="rId3"/>
    <p:sldId id="259" r:id="rId4"/>
    <p:sldId id="281" r:id="rId5"/>
    <p:sldId id="286" r:id="rId6"/>
    <p:sldId id="287" r:id="rId7"/>
    <p:sldId id="295" r:id="rId8"/>
    <p:sldId id="299" r:id="rId9"/>
    <p:sldId id="296" r:id="rId10"/>
    <p:sldId id="288" r:id="rId11"/>
    <p:sldId id="285" r:id="rId12"/>
    <p:sldId id="282" r:id="rId13"/>
    <p:sldId id="289" r:id="rId14"/>
    <p:sldId id="290" r:id="rId15"/>
    <p:sldId id="291" r:id="rId16"/>
    <p:sldId id="292" r:id="rId17"/>
    <p:sldId id="293" r:id="rId18"/>
    <p:sldId id="294" r:id="rId19"/>
  </p:sldIdLst>
  <p:sldSz cx="12195175" cy="6858000"/>
  <p:notesSz cx="6858000" cy="9144000"/>
  <p:custDataLst>
    <p:tags r:id="rId2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14157335-EB13-44B1-876C-26414CB51497}">
  <a:tblStyle styleId="{14157335-EB13-44B1-876C-26414CB51497}" styleName="M+H Table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9525" cmpd="sng">
              <a:solidFill>
                <a:srgbClr val="BFBFBF"/>
              </a:solidFill>
            </a:ln>
          </a:top>
          <a:bottom>
            <a:ln w="9525" cmpd="sng">
              <a:solidFill>
                <a:schemeClr val="accent1"/>
              </a:solidFill>
            </a:ln>
          </a:bottom>
          <a:insideH>
            <a:ln w="9525" cmpd="sng">
              <a:solidFill>
                <a:srgbClr val="BFBFBF"/>
              </a:solidFill>
            </a:ln>
          </a:insideH>
          <a:insideV>
            <a:ln w="9525" cmpd="sng">
              <a:solidFill>
                <a:srgbClr val="BFBFBF"/>
              </a:solidFill>
            </a:ln>
          </a:insideV>
        </a:tcBdr>
        <a:fill>
          <a:noFill/>
        </a:fill>
      </a:tcStyle>
    </a:wholeTbl>
    <a:lastCol>
      <a:tcTxStyle>
        <a:fontRef idx="minor">
          <a:prstClr val="black"/>
        </a:fontRef>
        <a:schemeClr val="dk1"/>
      </a:tcTxStyle>
      <a:tcStyle>
        <a:tcBdr/>
        <a:fill>
          <a:solidFill>
            <a:schemeClr val="bg2"/>
          </a:solidFill>
        </a:fill>
      </a:tcStyle>
    </a:lastCol>
    <a:firstCol>
      <a:tcTxStyle>
        <a:fontRef idx="minor">
          <a:prstClr val="black"/>
        </a:fontRef>
        <a:schemeClr val="dk1"/>
      </a:tcTxStyle>
      <a:tcStyle>
        <a:tcBdr/>
        <a:fill>
          <a:solidFill>
            <a:schemeClr val="lt2"/>
          </a:solidFill>
        </a:fill>
      </a:tcStyle>
    </a:firstCol>
    <a:lastRow>
      <a:tcTxStyle>
        <a:fontRef idx="min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  <a:insideV>
            <a:ln w="9525" cmpd="sng">
              <a:solidFill>
                <a:srgbClr val="FFFFFF"/>
              </a:solidFill>
            </a:ln>
          </a:insideV>
        </a:tcBdr>
        <a:fill>
          <a:solidFill>
            <a:srgbClr val="B1D9A1"/>
          </a:solidFill>
        </a:fill>
      </a:tcStyle>
    </a:lastRow>
    <a:se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rgbClr val="3CA014"/>
          </a:solidFill>
        </a:fill>
      </a:tcStyle>
    </a:seCell>
    <a:swCell>
      <a:tcTxStyle>
        <a:fontRef idx="minor">
          <a:prstClr val="black"/>
        </a:fontRef>
        <a:schemeClr val="lt1"/>
      </a:tcTxStyle>
      <a:tcStyle>
        <a:tcBdr>
          <a:top>
            <a:ln>
              <a:noFill/>
            </a:ln>
          </a:top>
        </a:tcBdr>
        <a:fill>
          <a:solidFill>
            <a:srgbClr val="3CA014"/>
          </a:solidFill>
        </a:fill>
      </a:tcStyle>
    </a:swCell>
    <a:firstRow>
      <a:tcTxStyle b="on"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8575" cmpd="sng">
              <a:solidFill>
                <a:schemeClr val="accent1"/>
              </a:solidFill>
            </a:ln>
          </a:top>
          <a:bottom>
            <a:ln w="9525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03" autoAdjust="0"/>
    <p:restoredTop sz="90857" autoAdjust="0"/>
  </p:normalViewPr>
  <p:slideViewPr>
    <p:cSldViewPr showGuides="1">
      <p:cViewPr>
        <p:scale>
          <a:sx n="75" d="100"/>
          <a:sy n="75" d="100"/>
        </p:scale>
        <p:origin x="-1704" y="-678"/>
      </p:cViewPr>
      <p:guideLst>
        <p:guide orient="horz" pos="3748"/>
        <p:guide orient="horz" pos="1071"/>
        <p:guide pos="3478"/>
        <p:guide pos="3705"/>
        <p:guide pos="7560"/>
        <p:guide pos="348"/>
        <p:guide pos="2390"/>
        <p:guide pos="2616"/>
        <p:guide pos="4567"/>
        <p:guide pos="4794"/>
        <p:guide pos="6835"/>
        <p:guide pos="12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0" d="100"/>
          <a:sy n="90" d="100"/>
        </p:scale>
        <p:origin x="-3744" y="-96"/>
      </p:cViewPr>
      <p:guideLst>
        <p:guide orient="horz" pos="5193"/>
        <p:guide orient="horz" pos="1791"/>
        <p:guide orient="horz" pos="249"/>
        <p:guide pos="300"/>
        <p:guide pos="402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29328" y="8408322"/>
            <a:ext cx="1152000" cy="417317"/>
          </a:xfrm>
          <a:prstGeom prst="rect">
            <a:avLst/>
          </a:prstGeom>
        </p:spPr>
      </p:pic>
      <p:sp>
        <p:nvSpPr>
          <p:cNvPr id="11" name="Rechteck 10"/>
          <p:cNvSpPr/>
          <p:nvPr/>
        </p:nvSpPr>
        <p:spPr bwMode="gray">
          <a:xfrm>
            <a:off x="476672" y="8542814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 smtClean="0">
              <a:solidFill>
                <a:schemeClr val="accent1"/>
              </a:solidFill>
            </a:endParaRPr>
          </a:p>
        </p:txBody>
      </p:sp>
      <p:sp>
        <p:nvSpPr>
          <p:cNvPr id="12" name="Rechteck 11"/>
          <p:cNvSpPr/>
          <p:nvPr/>
        </p:nvSpPr>
        <p:spPr bwMode="gray">
          <a:xfrm>
            <a:off x="1340048" y="8554719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TT.MM.JJJJ xxx</a:t>
            </a:r>
          </a:p>
        </p:txBody>
      </p:sp>
      <p:sp>
        <p:nvSpPr>
          <p:cNvPr id="13" name="Rechteck 12"/>
          <p:cNvSpPr/>
          <p:nvPr/>
        </p:nvSpPr>
        <p:spPr bwMode="gray">
          <a:xfrm>
            <a:off x="1340048" y="8703225"/>
            <a:ext cx="3492000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Title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of presentation</a:t>
            </a:r>
            <a:endParaRPr lang="en-US" sz="1000" noProof="0" dirty="0" smtClean="0">
              <a:solidFill>
                <a:schemeClr val="tx1"/>
              </a:solidFill>
            </a:endParaRPr>
          </a:p>
        </p:txBody>
      </p:sp>
      <p:cxnSp>
        <p:nvCxnSpPr>
          <p:cNvPr id="14" name="Gerade Verbindung 13"/>
          <p:cNvCxnSpPr/>
          <p:nvPr/>
        </p:nvCxnSpPr>
        <p:spPr bwMode="gray">
          <a:xfrm>
            <a:off x="1268760" y="8582925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43138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6672" y="397768"/>
            <a:ext cx="4092486" cy="2302024"/>
          </a:xfrm>
          <a:prstGeom prst="rect">
            <a:avLst/>
          </a:prstGeom>
          <a:noFill/>
          <a:ln w="6350">
            <a:solidFill>
              <a:schemeClr val="accent5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6249" y="2843213"/>
            <a:ext cx="5905501" cy="5400676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  <a:p>
            <a:pPr lvl="5"/>
            <a:r>
              <a:rPr lang="de-DE" dirty="0" smtClean="0"/>
              <a:t>6</a:t>
            </a:r>
          </a:p>
          <a:p>
            <a:pPr lvl="6"/>
            <a:r>
              <a:rPr lang="de-DE" dirty="0" smtClean="0"/>
              <a:t>7</a:t>
            </a:r>
          </a:p>
          <a:p>
            <a:pPr lvl="7"/>
            <a:r>
              <a:rPr lang="de-DE" dirty="0" smtClean="0"/>
              <a:t>8</a:t>
            </a:r>
          </a:p>
          <a:p>
            <a:pPr lvl="8"/>
            <a:r>
              <a:rPr lang="de-DE" dirty="0" smtClean="0"/>
              <a:t>9</a:t>
            </a:r>
            <a:endParaRPr lang="de-DE" dirty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229328" y="8408322"/>
            <a:ext cx="1152000" cy="417317"/>
          </a:xfrm>
          <a:prstGeom prst="rect">
            <a:avLst/>
          </a:prstGeom>
        </p:spPr>
      </p:pic>
      <p:sp>
        <p:nvSpPr>
          <p:cNvPr id="13" name="Rechteck 12"/>
          <p:cNvSpPr/>
          <p:nvPr/>
        </p:nvSpPr>
        <p:spPr bwMode="gray">
          <a:xfrm>
            <a:off x="476672" y="8542814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 smtClean="0">
              <a:solidFill>
                <a:schemeClr val="accent1"/>
              </a:solidFill>
            </a:endParaRPr>
          </a:p>
        </p:txBody>
      </p:sp>
      <p:sp>
        <p:nvSpPr>
          <p:cNvPr id="14" name="Rechteck 13"/>
          <p:cNvSpPr/>
          <p:nvPr/>
        </p:nvSpPr>
        <p:spPr bwMode="gray">
          <a:xfrm>
            <a:off x="1340048" y="8554719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TT.MM.JJJJ xxx</a:t>
            </a:r>
          </a:p>
        </p:txBody>
      </p:sp>
      <p:sp>
        <p:nvSpPr>
          <p:cNvPr id="15" name="Rechteck 14"/>
          <p:cNvSpPr/>
          <p:nvPr/>
        </p:nvSpPr>
        <p:spPr bwMode="gray">
          <a:xfrm>
            <a:off x="1340048" y="8703225"/>
            <a:ext cx="3492000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Title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of presentation</a:t>
            </a:r>
            <a:endParaRPr lang="en-US" sz="1000" noProof="0" dirty="0" smtClean="0">
              <a:solidFill>
                <a:schemeClr val="tx1"/>
              </a:solidFill>
            </a:endParaRPr>
          </a:p>
        </p:txBody>
      </p:sp>
      <p:cxnSp>
        <p:nvCxnSpPr>
          <p:cNvPr id="16" name="Gerade Verbindung 15"/>
          <p:cNvCxnSpPr/>
          <p:nvPr/>
        </p:nvCxnSpPr>
        <p:spPr bwMode="gray">
          <a:xfrm>
            <a:off x="1268760" y="8582925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8345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18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36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54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72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900000" indent="-180000" algn="l" defTabSz="914400" rtl="0" eaLnBrk="1" latinLnBrk="0" hangingPunct="1">
      <a:buClr>
        <a:schemeClr val="accent6"/>
      </a:buClr>
      <a:buFont typeface="Wingdings" panose="05000000000000000000" pitchFamily="2" charset="2"/>
      <a:buChar char="§"/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369581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95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1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02201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None/>
              <a:tabLst/>
              <a:defRPr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1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0642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5204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951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625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1100" dirty="0" smtClean="0"/>
              <a:t>As a global player, 20,000 employees work for us at </a:t>
            </a:r>
            <a:br>
              <a:rPr lang="en-US" sz="1100" dirty="0" smtClean="0"/>
            </a:br>
            <a:r>
              <a:rPr lang="en-US" sz="1100" dirty="0" smtClean="0"/>
              <a:t>more than 70 locations on five continents.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1100" dirty="0" smtClean="0"/>
              <a:t>Each second, 24 MANN+HUMMEL filters are </a:t>
            </a:r>
            <a:br>
              <a:rPr lang="en-US" sz="1100" dirty="0" smtClean="0"/>
            </a:br>
            <a:r>
              <a:rPr lang="en-US" sz="1100" dirty="0" smtClean="0"/>
              <a:t>produced, shipped, sold and installed worldwide.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en-US" sz="1100" dirty="0" smtClean="0"/>
              <a:t>We regularly count among the top patent applicants in Germany.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en-US" sz="1100" dirty="0" smtClean="0"/>
              <a:t>We hold more than 3,000 patent applications, patents and utility models.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mbol" panose="05050102010706020507" pitchFamily="18" charset="2"/>
              <a:buChar char="-"/>
              <a:tabLst/>
              <a:defRPr/>
            </a:pPr>
            <a:r>
              <a:rPr lang="en-US" sz="1100" dirty="0" smtClean="0"/>
              <a:t>We understand the requirements and demands of </a:t>
            </a:r>
            <a:br>
              <a:rPr lang="en-US" sz="1100" dirty="0" smtClean="0"/>
            </a:br>
            <a:r>
              <a:rPr lang="en-US" sz="1100" dirty="0" smtClean="0"/>
              <a:t>customer and markets throughout the world. </a:t>
            </a:r>
          </a:p>
          <a:p>
            <a:pPr marL="171450" indent="-171450">
              <a:buFont typeface="Symbol" panose="05050102010706020507" pitchFamily="18" charset="2"/>
              <a:buChar char="-"/>
            </a:pPr>
            <a:r>
              <a:rPr lang="en-US" sz="1100" dirty="0" smtClean="0"/>
              <a:t>Today, we make about 4 billion euros in sales revenu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74633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95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350460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903951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750093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81000" y="398463"/>
            <a:ext cx="4092575" cy="23018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>
          <a:xfrm>
            <a:off x="404664" y="8676472"/>
            <a:ext cx="648000" cy="288000"/>
          </a:xfrm>
          <a:prstGeom prst="rect">
            <a:avLst/>
          </a:prstGeom>
        </p:spPr>
        <p:txBody>
          <a:bodyPr/>
          <a:lstStyle/>
          <a:p>
            <a:fld id="{CE82B8A1-0CCE-4815-9668-383D7DE7D8B4}" type="slidenum">
              <a:rPr lang="de-DE" smtClean="0"/>
              <a:pPr/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2926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kt 2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1307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13"/>
          <p:cNvSpPr/>
          <p:nvPr userDrawn="1"/>
        </p:nvSpPr>
        <p:spPr bwMode="gray">
          <a:xfrm>
            <a:off x="193675" y="6237312"/>
            <a:ext cx="10080376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 err="1" smtClean="0">
              <a:solidFill>
                <a:schemeClr val="bg1"/>
              </a:solidFill>
            </a:endParaRPr>
          </a:p>
        </p:txBody>
      </p:sp>
      <p:pic>
        <p:nvPicPr>
          <p:cNvPr id="3199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el 1"/>
          <p:cNvSpPr>
            <a:spLocks noGrp="1" noChangeAspect="1"/>
          </p:cNvSpPr>
          <p:nvPr>
            <p:ph type="ctrTitle" hasCustomPrompt="1"/>
          </p:nvPr>
        </p:nvSpPr>
        <p:spPr bwMode="gray">
          <a:xfrm>
            <a:off x="4225379" y="1196752"/>
            <a:ext cx="3744416" cy="3744416"/>
          </a:xfrm>
          <a:blipFill>
            <a:blip r:embed="rId7"/>
            <a:stretch>
              <a:fillRect/>
            </a:stretch>
          </a:blipFill>
        </p:spPr>
        <p:txBody>
          <a:bodyPr lIns="180000" tIns="144000" rIns="180000" bIns="144000">
            <a:noAutofit/>
          </a:bodyPr>
          <a:lstStyle>
            <a:lvl1pPr>
              <a:defRPr sz="2800" baseline="0"/>
            </a:lvl1pPr>
          </a:lstStyle>
          <a:p>
            <a:r>
              <a:rPr lang="en-US" dirty="0" smtClean="0"/>
              <a:t>Title of presentation (M+H green &amp;     M+H light-green) </a:t>
            </a:r>
            <a:endParaRPr lang="en-US" dirty="0"/>
          </a:p>
        </p:txBody>
      </p:sp>
      <p:pic>
        <p:nvPicPr>
          <p:cNvPr id="3157" name="Picture 85"/>
          <p:cNvPicPr>
            <a:picLocks noChangeAspect="1" noChangeArrowheads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0115" y="6195317"/>
            <a:ext cx="1152000" cy="417317"/>
          </a:xfrm>
          <a:prstGeom prst="rect">
            <a:avLst/>
          </a:prstGeom>
        </p:spPr>
      </p:pic>
      <p:sp>
        <p:nvSpPr>
          <p:cNvPr id="23" name="Textplatzhalter 2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225379" y="4581128"/>
            <a:ext cx="3744416" cy="360040"/>
          </a:xfrm>
        </p:spPr>
        <p:txBody>
          <a:bodyPr lIns="180000" rIns="180000" anchor="t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400"/>
            </a:lvl1pPr>
            <a:lvl2pPr marL="0" indent="0">
              <a:spcAft>
                <a:spcPts val="0"/>
              </a:spcAft>
              <a:buNone/>
              <a:defRPr sz="1400"/>
            </a:lvl2pPr>
            <a:lvl3pPr marL="0" indent="0">
              <a:spcAft>
                <a:spcPts val="0"/>
              </a:spcAft>
              <a:buNone/>
              <a:defRPr sz="1400"/>
            </a:lvl3pPr>
            <a:lvl4pPr marL="0" indent="0">
              <a:spcAft>
                <a:spcPts val="0"/>
              </a:spcAft>
              <a:buNone/>
              <a:defRPr sz="1400"/>
            </a:lvl4pPr>
            <a:lvl5pPr marL="0" indent="0">
              <a:spcAft>
                <a:spcPts val="0"/>
              </a:spcAft>
              <a:buNone/>
              <a:defRPr sz="1400"/>
            </a:lvl5pPr>
            <a:lvl6pPr marL="0" indent="0">
              <a:spcAft>
                <a:spcPts val="0"/>
              </a:spcAft>
              <a:buNone/>
              <a:defRPr sz="1400"/>
            </a:lvl6pPr>
            <a:lvl7pPr marL="0" indent="0">
              <a:spcAft>
                <a:spcPts val="0"/>
              </a:spcAft>
              <a:buNone/>
              <a:defRPr sz="1400"/>
            </a:lvl7pPr>
            <a:lvl8pPr marL="0" indent="0">
              <a:spcAft>
                <a:spcPts val="0"/>
              </a:spcAft>
              <a:buNone/>
              <a:defRPr sz="1400"/>
            </a:lvl8pPr>
            <a:lvl9pPr marL="0" indent="0">
              <a:spcAft>
                <a:spcPts val="0"/>
              </a:spcAft>
              <a:buNone/>
              <a:defRPr sz="1400"/>
            </a:lvl9pPr>
          </a:lstStyle>
          <a:p>
            <a:pPr lvl="0"/>
            <a:r>
              <a:rPr lang="en-US" noProof="0" dirty="0" smtClean="0"/>
              <a:t>Date</a:t>
            </a:r>
            <a:endParaRPr lang="en-US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225379" y="4077072"/>
            <a:ext cx="3744416" cy="504056"/>
          </a:xfrm>
        </p:spPr>
        <p:txBody>
          <a:bodyPr lIns="180000" rIns="180000" anchor="b">
            <a:noAutofit/>
          </a:bodyPr>
          <a:lstStyle>
            <a:lvl1pPr marL="0" indent="0" algn="l">
              <a:spcBef>
                <a:spcPts val="200"/>
              </a:spcBef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</a:defRPr>
            </a:lvl1pPr>
            <a:lvl2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spcBef>
                <a:spcPts val="20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US" dirty="0" smtClean="0"/>
              <a:t>Author</a:t>
            </a:r>
            <a:br>
              <a:rPr lang="en-US" dirty="0" smtClean="0"/>
            </a:br>
            <a:r>
              <a:rPr lang="en-US" dirty="0" smtClean="0"/>
              <a:t>Place</a:t>
            </a:r>
          </a:p>
        </p:txBody>
      </p:sp>
    </p:spTree>
    <p:extLst>
      <p:ext uri="{BB962C8B-B14F-4D97-AF65-F5344CB8AC3E}">
        <p14:creationId xmlns:p14="http://schemas.microsoft.com/office/powerpoint/2010/main" val="56625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80495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3675" y="188914"/>
            <a:ext cx="11808568" cy="5761036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576000"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Insert a picture here</a:t>
            </a:r>
          </a:p>
        </p:txBody>
      </p:sp>
    </p:spTree>
    <p:extLst>
      <p:ext uri="{BB962C8B-B14F-4D97-AF65-F5344CB8AC3E}">
        <p14:creationId xmlns:p14="http://schemas.microsoft.com/office/powerpoint/2010/main" val="197489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95003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smtClean="0">
              <a:solidFill>
                <a:schemeClr val="bg1"/>
              </a:solidFill>
            </a:endParaRP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3" hasCustomPrompt="1"/>
          </p:nvPr>
        </p:nvSpPr>
        <p:spPr bwMode="gray">
          <a:xfrm>
            <a:off x="192931" y="188640"/>
            <a:ext cx="11809312" cy="6480719"/>
          </a:xfrm>
          <a:solidFill>
            <a:schemeClr val="bg1"/>
          </a:solidFill>
        </p:spPr>
        <p:txBody>
          <a:bodyPr lIns="0" tIns="576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 smtClean="0"/>
              <a:t>Insert a picture he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97217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291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smtClean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Gruppierung 2"/>
          <p:cNvGrpSpPr>
            <a:grpSpLocks noChangeAspect="1"/>
          </p:cNvGrpSpPr>
          <p:nvPr userDrawn="1"/>
        </p:nvGrpSpPr>
        <p:grpSpPr bwMode="gray">
          <a:xfrm rot="21208675">
            <a:off x="2079691" y="1743276"/>
            <a:ext cx="4105944" cy="2659484"/>
            <a:chOff x="3013829" y="1420446"/>
            <a:chExt cx="3412816" cy="2210534"/>
          </a:xfrm>
        </p:grpSpPr>
        <p:sp>
          <p:nvSpPr>
            <p:cNvPr id="10" name="Rechteck 9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12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13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4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5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6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7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8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19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0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1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2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3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24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3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611" y="296485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27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4154" y="256532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 smtClean="0"/>
              <a:t>Name Surname</a:t>
            </a:r>
          </a:p>
        </p:txBody>
      </p:sp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7250113" y="2636912"/>
            <a:ext cx="3600450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&lt;Thank you!&gt;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894" y="346763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29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6192" y="324011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x</a:t>
            </a:r>
            <a:br>
              <a:rPr lang="en-US" noProof="0" dirty="0" smtClean="0"/>
            </a:br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pic>
        <p:nvPicPr>
          <p:cNvPr id="31" name="Picture 8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604792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013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9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smtClean="0">
              <a:solidFill>
                <a:schemeClr val="bg1"/>
              </a:solidFill>
            </a:endParaRPr>
          </a:p>
        </p:txBody>
      </p:sp>
      <p:pic>
        <p:nvPicPr>
          <p:cNvPr id="3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Textplatzhalter 6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939923" y="980776"/>
            <a:ext cx="8910639" cy="432000"/>
          </a:xfrm>
          <a:prstGeom prst="rect">
            <a:avLst/>
          </a:prstGeom>
        </p:spPr>
        <p:txBody>
          <a:bodyPr anchor="t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2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4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&lt;Thank you!&gt;</a:t>
            </a:r>
          </a:p>
        </p:txBody>
      </p:sp>
      <p:pic>
        <p:nvPicPr>
          <p:cNvPr id="51" name="Picture 8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2" name="Gruppierung 2"/>
          <p:cNvGrpSpPr>
            <a:grpSpLocks noChangeAspect="1"/>
          </p:cNvGrpSpPr>
          <p:nvPr userDrawn="1"/>
        </p:nvGrpSpPr>
        <p:grpSpPr bwMode="gray">
          <a:xfrm rot="21208675">
            <a:off x="2079690" y="2067126"/>
            <a:ext cx="4105944" cy="2659484"/>
            <a:chOff x="3013829" y="1420446"/>
            <a:chExt cx="3412816" cy="2210534"/>
          </a:xfrm>
        </p:grpSpPr>
        <p:sp>
          <p:nvSpPr>
            <p:cNvPr id="53" name="Rechteck 52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54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55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6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7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59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0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1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2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3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4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5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66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67" name="Textplatzhalter 2"/>
          <p:cNvSpPr>
            <a:spLocks noGrp="1"/>
          </p:cNvSpPr>
          <p:nvPr>
            <p:ph type="body" sz="quarter" idx="17" hasCustomPrompt="1"/>
          </p:nvPr>
        </p:nvSpPr>
        <p:spPr bwMode="gray">
          <a:xfrm rot="21180000">
            <a:off x="2333610" y="328870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68" name="Titel 5"/>
          <p:cNvSpPr>
            <a:spLocks noGrp="1"/>
          </p:cNvSpPr>
          <p:nvPr>
            <p:ph type="title" hasCustomPrompt="1"/>
          </p:nvPr>
        </p:nvSpPr>
        <p:spPr bwMode="gray">
          <a:xfrm rot="21180000">
            <a:off x="2294153" y="2889174"/>
            <a:ext cx="3711182" cy="400459"/>
          </a:xfrm>
          <a:solidFill>
            <a:schemeClr val="bg1"/>
          </a:solidFill>
        </p:spPr>
        <p:txBody>
          <a:bodyPr vert="horz" lIns="0" tIns="0" rIns="0" bIns="0" anchor="b">
            <a:noAutofit/>
          </a:bodyPr>
          <a:lstStyle>
            <a:lvl1pPr marL="0" marR="0" indent="0" algn="l" defTabSz="4572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/>
            </a:lvl1pPr>
          </a:lstStyle>
          <a:p>
            <a:r>
              <a:rPr lang="en-US" noProof="0" dirty="0" smtClean="0"/>
              <a:t>Name Surname</a:t>
            </a:r>
          </a:p>
        </p:txBody>
      </p:sp>
      <p:sp>
        <p:nvSpPr>
          <p:cNvPr id="69" name="Textplatzhalter 3"/>
          <p:cNvSpPr>
            <a:spLocks noGrp="1"/>
          </p:cNvSpPr>
          <p:nvPr>
            <p:ph type="body" sz="quarter" idx="19" hasCustomPrompt="1"/>
          </p:nvPr>
        </p:nvSpPr>
        <p:spPr bwMode="gray">
          <a:xfrm rot="21179971">
            <a:off x="2415893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70" name="Textplatzhalter 3"/>
          <p:cNvSpPr>
            <a:spLocks noGrp="1"/>
          </p:cNvSpPr>
          <p:nvPr>
            <p:ph type="body" sz="quarter" idx="20" hasCustomPrompt="1"/>
          </p:nvPr>
        </p:nvSpPr>
        <p:spPr bwMode="gray">
          <a:xfrm rot="21179971">
            <a:off x="3976191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 xxx</a:t>
            </a:r>
            <a:br>
              <a:rPr lang="en-US" noProof="0" dirty="0" smtClean="0"/>
            </a:br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grpSp>
        <p:nvGrpSpPr>
          <p:cNvPr id="71" name="Gruppierung 2"/>
          <p:cNvGrpSpPr>
            <a:grpSpLocks noChangeAspect="1"/>
          </p:cNvGrpSpPr>
          <p:nvPr userDrawn="1"/>
        </p:nvGrpSpPr>
        <p:grpSpPr bwMode="gray">
          <a:xfrm rot="21208675">
            <a:off x="6091325" y="2067126"/>
            <a:ext cx="4105944" cy="2659484"/>
            <a:chOff x="3013829" y="1420446"/>
            <a:chExt cx="3412816" cy="2210534"/>
          </a:xfrm>
        </p:grpSpPr>
        <p:sp>
          <p:nvSpPr>
            <p:cNvPr id="72" name="Rechteck 71"/>
            <p:cNvSpPr/>
            <p:nvPr/>
          </p:nvSpPr>
          <p:spPr bwMode="gray">
            <a:xfrm>
              <a:off x="3013829" y="1420446"/>
              <a:ext cx="3412816" cy="2210534"/>
            </a:xfrm>
            <a:prstGeom prst="rect">
              <a:avLst/>
            </a:prstGeom>
            <a:solidFill>
              <a:schemeClr val="bg1"/>
            </a:solidFill>
            <a:ln w="28575" cap="sq" cmpd="sng">
              <a:noFill/>
              <a:miter lim="800000"/>
            </a:ln>
            <a:effectLst>
              <a:outerShdw blurRad="65000" dist="50800" dir="12900000" kx="195000" ky="145000" algn="tl" rotWithShape="0">
                <a:srgbClr val="000000">
                  <a:alpha val="30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noProof="0" dirty="0"/>
            </a:p>
          </p:txBody>
        </p:sp>
        <p:grpSp>
          <p:nvGrpSpPr>
            <p:cNvPr id="73" name="Gruppierung 17"/>
            <p:cNvGrpSpPr/>
            <p:nvPr userDrawn="1"/>
          </p:nvGrpSpPr>
          <p:grpSpPr bwMode="gray">
            <a:xfrm>
              <a:off x="5378643" y="1587443"/>
              <a:ext cx="883009" cy="319627"/>
              <a:chOff x="2627313" y="2133600"/>
              <a:chExt cx="5210175" cy="1885950"/>
            </a:xfrm>
            <a:solidFill>
              <a:schemeClr val="accent1"/>
            </a:solidFill>
          </p:grpSpPr>
          <p:sp>
            <p:nvSpPr>
              <p:cNvPr id="74" name="Freeform 6"/>
              <p:cNvSpPr>
                <a:spLocks/>
              </p:cNvSpPr>
              <p:nvPr userDrawn="1"/>
            </p:nvSpPr>
            <p:spPr bwMode="gray">
              <a:xfrm>
                <a:off x="2627313" y="3159125"/>
                <a:ext cx="749300" cy="847725"/>
              </a:xfrm>
              <a:custGeom>
                <a:avLst/>
                <a:gdLst/>
                <a:ahLst/>
                <a:cxnLst>
                  <a:cxn ang="0">
                    <a:pos x="354" y="534"/>
                  </a:cxn>
                  <a:cxn ang="0">
                    <a:pos x="354" y="320"/>
                  </a:cxn>
                  <a:cxn ang="0">
                    <a:pos x="118" y="320"/>
                  </a:cxn>
                  <a:cxn ang="0">
                    <a:pos x="118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18" y="0"/>
                  </a:cxn>
                  <a:cxn ang="0">
                    <a:pos x="118" y="212"/>
                  </a:cxn>
                  <a:cxn ang="0">
                    <a:pos x="354" y="212"/>
                  </a:cxn>
                  <a:cxn ang="0">
                    <a:pos x="354" y="0"/>
                  </a:cxn>
                  <a:cxn ang="0">
                    <a:pos x="472" y="0"/>
                  </a:cxn>
                  <a:cxn ang="0">
                    <a:pos x="472" y="534"/>
                  </a:cxn>
                  <a:cxn ang="0">
                    <a:pos x="354" y="534"/>
                  </a:cxn>
                </a:cxnLst>
                <a:rect l="0" t="0" r="r" b="b"/>
                <a:pathLst>
                  <a:path w="472" h="534">
                    <a:moveTo>
                      <a:pt x="354" y="534"/>
                    </a:moveTo>
                    <a:lnTo>
                      <a:pt x="354" y="320"/>
                    </a:lnTo>
                    <a:lnTo>
                      <a:pt x="118" y="320"/>
                    </a:lnTo>
                    <a:lnTo>
                      <a:pt x="118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212"/>
                    </a:lnTo>
                    <a:lnTo>
                      <a:pt x="354" y="212"/>
                    </a:lnTo>
                    <a:lnTo>
                      <a:pt x="354" y="0"/>
                    </a:lnTo>
                    <a:lnTo>
                      <a:pt x="472" y="0"/>
                    </a:lnTo>
                    <a:lnTo>
                      <a:pt x="472" y="534"/>
                    </a:lnTo>
                    <a:lnTo>
                      <a:pt x="354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5" name="Freeform 7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6" name="Freeform 8"/>
              <p:cNvSpPr>
                <a:spLocks/>
              </p:cNvSpPr>
              <p:nvPr userDrawn="1"/>
            </p:nvSpPr>
            <p:spPr bwMode="gray">
              <a:xfrm>
                <a:off x="3544888" y="3159125"/>
                <a:ext cx="733425" cy="860425"/>
              </a:xfrm>
              <a:custGeom>
                <a:avLst/>
                <a:gdLst/>
                <a:ahLst/>
                <a:cxnLst>
                  <a:cxn ang="0">
                    <a:pos x="230" y="542"/>
                  </a:cxn>
                  <a:cxn ang="0">
                    <a:pos x="178" y="540"/>
                  </a:cxn>
                  <a:cxn ang="0">
                    <a:pos x="132" y="528"/>
                  </a:cxn>
                  <a:cxn ang="0">
                    <a:pos x="94" y="510"/>
                  </a:cxn>
                  <a:cxn ang="0">
                    <a:pos x="60" y="484"/>
                  </a:cxn>
                  <a:cxn ang="0">
                    <a:pos x="34" y="450"/>
                  </a:cxn>
                  <a:cxn ang="0">
                    <a:pos x="16" y="408"/>
                  </a:cxn>
                  <a:cxn ang="0">
                    <a:pos x="4" y="360"/>
                  </a:cxn>
                  <a:cxn ang="0">
                    <a:pos x="0" y="306"/>
                  </a:cxn>
                  <a:cxn ang="0">
                    <a:pos x="118" y="0"/>
                  </a:cxn>
                  <a:cxn ang="0">
                    <a:pos x="118" y="302"/>
                  </a:cxn>
                  <a:cxn ang="0">
                    <a:pos x="124" y="360"/>
                  </a:cxn>
                  <a:cxn ang="0">
                    <a:pos x="134" y="382"/>
                  </a:cxn>
                  <a:cxn ang="0">
                    <a:pos x="148" y="400"/>
                  </a:cxn>
                  <a:cxn ang="0">
                    <a:pos x="164" y="416"/>
                  </a:cxn>
                  <a:cxn ang="0">
                    <a:pos x="182" y="426"/>
                  </a:cxn>
                  <a:cxn ang="0">
                    <a:pos x="206" y="432"/>
                  </a:cxn>
                  <a:cxn ang="0">
                    <a:pos x="230" y="434"/>
                  </a:cxn>
                  <a:cxn ang="0">
                    <a:pos x="278" y="426"/>
                  </a:cxn>
                  <a:cxn ang="0">
                    <a:pos x="298" y="416"/>
                  </a:cxn>
                  <a:cxn ang="0">
                    <a:pos x="314" y="402"/>
                  </a:cxn>
                  <a:cxn ang="0">
                    <a:pos x="328" y="384"/>
                  </a:cxn>
                  <a:cxn ang="0">
                    <a:pos x="336" y="362"/>
                  </a:cxn>
                  <a:cxn ang="0">
                    <a:pos x="344" y="306"/>
                  </a:cxn>
                  <a:cxn ang="0">
                    <a:pos x="462" y="0"/>
                  </a:cxn>
                  <a:cxn ang="0">
                    <a:pos x="462" y="302"/>
                  </a:cxn>
                  <a:cxn ang="0">
                    <a:pos x="458" y="358"/>
                  </a:cxn>
                  <a:cxn ang="0">
                    <a:pos x="446" y="408"/>
                  </a:cxn>
                  <a:cxn ang="0">
                    <a:pos x="426" y="450"/>
                  </a:cxn>
                  <a:cxn ang="0">
                    <a:pos x="400" y="482"/>
                  </a:cxn>
                  <a:cxn ang="0">
                    <a:pos x="366" y="510"/>
                  </a:cxn>
                  <a:cxn ang="0">
                    <a:pos x="326" y="528"/>
                  </a:cxn>
                  <a:cxn ang="0">
                    <a:pos x="280" y="540"/>
                  </a:cxn>
                  <a:cxn ang="0">
                    <a:pos x="230" y="542"/>
                  </a:cxn>
                </a:cxnLst>
                <a:rect l="0" t="0" r="r" b="b"/>
                <a:pathLst>
                  <a:path w="462" h="542">
                    <a:moveTo>
                      <a:pt x="230" y="542"/>
                    </a:moveTo>
                    <a:lnTo>
                      <a:pt x="230" y="542"/>
                    </a:lnTo>
                    <a:lnTo>
                      <a:pt x="204" y="542"/>
                    </a:lnTo>
                    <a:lnTo>
                      <a:pt x="178" y="540"/>
                    </a:lnTo>
                    <a:lnTo>
                      <a:pt x="154" y="534"/>
                    </a:lnTo>
                    <a:lnTo>
                      <a:pt x="132" y="528"/>
                    </a:lnTo>
                    <a:lnTo>
                      <a:pt x="112" y="520"/>
                    </a:lnTo>
                    <a:lnTo>
                      <a:pt x="94" y="510"/>
                    </a:lnTo>
                    <a:lnTo>
                      <a:pt x="76" y="498"/>
                    </a:lnTo>
                    <a:lnTo>
                      <a:pt x="60" y="484"/>
                    </a:lnTo>
                    <a:lnTo>
                      <a:pt x="46" y="468"/>
                    </a:lnTo>
                    <a:lnTo>
                      <a:pt x="34" y="450"/>
                    </a:lnTo>
                    <a:lnTo>
                      <a:pt x="24" y="430"/>
                    </a:lnTo>
                    <a:lnTo>
                      <a:pt x="16" y="408"/>
                    </a:lnTo>
                    <a:lnTo>
                      <a:pt x="8" y="386"/>
                    </a:lnTo>
                    <a:lnTo>
                      <a:pt x="4" y="360"/>
                    </a:lnTo>
                    <a:lnTo>
                      <a:pt x="0" y="334"/>
                    </a:lnTo>
                    <a:lnTo>
                      <a:pt x="0" y="306"/>
                    </a:lnTo>
                    <a:lnTo>
                      <a:pt x="0" y="0"/>
                    </a:lnTo>
                    <a:lnTo>
                      <a:pt x="118" y="0"/>
                    </a:lnTo>
                    <a:lnTo>
                      <a:pt x="118" y="302"/>
                    </a:lnTo>
                    <a:lnTo>
                      <a:pt x="118" y="302"/>
                    </a:lnTo>
                    <a:lnTo>
                      <a:pt x="120" y="332"/>
                    </a:lnTo>
                    <a:lnTo>
                      <a:pt x="124" y="360"/>
                    </a:lnTo>
                    <a:lnTo>
                      <a:pt x="130" y="372"/>
                    </a:lnTo>
                    <a:lnTo>
                      <a:pt x="134" y="382"/>
                    </a:lnTo>
                    <a:lnTo>
                      <a:pt x="140" y="392"/>
                    </a:lnTo>
                    <a:lnTo>
                      <a:pt x="148" y="400"/>
                    </a:lnTo>
                    <a:lnTo>
                      <a:pt x="154" y="408"/>
                    </a:lnTo>
                    <a:lnTo>
                      <a:pt x="164" y="416"/>
                    </a:lnTo>
                    <a:lnTo>
                      <a:pt x="172" y="422"/>
                    </a:lnTo>
                    <a:lnTo>
                      <a:pt x="182" y="426"/>
                    </a:lnTo>
                    <a:lnTo>
                      <a:pt x="194" y="430"/>
                    </a:lnTo>
                    <a:lnTo>
                      <a:pt x="206" y="432"/>
                    </a:lnTo>
                    <a:lnTo>
                      <a:pt x="230" y="434"/>
                    </a:lnTo>
                    <a:lnTo>
                      <a:pt x="230" y="434"/>
                    </a:lnTo>
                    <a:lnTo>
                      <a:pt x="256" y="432"/>
                    </a:lnTo>
                    <a:lnTo>
                      <a:pt x="278" y="426"/>
                    </a:lnTo>
                    <a:lnTo>
                      <a:pt x="290" y="422"/>
                    </a:lnTo>
                    <a:lnTo>
                      <a:pt x="298" y="416"/>
                    </a:lnTo>
                    <a:lnTo>
                      <a:pt x="306" y="410"/>
                    </a:lnTo>
                    <a:lnTo>
                      <a:pt x="314" y="402"/>
                    </a:lnTo>
                    <a:lnTo>
                      <a:pt x="322" y="394"/>
                    </a:lnTo>
                    <a:lnTo>
                      <a:pt x="328" y="384"/>
                    </a:lnTo>
                    <a:lnTo>
                      <a:pt x="332" y="374"/>
                    </a:lnTo>
                    <a:lnTo>
                      <a:pt x="336" y="362"/>
                    </a:lnTo>
                    <a:lnTo>
                      <a:pt x="342" y="336"/>
                    </a:lnTo>
                    <a:lnTo>
                      <a:pt x="344" y="306"/>
                    </a:lnTo>
                    <a:lnTo>
                      <a:pt x="344" y="0"/>
                    </a:lnTo>
                    <a:lnTo>
                      <a:pt x="462" y="0"/>
                    </a:lnTo>
                    <a:lnTo>
                      <a:pt x="462" y="302"/>
                    </a:lnTo>
                    <a:lnTo>
                      <a:pt x="462" y="302"/>
                    </a:lnTo>
                    <a:lnTo>
                      <a:pt x="462" y="330"/>
                    </a:lnTo>
                    <a:lnTo>
                      <a:pt x="458" y="358"/>
                    </a:lnTo>
                    <a:lnTo>
                      <a:pt x="454" y="384"/>
                    </a:lnTo>
                    <a:lnTo>
                      <a:pt x="446" y="408"/>
                    </a:lnTo>
                    <a:lnTo>
                      <a:pt x="438" y="430"/>
                    </a:lnTo>
                    <a:lnTo>
                      <a:pt x="426" y="450"/>
                    </a:lnTo>
                    <a:lnTo>
                      <a:pt x="414" y="466"/>
                    </a:lnTo>
                    <a:lnTo>
                      <a:pt x="400" y="482"/>
                    </a:lnTo>
                    <a:lnTo>
                      <a:pt x="384" y="498"/>
                    </a:lnTo>
                    <a:lnTo>
                      <a:pt x="366" y="510"/>
                    </a:lnTo>
                    <a:lnTo>
                      <a:pt x="348" y="520"/>
                    </a:lnTo>
                    <a:lnTo>
                      <a:pt x="326" y="528"/>
                    </a:lnTo>
                    <a:lnTo>
                      <a:pt x="304" y="534"/>
                    </a:lnTo>
                    <a:lnTo>
                      <a:pt x="280" y="540"/>
                    </a:lnTo>
                    <a:lnTo>
                      <a:pt x="256" y="542"/>
                    </a:lnTo>
                    <a:lnTo>
                      <a:pt x="230" y="542"/>
                    </a:lnTo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7" name="Freeform 9"/>
              <p:cNvSpPr>
                <a:spLocks/>
              </p:cNvSpPr>
              <p:nvPr userDrawn="1"/>
            </p:nvSpPr>
            <p:spPr bwMode="gray">
              <a:xfrm>
                <a:off x="2627313" y="2139950"/>
                <a:ext cx="847725" cy="850900"/>
              </a:xfrm>
              <a:custGeom>
                <a:avLst/>
                <a:gdLst/>
                <a:ahLst/>
                <a:cxnLst>
                  <a:cxn ang="0">
                    <a:pos x="418" y="536"/>
                  </a:cxn>
                  <a:cxn ang="0">
                    <a:pos x="418" y="186"/>
                  </a:cxn>
                  <a:cxn ang="0">
                    <a:pos x="268" y="414"/>
                  </a:cxn>
                  <a:cxn ang="0">
                    <a:pos x="264" y="414"/>
                  </a:cxn>
                  <a:cxn ang="0">
                    <a:pos x="116" y="188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68" y="226"/>
                  </a:cxn>
                  <a:cxn ang="0">
                    <a:pos x="408" y="0"/>
                  </a:cxn>
                  <a:cxn ang="0">
                    <a:pos x="534" y="0"/>
                  </a:cxn>
                  <a:cxn ang="0">
                    <a:pos x="534" y="536"/>
                  </a:cxn>
                  <a:cxn ang="0">
                    <a:pos x="418" y="536"/>
                  </a:cxn>
                </a:cxnLst>
                <a:rect l="0" t="0" r="r" b="b"/>
                <a:pathLst>
                  <a:path w="534" h="536">
                    <a:moveTo>
                      <a:pt x="418" y="536"/>
                    </a:moveTo>
                    <a:lnTo>
                      <a:pt x="418" y="186"/>
                    </a:lnTo>
                    <a:lnTo>
                      <a:pt x="268" y="414"/>
                    </a:lnTo>
                    <a:lnTo>
                      <a:pt x="264" y="414"/>
                    </a:lnTo>
                    <a:lnTo>
                      <a:pt x="116" y="188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68" y="226"/>
                    </a:lnTo>
                    <a:lnTo>
                      <a:pt x="408" y="0"/>
                    </a:lnTo>
                    <a:lnTo>
                      <a:pt x="534" y="0"/>
                    </a:lnTo>
                    <a:lnTo>
                      <a:pt x="534" y="536"/>
                    </a:lnTo>
                    <a:lnTo>
                      <a:pt x="418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8" name="Freeform 10"/>
              <p:cNvSpPr>
                <a:spLocks/>
              </p:cNvSpPr>
              <p:nvPr userDrawn="1"/>
            </p:nvSpPr>
            <p:spPr bwMode="gray">
              <a:xfrm>
                <a:off x="4535488" y="2139950"/>
                <a:ext cx="781050" cy="850900"/>
              </a:xfrm>
              <a:custGeom>
                <a:avLst/>
                <a:gdLst/>
                <a:ahLst/>
                <a:cxnLst>
                  <a:cxn ang="0">
                    <a:pos x="392" y="536"/>
                  </a:cxn>
                  <a:cxn ang="0">
                    <a:pos x="118" y="194"/>
                  </a:cxn>
                  <a:cxn ang="0">
                    <a:pos x="118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6" y="330"/>
                  </a:cxn>
                  <a:cxn ang="0">
                    <a:pos x="376" y="0"/>
                  </a:cxn>
                  <a:cxn ang="0">
                    <a:pos x="492" y="0"/>
                  </a:cxn>
                  <a:cxn ang="0">
                    <a:pos x="492" y="536"/>
                  </a:cxn>
                  <a:cxn ang="0">
                    <a:pos x="392" y="536"/>
                  </a:cxn>
                </a:cxnLst>
                <a:rect l="0" t="0" r="r" b="b"/>
                <a:pathLst>
                  <a:path w="492" h="536">
                    <a:moveTo>
                      <a:pt x="392" y="536"/>
                    </a:moveTo>
                    <a:lnTo>
                      <a:pt x="118" y="194"/>
                    </a:lnTo>
                    <a:lnTo>
                      <a:pt x="118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6" y="330"/>
                    </a:lnTo>
                    <a:lnTo>
                      <a:pt x="376" y="0"/>
                    </a:lnTo>
                    <a:lnTo>
                      <a:pt x="492" y="0"/>
                    </a:lnTo>
                    <a:lnTo>
                      <a:pt x="492" y="536"/>
                    </a:lnTo>
                    <a:lnTo>
                      <a:pt x="392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79" name="Freeform 11"/>
              <p:cNvSpPr>
                <a:spLocks/>
              </p:cNvSpPr>
              <p:nvPr userDrawn="1"/>
            </p:nvSpPr>
            <p:spPr bwMode="gray">
              <a:xfrm>
                <a:off x="5475288" y="2139950"/>
                <a:ext cx="777875" cy="850900"/>
              </a:xfrm>
              <a:custGeom>
                <a:avLst/>
                <a:gdLst/>
                <a:ahLst/>
                <a:cxnLst>
                  <a:cxn ang="0">
                    <a:pos x="390" y="536"/>
                  </a:cxn>
                  <a:cxn ang="0">
                    <a:pos x="116" y="194"/>
                  </a:cxn>
                  <a:cxn ang="0">
                    <a:pos x="116" y="536"/>
                  </a:cxn>
                  <a:cxn ang="0">
                    <a:pos x="0" y="536"/>
                  </a:cxn>
                  <a:cxn ang="0">
                    <a:pos x="0" y="0"/>
                  </a:cxn>
                  <a:cxn ang="0">
                    <a:pos x="110" y="0"/>
                  </a:cxn>
                  <a:cxn ang="0">
                    <a:pos x="374" y="330"/>
                  </a:cxn>
                  <a:cxn ang="0">
                    <a:pos x="374" y="0"/>
                  </a:cxn>
                  <a:cxn ang="0">
                    <a:pos x="490" y="0"/>
                  </a:cxn>
                  <a:cxn ang="0">
                    <a:pos x="490" y="536"/>
                  </a:cxn>
                  <a:cxn ang="0">
                    <a:pos x="390" y="536"/>
                  </a:cxn>
                </a:cxnLst>
                <a:rect l="0" t="0" r="r" b="b"/>
                <a:pathLst>
                  <a:path w="490" h="536">
                    <a:moveTo>
                      <a:pt x="390" y="536"/>
                    </a:moveTo>
                    <a:lnTo>
                      <a:pt x="116" y="194"/>
                    </a:lnTo>
                    <a:lnTo>
                      <a:pt x="116" y="536"/>
                    </a:lnTo>
                    <a:lnTo>
                      <a:pt x="0" y="536"/>
                    </a:lnTo>
                    <a:lnTo>
                      <a:pt x="0" y="0"/>
                    </a:lnTo>
                    <a:lnTo>
                      <a:pt x="110" y="0"/>
                    </a:lnTo>
                    <a:lnTo>
                      <a:pt x="374" y="330"/>
                    </a:lnTo>
                    <a:lnTo>
                      <a:pt x="374" y="0"/>
                    </a:lnTo>
                    <a:lnTo>
                      <a:pt x="490" y="0"/>
                    </a:lnTo>
                    <a:lnTo>
                      <a:pt x="490" y="536"/>
                    </a:lnTo>
                    <a:lnTo>
                      <a:pt x="390" y="53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0" name="Freeform 12"/>
              <p:cNvSpPr>
                <a:spLocks/>
              </p:cNvSpPr>
              <p:nvPr userDrawn="1"/>
            </p:nvSpPr>
            <p:spPr bwMode="gray">
              <a:xfrm>
                <a:off x="4446588" y="3159125"/>
                <a:ext cx="822325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58" y="414"/>
                  </a:cxn>
                  <a:cxn ang="0">
                    <a:pos x="256" y="414"/>
                  </a:cxn>
                  <a:cxn ang="0">
                    <a:pos x="114" y="188"/>
                  </a:cxn>
                  <a:cxn ang="0">
                    <a:pos x="114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6" y="0"/>
                  </a:cxn>
                  <a:cxn ang="0">
                    <a:pos x="258" y="226"/>
                  </a:cxn>
                  <a:cxn ang="0">
                    <a:pos x="392" y="0"/>
                  </a:cxn>
                  <a:cxn ang="0">
                    <a:pos x="518" y="0"/>
                  </a:cxn>
                  <a:cxn ang="0">
                    <a:pos x="518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18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58" y="414"/>
                    </a:lnTo>
                    <a:lnTo>
                      <a:pt x="256" y="414"/>
                    </a:lnTo>
                    <a:lnTo>
                      <a:pt x="114" y="188"/>
                    </a:lnTo>
                    <a:lnTo>
                      <a:pt x="114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6" y="0"/>
                    </a:lnTo>
                    <a:lnTo>
                      <a:pt x="258" y="226"/>
                    </a:lnTo>
                    <a:lnTo>
                      <a:pt x="392" y="0"/>
                    </a:lnTo>
                    <a:lnTo>
                      <a:pt x="518" y="0"/>
                    </a:lnTo>
                    <a:lnTo>
                      <a:pt x="518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1" name="Freeform 13"/>
              <p:cNvSpPr>
                <a:spLocks/>
              </p:cNvSpPr>
              <p:nvPr userDrawn="1"/>
            </p:nvSpPr>
            <p:spPr bwMode="gray">
              <a:xfrm>
                <a:off x="5430838" y="3159125"/>
                <a:ext cx="825500" cy="847725"/>
              </a:xfrm>
              <a:custGeom>
                <a:avLst/>
                <a:gdLst/>
                <a:ahLst/>
                <a:cxnLst>
                  <a:cxn ang="0">
                    <a:pos x="402" y="534"/>
                  </a:cxn>
                  <a:cxn ang="0">
                    <a:pos x="402" y="186"/>
                  </a:cxn>
                  <a:cxn ang="0">
                    <a:pos x="260" y="414"/>
                  </a:cxn>
                  <a:cxn ang="0">
                    <a:pos x="258" y="414"/>
                  </a:cxn>
                  <a:cxn ang="0">
                    <a:pos x="116" y="188"/>
                  </a:cxn>
                  <a:cxn ang="0">
                    <a:pos x="116" y="534"/>
                  </a:cxn>
                  <a:cxn ang="0">
                    <a:pos x="0" y="534"/>
                  </a:cxn>
                  <a:cxn ang="0">
                    <a:pos x="0" y="0"/>
                  </a:cxn>
                  <a:cxn ang="0">
                    <a:pos x="128" y="0"/>
                  </a:cxn>
                  <a:cxn ang="0">
                    <a:pos x="260" y="226"/>
                  </a:cxn>
                  <a:cxn ang="0">
                    <a:pos x="392" y="0"/>
                  </a:cxn>
                  <a:cxn ang="0">
                    <a:pos x="520" y="0"/>
                  </a:cxn>
                  <a:cxn ang="0">
                    <a:pos x="520" y="534"/>
                  </a:cxn>
                  <a:cxn ang="0">
                    <a:pos x="402" y="534"/>
                  </a:cxn>
                </a:cxnLst>
                <a:rect l="0" t="0" r="r" b="b"/>
                <a:pathLst>
                  <a:path w="520" h="534">
                    <a:moveTo>
                      <a:pt x="402" y="534"/>
                    </a:moveTo>
                    <a:lnTo>
                      <a:pt x="402" y="186"/>
                    </a:lnTo>
                    <a:lnTo>
                      <a:pt x="260" y="414"/>
                    </a:lnTo>
                    <a:lnTo>
                      <a:pt x="258" y="414"/>
                    </a:lnTo>
                    <a:lnTo>
                      <a:pt x="116" y="188"/>
                    </a:lnTo>
                    <a:lnTo>
                      <a:pt x="116" y="534"/>
                    </a:lnTo>
                    <a:lnTo>
                      <a:pt x="0" y="534"/>
                    </a:lnTo>
                    <a:lnTo>
                      <a:pt x="0" y="0"/>
                    </a:lnTo>
                    <a:lnTo>
                      <a:pt x="128" y="0"/>
                    </a:lnTo>
                    <a:lnTo>
                      <a:pt x="260" y="226"/>
                    </a:lnTo>
                    <a:lnTo>
                      <a:pt x="392" y="0"/>
                    </a:lnTo>
                    <a:lnTo>
                      <a:pt x="520" y="0"/>
                    </a:lnTo>
                    <a:lnTo>
                      <a:pt x="520" y="534"/>
                    </a:lnTo>
                    <a:lnTo>
                      <a:pt x="402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2" name="Freeform 14"/>
              <p:cNvSpPr>
                <a:spLocks/>
              </p:cNvSpPr>
              <p:nvPr userDrawn="1"/>
            </p:nvSpPr>
            <p:spPr bwMode="gray">
              <a:xfrm>
                <a:off x="6415088" y="3159125"/>
                <a:ext cx="650875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410" y="0"/>
                  </a:cxn>
                  <a:cxn ang="0">
                    <a:pos x="410" y="104"/>
                  </a:cxn>
                  <a:cxn ang="0">
                    <a:pos x="118" y="104"/>
                  </a:cxn>
                  <a:cxn ang="0">
                    <a:pos x="118" y="212"/>
                  </a:cxn>
                  <a:cxn ang="0">
                    <a:pos x="378" y="212"/>
                  </a:cxn>
                  <a:cxn ang="0">
                    <a:pos x="378" y="318"/>
                  </a:cxn>
                  <a:cxn ang="0">
                    <a:pos x="118" y="318"/>
                  </a:cxn>
                  <a:cxn ang="0">
                    <a:pos x="118" y="430"/>
                  </a:cxn>
                  <a:cxn ang="0">
                    <a:pos x="410" y="430"/>
                  </a:cxn>
                  <a:cxn ang="0">
                    <a:pos x="410" y="534"/>
                  </a:cxn>
                  <a:cxn ang="0">
                    <a:pos x="0" y="534"/>
                  </a:cxn>
                </a:cxnLst>
                <a:rect l="0" t="0" r="r" b="b"/>
                <a:pathLst>
                  <a:path w="410" h="534">
                    <a:moveTo>
                      <a:pt x="0" y="534"/>
                    </a:moveTo>
                    <a:lnTo>
                      <a:pt x="0" y="0"/>
                    </a:lnTo>
                    <a:lnTo>
                      <a:pt x="410" y="0"/>
                    </a:lnTo>
                    <a:lnTo>
                      <a:pt x="410" y="104"/>
                    </a:lnTo>
                    <a:lnTo>
                      <a:pt x="118" y="104"/>
                    </a:lnTo>
                    <a:lnTo>
                      <a:pt x="118" y="212"/>
                    </a:lnTo>
                    <a:lnTo>
                      <a:pt x="378" y="212"/>
                    </a:lnTo>
                    <a:lnTo>
                      <a:pt x="378" y="318"/>
                    </a:lnTo>
                    <a:lnTo>
                      <a:pt x="118" y="318"/>
                    </a:lnTo>
                    <a:lnTo>
                      <a:pt x="118" y="430"/>
                    </a:lnTo>
                    <a:lnTo>
                      <a:pt x="410" y="430"/>
                    </a:lnTo>
                    <a:lnTo>
                      <a:pt x="410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3" name="Freeform 15"/>
              <p:cNvSpPr>
                <a:spLocks/>
              </p:cNvSpPr>
              <p:nvPr userDrawn="1"/>
            </p:nvSpPr>
            <p:spPr bwMode="gray">
              <a:xfrm>
                <a:off x="7227888" y="3159125"/>
                <a:ext cx="609600" cy="847725"/>
              </a:xfrm>
              <a:custGeom>
                <a:avLst/>
                <a:gdLst/>
                <a:ahLst/>
                <a:cxnLst>
                  <a:cxn ang="0">
                    <a:pos x="0" y="534"/>
                  </a:cxn>
                  <a:cxn ang="0">
                    <a:pos x="0" y="0"/>
                  </a:cxn>
                  <a:cxn ang="0">
                    <a:pos x="116" y="0"/>
                  </a:cxn>
                  <a:cxn ang="0">
                    <a:pos x="116" y="428"/>
                  </a:cxn>
                  <a:cxn ang="0">
                    <a:pos x="384" y="428"/>
                  </a:cxn>
                  <a:cxn ang="0">
                    <a:pos x="384" y="534"/>
                  </a:cxn>
                  <a:cxn ang="0">
                    <a:pos x="0" y="534"/>
                  </a:cxn>
                </a:cxnLst>
                <a:rect l="0" t="0" r="r" b="b"/>
                <a:pathLst>
                  <a:path w="384" h="534">
                    <a:moveTo>
                      <a:pt x="0" y="534"/>
                    </a:moveTo>
                    <a:lnTo>
                      <a:pt x="0" y="0"/>
                    </a:lnTo>
                    <a:lnTo>
                      <a:pt x="116" y="0"/>
                    </a:lnTo>
                    <a:lnTo>
                      <a:pt x="116" y="428"/>
                    </a:lnTo>
                    <a:lnTo>
                      <a:pt x="384" y="428"/>
                    </a:lnTo>
                    <a:lnTo>
                      <a:pt x="384" y="534"/>
                    </a:lnTo>
                    <a:lnTo>
                      <a:pt x="0" y="53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4" name="Freeform 16"/>
              <p:cNvSpPr>
                <a:spLocks noEditPoints="1"/>
              </p:cNvSpPr>
              <p:nvPr userDrawn="1"/>
            </p:nvSpPr>
            <p:spPr bwMode="gray">
              <a:xfrm>
                <a:off x="3548063" y="2133600"/>
                <a:ext cx="911225" cy="857250"/>
              </a:xfrm>
              <a:custGeom>
                <a:avLst/>
                <a:gdLst/>
                <a:ahLst/>
                <a:cxnLst>
                  <a:cxn ang="0">
                    <a:pos x="212" y="316"/>
                  </a:cxn>
                  <a:cxn ang="0">
                    <a:pos x="286" y="142"/>
                  </a:cxn>
                  <a:cxn ang="0">
                    <a:pos x="360" y="316"/>
                  </a:cxn>
                  <a:cxn ang="0">
                    <a:pos x="212" y="316"/>
                  </a:cxn>
                  <a:cxn ang="0">
                    <a:pos x="342" y="0"/>
                  </a:cxn>
                  <a:cxn ang="0">
                    <a:pos x="232" y="0"/>
                  </a:cxn>
                  <a:cxn ang="0">
                    <a:pos x="0" y="540"/>
                  </a:cxn>
                  <a:cxn ang="0">
                    <a:pos x="120" y="540"/>
                  </a:cxn>
                  <a:cxn ang="0">
                    <a:pos x="170" y="420"/>
                  </a:cxn>
                  <a:cxn ang="0">
                    <a:pos x="402" y="420"/>
                  </a:cxn>
                  <a:cxn ang="0">
                    <a:pos x="452" y="540"/>
                  </a:cxn>
                  <a:cxn ang="0">
                    <a:pos x="574" y="540"/>
                  </a:cxn>
                  <a:cxn ang="0">
                    <a:pos x="342" y="0"/>
                  </a:cxn>
                </a:cxnLst>
                <a:rect l="0" t="0" r="r" b="b"/>
                <a:pathLst>
                  <a:path w="574" h="540">
                    <a:moveTo>
                      <a:pt x="212" y="316"/>
                    </a:moveTo>
                    <a:lnTo>
                      <a:pt x="286" y="142"/>
                    </a:lnTo>
                    <a:lnTo>
                      <a:pt x="360" y="316"/>
                    </a:lnTo>
                    <a:lnTo>
                      <a:pt x="212" y="316"/>
                    </a:lnTo>
                    <a:close/>
                    <a:moveTo>
                      <a:pt x="342" y="0"/>
                    </a:moveTo>
                    <a:lnTo>
                      <a:pt x="232" y="0"/>
                    </a:lnTo>
                    <a:lnTo>
                      <a:pt x="0" y="540"/>
                    </a:lnTo>
                    <a:lnTo>
                      <a:pt x="120" y="540"/>
                    </a:lnTo>
                    <a:lnTo>
                      <a:pt x="170" y="420"/>
                    </a:lnTo>
                    <a:lnTo>
                      <a:pt x="402" y="420"/>
                    </a:lnTo>
                    <a:lnTo>
                      <a:pt x="452" y="540"/>
                    </a:lnTo>
                    <a:lnTo>
                      <a:pt x="574" y="540"/>
                    </a:lnTo>
                    <a:lnTo>
                      <a:pt x="342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  <p:sp>
            <p:nvSpPr>
              <p:cNvPr id="85" name="Freeform 17"/>
              <p:cNvSpPr>
                <a:spLocks/>
              </p:cNvSpPr>
              <p:nvPr userDrawn="1"/>
            </p:nvSpPr>
            <p:spPr bwMode="gray">
              <a:xfrm>
                <a:off x="6538913" y="2139950"/>
                <a:ext cx="873125" cy="850900"/>
              </a:xfrm>
              <a:custGeom>
                <a:avLst/>
                <a:gdLst/>
                <a:ahLst/>
                <a:cxnLst>
                  <a:cxn ang="0">
                    <a:pos x="550" y="212"/>
                  </a:cxn>
                  <a:cxn ang="0">
                    <a:pos x="332" y="212"/>
                  </a:cxn>
                  <a:cxn ang="0">
                    <a:pos x="332" y="0"/>
                  </a:cxn>
                  <a:cxn ang="0">
                    <a:pos x="220" y="0"/>
                  </a:cxn>
                  <a:cxn ang="0">
                    <a:pos x="220" y="212"/>
                  </a:cxn>
                  <a:cxn ang="0">
                    <a:pos x="0" y="212"/>
                  </a:cxn>
                  <a:cxn ang="0">
                    <a:pos x="0" y="322"/>
                  </a:cxn>
                  <a:cxn ang="0">
                    <a:pos x="220" y="322"/>
                  </a:cxn>
                  <a:cxn ang="0">
                    <a:pos x="220" y="536"/>
                  </a:cxn>
                  <a:cxn ang="0">
                    <a:pos x="332" y="536"/>
                  </a:cxn>
                  <a:cxn ang="0">
                    <a:pos x="332" y="322"/>
                  </a:cxn>
                  <a:cxn ang="0">
                    <a:pos x="550" y="322"/>
                  </a:cxn>
                  <a:cxn ang="0">
                    <a:pos x="550" y="212"/>
                  </a:cxn>
                </a:cxnLst>
                <a:rect l="0" t="0" r="r" b="b"/>
                <a:pathLst>
                  <a:path w="550" h="536">
                    <a:moveTo>
                      <a:pt x="550" y="212"/>
                    </a:moveTo>
                    <a:lnTo>
                      <a:pt x="332" y="212"/>
                    </a:lnTo>
                    <a:lnTo>
                      <a:pt x="332" y="0"/>
                    </a:lnTo>
                    <a:lnTo>
                      <a:pt x="220" y="0"/>
                    </a:lnTo>
                    <a:lnTo>
                      <a:pt x="220" y="212"/>
                    </a:lnTo>
                    <a:lnTo>
                      <a:pt x="0" y="212"/>
                    </a:lnTo>
                    <a:lnTo>
                      <a:pt x="0" y="322"/>
                    </a:lnTo>
                    <a:lnTo>
                      <a:pt x="220" y="322"/>
                    </a:lnTo>
                    <a:lnTo>
                      <a:pt x="220" y="536"/>
                    </a:lnTo>
                    <a:lnTo>
                      <a:pt x="332" y="536"/>
                    </a:lnTo>
                    <a:lnTo>
                      <a:pt x="332" y="322"/>
                    </a:lnTo>
                    <a:lnTo>
                      <a:pt x="550" y="322"/>
                    </a:lnTo>
                    <a:lnTo>
                      <a:pt x="550" y="2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noProof="0" dirty="0"/>
              </a:p>
            </p:txBody>
          </p:sp>
        </p:grpSp>
      </p:grpSp>
      <p:sp>
        <p:nvSpPr>
          <p:cNvPr id="86" name="Textplatzhalter 2"/>
          <p:cNvSpPr>
            <a:spLocks noGrp="1"/>
          </p:cNvSpPr>
          <p:nvPr>
            <p:ph type="body" sz="quarter" idx="21" hasCustomPrompt="1"/>
          </p:nvPr>
        </p:nvSpPr>
        <p:spPr bwMode="gray">
          <a:xfrm rot="21180000">
            <a:off x="6345245" y="3288704"/>
            <a:ext cx="3709981" cy="251546"/>
          </a:xfrm>
        </p:spPr>
        <p:txBody>
          <a:bodyPr anchor="b">
            <a:normAutofit/>
          </a:bodyPr>
          <a:lstStyle>
            <a:lvl1pPr marL="0">
              <a:spcAft>
                <a:spcPts val="0"/>
              </a:spcAft>
              <a:buFontTx/>
              <a:buNone/>
              <a:defRPr sz="16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accent6"/>
                </a:solidFill>
              </a:defRPr>
            </a:lvl9pPr>
          </a:lstStyle>
          <a:p>
            <a:pPr lvl="0"/>
            <a:r>
              <a:rPr lang="en-US" noProof="0" dirty="0" smtClean="0"/>
              <a:t>Position</a:t>
            </a:r>
          </a:p>
        </p:txBody>
      </p:sp>
      <p:sp>
        <p:nvSpPr>
          <p:cNvPr id="88" name="Textplatzhalter 3"/>
          <p:cNvSpPr>
            <a:spLocks noGrp="1"/>
          </p:cNvSpPr>
          <p:nvPr>
            <p:ph type="body" sz="quarter" idx="22" hasCustomPrompt="1"/>
          </p:nvPr>
        </p:nvSpPr>
        <p:spPr bwMode="gray">
          <a:xfrm rot="21179971">
            <a:off x="6427528" y="3791480"/>
            <a:ext cx="1532190" cy="767067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MANN+HUMMEL</a:t>
            </a:r>
            <a:br>
              <a:rPr lang="en-US" noProof="0" dirty="0" smtClean="0"/>
            </a:br>
            <a:r>
              <a:rPr lang="en-US" noProof="0" dirty="0" smtClean="0"/>
              <a:t>Address</a:t>
            </a:r>
          </a:p>
        </p:txBody>
      </p:sp>
      <p:sp>
        <p:nvSpPr>
          <p:cNvPr id="89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 rot="21179971">
            <a:off x="7987826" y="3563962"/>
            <a:ext cx="2142798" cy="767067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tabLst>
                <a:tab pos="449263" algn="l"/>
              </a:tabLst>
              <a:defRPr sz="900" baseline="0"/>
            </a:lvl1pPr>
            <a:lvl2pPr marL="0" indent="0">
              <a:spcAft>
                <a:spcPts val="0"/>
              </a:spcAft>
              <a:buFontTx/>
              <a:buNone/>
              <a:defRPr sz="900"/>
            </a:lvl2pPr>
            <a:lvl3pPr marL="0" indent="0">
              <a:spcAft>
                <a:spcPts val="0"/>
              </a:spcAft>
              <a:buFontTx/>
              <a:buNone/>
              <a:defRPr sz="900"/>
            </a:lvl3pPr>
            <a:lvl4pPr marL="0" indent="0">
              <a:spcAft>
                <a:spcPts val="0"/>
              </a:spcAft>
              <a:buFontTx/>
              <a:buNone/>
              <a:defRPr sz="900"/>
            </a:lvl4pPr>
            <a:lvl5pPr marL="0" indent="0">
              <a:spcAft>
                <a:spcPts val="0"/>
              </a:spcAft>
              <a:buFontTx/>
              <a:buNone/>
              <a:defRPr sz="900"/>
            </a:lvl5pPr>
            <a:lvl6pPr marL="0" indent="0">
              <a:spcAft>
                <a:spcPts val="0"/>
              </a:spcAft>
              <a:buFontTx/>
              <a:buNone/>
              <a:defRPr sz="900"/>
            </a:lvl6pPr>
            <a:lvl7pPr marL="0" indent="0">
              <a:spcAft>
                <a:spcPts val="0"/>
              </a:spcAft>
              <a:buFontTx/>
              <a:buNone/>
              <a:defRPr sz="900"/>
            </a:lvl7pPr>
            <a:lvl8pPr marL="0" indent="0">
              <a:spcAft>
                <a:spcPts val="0"/>
              </a:spcAft>
              <a:buFontTx/>
              <a:buNone/>
              <a:defRPr sz="900"/>
            </a:lvl8pPr>
            <a:lvl9pPr marL="0" indent="0">
              <a:spcAft>
                <a:spcPts val="0"/>
              </a:spcAft>
              <a:buFontTx/>
              <a:buNone/>
              <a:defRPr sz="900"/>
            </a:lvl9pPr>
          </a:lstStyle>
          <a:p>
            <a:pPr lvl="0"/>
            <a:r>
              <a:rPr lang="en-US" noProof="0" dirty="0" smtClean="0"/>
              <a:t>Phone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Fax    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-xx</a:t>
            </a:r>
            <a:br>
              <a:rPr lang="en-US" noProof="0" dirty="0" smtClean="0"/>
            </a:br>
            <a:r>
              <a:rPr lang="en-US" noProof="0" dirty="0" smtClean="0"/>
              <a:t>Mobile    +xx </a:t>
            </a:r>
            <a:r>
              <a:rPr lang="en-US" noProof="0" dirty="0" err="1" smtClean="0"/>
              <a:t>xxxx</a:t>
            </a:r>
            <a:r>
              <a:rPr lang="en-US" noProof="0" dirty="0" smtClean="0"/>
              <a:t> xx xxx</a:t>
            </a:r>
            <a:br>
              <a:rPr lang="en-US" noProof="0" dirty="0" smtClean="0"/>
            </a:br>
            <a:r>
              <a:rPr lang="en-US" noProof="0" dirty="0" smtClean="0"/>
              <a:t>max.mustermann@mann-hummel.com</a:t>
            </a:r>
            <a:br>
              <a:rPr lang="en-US" noProof="0" dirty="0" smtClean="0"/>
            </a:br>
            <a:r>
              <a:rPr lang="en-US" noProof="0" dirty="0" smtClean="0"/>
              <a:t>www.mann-hummel.com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4" hasCustomPrompt="1"/>
          </p:nvPr>
        </p:nvSpPr>
        <p:spPr>
          <a:xfrm rot="21180000">
            <a:off x="6304892" y="2859179"/>
            <a:ext cx="3707647" cy="431800"/>
          </a:xfrm>
        </p:spPr>
        <p:txBody>
          <a:bodyPr anchor="b"/>
          <a:lstStyle>
            <a:lvl1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Aft>
                <a:spcPts val="0"/>
              </a:spcAft>
              <a:buFont typeface="Arial" panose="020B0604020202020204" pitchFamily="34" charset="0"/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noProof="0" dirty="0" smtClean="0"/>
              <a:t>Name Surnam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9298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6770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4154115" y="2761656"/>
            <a:ext cx="6696000" cy="615553"/>
          </a:xfrm>
          <a:noFill/>
        </p:spPr>
        <p:txBody>
          <a:bodyPr anchor="ctr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noProof="0" dirty="0" smtClean="0"/>
              <a:t>&lt;Thank you!&gt;</a:t>
            </a:r>
            <a:endParaRPr lang="en-US" noProof="0" dirty="0"/>
          </a:p>
        </p:txBody>
      </p:sp>
      <p:sp>
        <p:nvSpPr>
          <p:cNvPr id="13" name="Rechteck 12"/>
          <p:cNvSpPr/>
          <p:nvPr userDrawn="1"/>
        </p:nvSpPr>
        <p:spPr bwMode="gray">
          <a:xfrm>
            <a:off x="193675" y="6237312"/>
            <a:ext cx="10152384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noProof="0" dirty="0" smtClean="0">
              <a:solidFill>
                <a:schemeClr val="bg1"/>
              </a:solidFill>
            </a:endParaRPr>
          </a:p>
        </p:txBody>
      </p:sp>
      <p:pic>
        <p:nvPicPr>
          <p:cNvPr id="9" name="Picture 8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95653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61236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27" descr="K:\Mann + Hummel\03_Vorlagen\03_PowerPoint\backup\Vignette_16x32_8_60prozent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88044" y="188913"/>
            <a:ext cx="11807825" cy="5761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reeform 7"/>
          <p:cNvSpPr>
            <a:spLocks noChangeAspect="1"/>
          </p:cNvSpPr>
          <p:nvPr/>
        </p:nvSpPr>
        <p:spPr bwMode="gray">
          <a:xfrm flipH="1">
            <a:off x="88670" y="800720"/>
            <a:ext cx="104276" cy="108000"/>
          </a:xfrm>
          <a:custGeom>
            <a:avLst/>
            <a:gdLst/>
            <a:ahLst/>
            <a:cxnLst>
              <a:cxn ang="0">
                <a:pos x="56" y="58"/>
              </a:cxn>
              <a:cxn ang="0">
                <a:pos x="0" y="0"/>
              </a:cxn>
              <a:cxn ang="0">
                <a:pos x="0" y="58"/>
              </a:cxn>
              <a:cxn ang="0">
                <a:pos x="56" y="58"/>
              </a:cxn>
            </a:cxnLst>
            <a:rect l="0" t="0" r="r" b="b"/>
            <a:pathLst>
              <a:path w="56" h="58">
                <a:moveTo>
                  <a:pt x="56" y="58"/>
                </a:moveTo>
                <a:lnTo>
                  <a:pt x="0" y="0"/>
                </a:lnTo>
                <a:lnTo>
                  <a:pt x="0" y="58"/>
                </a:lnTo>
                <a:lnTo>
                  <a:pt x="56" y="58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r"/>
            <a:endParaRPr lang="en-US" sz="1500" dirty="0">
              <a:solidFill>
                <a:schemeClr val="bg1"/>
              </a:solidFill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88284" y="908840"/>
            <a:ext cx="1009627" cy="1032384"/>
          </a:xfrm>
          <a:solidFill>
            <a:srgbClr val="C2C2C2"/>
          </a:solidFill>
        </p:spPr>
        <p:txBody>
          <a:bodyPr wrap="none" lIns="432000" tIns="54000" rIns="144000" bIns="54000">
            <a:spAutoFit/>
          </a:bodyPr>
          <a:lstStyle>
            <a:lvl1pPr marL="0" algn="l">
              <a:spcAft>
                <a:spcPts val="0"/>
              </a:spcAft>
              <a:buFontTx/>
              <a:buNone/>
              <a:defRPr sz="6000">
                <a:solidFill>
                  <a:schemeClr val="bg1"/>
                </a:solidFill>
              </a:defRPr>
            </a:lvl1pPr>
            <a:lvl2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3pPr>
            <a:lvl4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4pPr>
            <a:lvl5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5pPr>
            <a:lvl6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6pPr>
            <a:lvl7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7pPr>
            <a:lvl8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8pPr>
            <a:lvl9pPr marL="0" indent="0" algn="l">
              <a:spcAft>
                <a:spcPts val="0"/>
              </a:spcAft>
              <a:buFontTx/>
              <a:buNone/>
              <a:defRPr sz="4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0</a:t>
            </a:r>
            <a:endParaRPr lang="en-US" dirty="0"/>
          </a:p>
        </p:txBody>
      </p:sp>
      <p:sp>
        <p:nvSpPr>
          <p:cNvPr id="17" name="Titel 16"/>
          <p:cNvSpPr>
            <a:spLocks noGrp="1"/>
          </p:cNvSpPr>
          <p:nvPr>
            <p:ph type="title" hasCustomPrompt="1"/>
          </p:nvPr>
        </p:nvSpPr>
        <p:spPr bwMode="gray">
          <a:xfrm>
            <a:off x="552971" y="3893568"/>
            <a:ext cx="10296000" cy="615553"/>
          </a:xfrm>
          <a:noFill/>
        </p:spPr>
        <p:txBody>
          <a:bodyPr anchor="b"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hapter name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 bwMode="gray">
          <a:xfrm>
            <a:off x="193675" y="6237312"/>
            <a:ext cx="10080376" cy="504056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dirty="0" err="1" smtClean="0">
              <a:solidFill>
                <a:schemeClr val="bg1"/>
              </a:solidFill>
            </a:endParaRPr>
          </a:p>
        </p:txBody>
      </p:sp>
      <p:pic>
        <p:nvPicPr>
          <p:cNvPr id="18" name="Picture 85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3675" y="6510889"/>
            <a:ext cx="1530000" cy="1211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552971" y="4725144"/>
            <a:ext cx="10296000" cy="936104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None/>
              <a:defRPr sz="1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 smtClean="0"/>
              <a:t>Short Summary to the next chapter (max. 3 lines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47570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373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smtClean="0"/>
              <a:t>Optional subtitle (in max. 1 line)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title)</a:t>
            </a:r>
            <a:endParaRPr lang="en-US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552971" y="1700808"/>
            <a:ext cx="10296000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54017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0561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smtClean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 dirty="0" smtClean="0"/>
              <a:t>Slide title (2 lines | max. 1 line with subtitle)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450" y="1700808"/>
            <a:ext cx="4968875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</a:t>
            </a:r>
            <a:br>
              <a:rPr lang="en-US" dirty="0" smtClean="0"/>
            </a:br>
            <a:r>
              <a:rPr lang="en-US" dirty="0" smtClean="0"/>
              <a:t>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5" hasCustomPrompt="1"/>
          </p:nvPr>
        </p:nvSpPr>
        <p:spPr>
          <a:xfrm>
            <a:off x="5881688" y="1700808"/>
            <a:ext cx="4968875" cy="4248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You can use this field to enter text, a table, </a:t>
            </a:r>
            <a:br>
              <a:rPr lang="en-US" dirty="0" smtClean="0"/>
            </a:br>
            <a:r>
              <a:rPr lang="en-US" dirty="0" smtClean="0"/>
              <a:t>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0177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31062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smtClean="0"/>
              <a:t>Optional subtitle (in max. 1 line)</a:t>
            </a:r>
          </a:p>
        </p:txBody>
      </p:sp>
      <p:sp>
        <p:nvSpPr>
          <p:cNvPr id="7" name="Titel 6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Slide title (2 lines | max. 1 line with subtitle)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4" hasCustomPrompt="1"/>
          </p:nvPr>
        </p:nvSpPr>
        <p:spPr>
          <a:xfrm>
            <a:off x="552450" y="1700808"/>
            <a:ext cx="3240000" cy="4248000"/>
          </a:xfrm>
        </p:spPr>
        <p:txBody>
          <a:bodyPr/>
          <a:lstStyle/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4" name="Inhaltsplatzhalter 3"/>
          <p:cNvSpPr>
            <a:spLocks noGrp="1"/>
          </p:cNvSpPr>
          <p:nvPr>
            <p:ph sz="quarter" idx="15" hasCustomPrompt="1"/>
          </p:nvPr>
        </p:nvSpPr>
        <p:spPr>
          <a:xfrm>
            <a:off x="4152901" y="1700808"/>
            <a:ext cx="3097212" cy="4248000"/>
          </a:xfrm>
        </p:spPr>
        <p:txBody>
          <a:bodyPr/>
          <a:lstStyle/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Inhaltsplatzhalter 3"/>
          <p:cNvSpPr>
            <a:spLocks noGrp="1"/>
          </p:cNvSpPr>
          <p:nvPr>
            <p:ph sz="quarter" idx="16" hasCustomPrompt="1"/>
          </p:nvPr>
        </p:nvSpPr>
        <p:spPr>
          <a:xfrm>
            <a:off x="7610475" y="1700808"/>
            <a:ext cx="3240000" cy="4248000"/>
          </a:xfrm>
        </p:spPr>
        <p:txBody>
          <a:bodyPr/>
          <a:lstStyle/>
          <a:p>
            <a:pPr lvl="0"/>
            <a:r>
              <a:rPr lang="en-US" dirty="0" smtClean="0"/>
              <a:t>You can use this field to enter text, a table, a diagram or </a:t>
            </a:r>
            <a:r>
              <a:rPr lang="en-US" dirty="0" err="1" smtClean="0"/>
              <a:t>SmartArts</a:t>
            </a:r>
            <a:r>
              <a:rPr lang="en-US" dirty="0" smtClean="0"/>
              <a:t>. Use the buttons “Increase List Level” for </a:t>
            </a:r>
            <a:r>
              <a:rPr lang="en-US" dirty="0" err="1" smtClean="0"/>
              <a:t>copytext</a:t>
            </a:r>
            <a:r>
              <a:rPr lang="en-US" dirty="0" smtClean="0"/>
              <a:t> or bullet levels. Use the icons below to create visual content.</a:t>
            </a:r>
          </a:p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87756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 with vign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5086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4" descr="K:\Mann + Hummel\03_Vorlagen\03_PowerPoint\backup\Vignette_16x32_weiß_2016.01.27.jpg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r="3"/>
          <a:stretch>
            <a:fillRect/>
          </a:stretch>
        </p:blipFill>
        <p:spPr bwMode="gray">
          <a:xfrm>
            <a:off x="193675" y="188914"/>
            <a:ext cx="11808568" cy="5761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platzhalter 9"/>
          <p:cNvSpPr>
            <a:spLocks noGrp="1" noChangeAspect="1"/>
          </p:cNvSpPr>
          <p:nvPr>
            <p:ph type="body" sz="quarter" idx="13" hasCustomPrompt="1"/>
          </p:nvPr>
        </p:nvSpPr>
        <p:spPr bwMode="gray">
          <a:xfrm>
            <a:off x="192930" y="188913"/>
            <a:ext cx="11808569" cy="5761038"/>
          </a:xfrm>
        </p:spPr>
        <p:txBody>
          <a:bodyPr lIns="360000" tIns="360000" rIns="360000" bIns="360000" anchor="ctr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3200" baseline="0">
                <a:solidFill>
                  <a:schemeClr val="accent1"/>
                </a:solidFill>
              </a:defRPr>
            </a:lvl1pPr>
            <a:lvl2pPr marL="0" indent="0" algn="ctr">
              <a:spcAft>
                <a:spcPts val="0"/>
              </a:spcAft>
              <a:buFontTx/>
              <a:buNone/>
              <a:defRPr sz="3200" baseline="0">
                <a:solidFill>
                  <a:schemeClr val="accent2"/>
                </a:solidFill>
              </a:defRPr>
            </a:lvl2pPr>
            <a:lvl3pPr marL="0" indent="0" algn="ctr">
              <a:spcBef>
                <a:spcPts val="1800"/>
              </a:spcBef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noProof="0" dirty="0" smtClean="0"/>
              <a:t>Big Text first line</a:t>
            </a:r>
          </a:p>
          <a:p>
            <a:pPr lvl="1"/>
            <a:r>
              <a:rPr lang="en-US" noProof="0" dirty="0" smtClean="0"/>
              <a:t>Big Text second line</a:t>
            </a:r>
          </a:p>
          <a:p>
            <a:pPr lvl="2"/>
            <a:r>
              <a:rPr lang="en-US" noProof="0" dirty="0" smtClean="0"/>
              <a:t>Author</a:t>
            </a:r>
          </a:p>
        </p:txBody>
      </p:sp>
    </p:spTree>
    <p:extLst>
      <p:ext uri="{BB962C8B-B14F-4D97-AF65-F5344CB8AC3E}">
        <p14:creationId xmlns:p14="http://schemas.microsoft.com/office/powerpoint/2010/main" val="1870920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77499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dirty="0" smtClean="0"/>
              <a:t>Optional subtitle (in max. 1 line)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 smtClean="0"/>
              <a:t>Slide title (2 lines | max. 1 line with subtitl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2373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867843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81301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74568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552971" y="764704"/>
            <a:ext cx="10296000" cy="432048"/>
          </a:xfrm>
        </p:spPr>
        <p:txBody>
          <a:bodyPr>
            <a:noAutofit/>
          </a:bodyPr>
          <a:lstStyle>
            <a:lvl1pPr marL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2800">
                <a:solidFill>
                  <a:schemeClr val="accent2"/>
                </a:solidFill>
              </a:defRPr>
            </a:lvl9pPr>
          </a:lstStyle>
          <a:p>
            <a:pPr lvl="0"/>
            <a:r>
              <a:rPr lang="en-US" noProof="0" dirty="0" smtClean="0"/>
              <a:t>Optional subtitle (in max. 1 line)</a:t>
            </a:r>
          </a:p>
        </p:txBody>
      </p:sp>
      <p:sp>
        <p:nvSpPr>
          <p:cNvPr id="8" name="Bildplatzhalter 7"/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552971" y="1700808"/>
            <a:ext cx="10296000" cy="4248000"/>
          </a:xfrm>
        </p:spPr>
        <p:txBody>
          <a:bodyPr lIns="0" tIns="612000" anchor="ctr" anchorCtr="0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 noProof="0" dirty="0" smtClean="0"/>
              <a:t>Insert a picture here</a:t>
            </a:r>
            <a:endParaRPr lang="en-US" noProof="0" dirty="0"/>
          </a:p>
        </p:txBody>
      </p:sp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noProof="0" dirty="0" smtClean="0"/>
              <a:t>Slide title (2 lines | max. 1 line with subtitle)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6549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46389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552971" y="332656"/>
            <a:ext cx="10296000" cy="430887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0" dirty="0" smtClean="0"/>
              <a:t>Slide title (2 lines | max. 1 line with subtitle)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552971" y="1700808"/>
            <a:ext cx="10296000" cy="42480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6</a:t>
            </a:r>
          </a:p>
          <a:p>
            <a:pPr lvl="6"/>
            <a:r>
              <a:rPr lang="en-US" noProof="0" dirty="0" smtClean="0"/>
              <a:t>7</a:t>
            </a:r>
          </a:p>
          <a:p>
            <a:pPr lvl="7"/>
            <a:r>
              <a:rPr lang="en-US" noProof="0" dirty="0" smtClean="0"/>
              <a:t>8</a:t>
            </a:r>
          </a:p>
          <a:p>
            <a:pPr lvl="8"/>
            <a:r>
              <a:rPr lang="en-US" noProof="0" dirty="0" smtClean="0"/>
              <a:t>9</a:t>
            </a:r>
            <a:endParaRPr lang="en-US" noProof="0" dirty="0"/>
          </a:p>
        </p:txBody>
      </p:sp>
      <p:cxnSp>
        <p:nvCxnSpPr>
          <p:cNvPr id="615" name="Gerade Verbindung 614"/>
          <p:cNvCxnSpPr/>
          <p:nvPr userDrawn="1"/>
        </p:nvCxnSpPr>
        <p:spPr bwMode="gray">
          <a:xfrm>
            <a:off x="-167101" y="188640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6" name="Gerade Verbindung 615"/>
          <p:cNvCxnSpPr/>
          <p:nvPr userDrawn="1"/>
        </p:nvCxnSpPr>
        <p:spPr bwMode="gray">
          <a:xfrm>
            <a:off x="-167117" y="1700808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7" name="Gerade Verbindung 616"/>
          <p:cNvCxnSpPr/>
          <p:nvPr userDrawn="1"/>
        </p:nvCxnSpPr>
        <p:spPr bwMode="gray">
          <a:xfrm>
            <a:off x="-167133" y="5949280"/>
            <a:ext cx="72000" cy="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7" name="Gerade Verbindung 656"/>
          <p:cNvCxnSpPr/>
          <p:nvPr userDrawn="1"/>
        </p:nvCxnSpPr>
        <p:spPr bwMode="gray">
          <a:xfrm>
            <a:off x="1929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8" name="Gerade Verbindung 657"/>
          <p:cNvCxnSpPr/>
          <p:nvPr userDrawn="1"/>
        </p:nvCxnSpPr>
        <p:spPr bwMode="gray">
          <a:xfrm>
            <a:off x="5529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9" name="Gerade Verbindung 658"/>
          <p:cNvCxnSpPr/>
          <p:nvPr userDrawn="1"/>
        </p:nvCxnSpPr>
        <p:spPr bwMode="gray">
          <a:xfrm>
            <a:off x="552152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0" name="Gerade Verbindung 659"/>
          <p:cNvCxnSpPr/>
          <p:nvPr userDrawn="1"/>
        </p:nvCxnSpPr>
        <p:spPr bwMode="gray">
          <a:xfrm>
            <a:off x="108501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1" name="Gerade Verbindung 660"/>
          <p:cNvCxnSpPr/>
          <p:nvPr userDrawn="1"/>
        </p:nvCxnSpPr>
        <p:spPr bwMode="gray">
          <a:xfrm>
            <a:off x="1200224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2" name="Gerade Verbindung 661"/>
          <p:cNvCxnSpPr/>
          <p:nvPr userDrawn="1"/>
        </p:nvCxnSpPr>
        <p:spPr bwMode="gray">
          <a:xfrm>
            <a:off x="5881563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 userDrawn="1"/>
        </p:nvCxnSpPr>
        <p:spPr bwMode="gray">
          <a:xfrm>
            <a:off x="379333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 userDrawn="1"/>
        </p:nvCxnSpPr>
        <p:spPr bwMode="gray">
          <a:xfrm>
            <a:off x="4153371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 userDrawn="1"/>
        </p:nvCxnSpPr>
        <p:spPr bwMode="gray">
          <a:xfrm>
            <a:off x="7249715" y="-171400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 userDrawn="1"/>
        </p:nvCxnSpPr>
        <p:spPr bwMode="gray">
          <a:xfrm rot="21540000">
            <a:off x="7609127" y="-171394"/>
            <a:ext cx="0" cy="72000"/>
          </a:xfrm>
          <a:prstGeom prst="line">
            <a:avLst/>
          </a:prstGeom>
          <a:ln w="6350">
            <a:solidFill>
              <a:srgbClr val="A3A3A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hteck 8"/>
          <p:cNvSpPr/>
          <p:nvPr userDrawn="1"/>
        </p:nvSpPr>
        <p:spPr bwMode="gray">
          <a:xfrm>
            <a:off x="552971" y="6333708"/>
            <a:ext cx="792088" cy="34966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l"/>
            <a:fld id="{D5406B15-6818-4DA3-8FF2-A154809E8684}" type="slidenum">
              <a:rPr lang="en-US" sz="2600" noProof="0" smtClean="0">
                <a:solidFill>
                  <a:schemeClr val="accent1"/>
                </a:solidFill>
              </a:rPr>
              <a:pPr algn="l"/>
              <a:t>‹#›</a:t>
            </a:fld>
            <a:endParaRPr lang="en-US" sz="2600" noProof="0" dirty="0" smtClean="0">
              <a:solidFill>
                <a:schemeClr val="accent1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 bwMode="gray">
          <a:xfrm>
            <a:off x="1416347" y="6340851"/>
            <a:ext cx="259308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Dat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1416347" y="6489357"/>
            <a:ext cx="6409432" cy="144016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sz="1000" noProof="0" dirty="0" smtClean="0">
                <a:solidFill>
                  <a:schemeClr val="tx1"/>
                </a:solidFill>
              </a:rPr>
              <a:t>Title</a:t>
            </a:r>
            <a:r>
              <a:rPr lang="en-US" sz="1000" baseline="0" noProof="0" dirty="0" smtClean="0">
                <a:solidFill>
                  <a:schemeClr val="tx1"/>
                </a:solidFill>
              </a:rPr>
              <a:t> of presentation</a:t>
            </a:r>
            <a:endParaRPr lang="en-US" sz="1000" noProof="0" dirty="0" smtClean="0">
              <a:solidFill>
                <a:schemeClr val="tx1"/>
              </a:solidFill>
            </a:endParaRPr>
          </a:p>
        </p:txBody>
      </p:sp>
      <p:cxnSp>
        <p:nvCxnSpPr>
          <p:cNvPr id="34" name="Gerade Verbindung 33"/>
          <p:cNvCxnSpPr/>
          <p:nvPr userDrawn="1"/>
        </p:nvCxnSpPr>
        <p:spPr bwMode="gray">
          <a:xfrm>
            <a:off x="1345059" y="6369057"/>
            <a:ext cx="0" cy="238125"/>
          </a:xfrm>
          <a:prstGeom prst="line">
            <a:avLst/>
          </a:prstGeom>
          <a:ln w="6350">
            <a:solidFill>
              <a:srgbClr val="00732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Grafik 27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850115" y="6195317"/>
            <a:ext cx="1152000" cy="417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2894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66" r:id="rId5"/>
    <p:sldLayoutId id="2147483668" r:id="rId6"/>
    <p:sldLayoutId id="2147483657" r:id="rId7"/>
    <p:sldLayoutId id="2147483665" r:id="rId8"/>
    <p:sldLayoutId id="2147483660" r:id="rId9"/>
    <p:sldLayoutId id="2147483658" r:id="rId10"/>
    <p:sldLayoutId id="2147483662" r:id="rId11"/>
    <p:sldLayoutId id="2147483661" r:id="rId12"/>
    <p:sldLayoutId id="2147483667" r:id="rId13"/>
    <p:sldLayoutId id="2147483663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79388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900000" indent="-180000" algn="l" defTabSz="914400" rtl="0" eaLnBrk="1" latinLnBrk="0" hangingPunct="1">
        <a:spcBef>
          <a:spcPts val="0"/>
        </a:spcBef>
        <a:spcAft>
          <a:spcPts val="400"/>
        </a:spcAft>
        <a:buClr>
          <a:schemeClr val="accent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7.xml"/><Relationship Id="rId7" Type="http://schemas.openxmlformats.org/officeDocument/2006/relationships/image" Target="../media/image7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9.bin"/><Relationship Id="rId11" Type="http://schemas.openxmlformats.org/officeDocument/2006/relationships/image" Target="../media/image16.png"/><Relationship Id="rId5" Type="http://schemas.openxmlformats.org/officeDocument/2006/relationships/notesSlide" Target="../notesSlides/notesSlide11.xml"/><Relationship Id="rId10" Type="http://schemas.openxmlformats.org/officeDocument/2006/relationships/image" Target="../media/image14.emf"/><Relationship Id="rId4" Type="http://schemas.openxmlformats.org/officeDocument/2006/relationships/slideLayout" Target="../slideLayouts/slideLayout7.xml"/><Relationship Id="rId9" Type="http://schemas.openxmlformats.org/officeDocument/2006/relationships/oleObject" Target="../embeddings/Microsoft_Excel_97-2003_Worksheet1.xls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8.xml"/><Relationship Id="rId4" Type="http://schemas.openxmlformats.org/officeDocument/2006/relationships/image" Target="../media/image1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49.xml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0.xml"/><Relationship Id="rId4" Type="http://schemas.openxmlformats.org/officeDocument/2006/relationships/image" Target="../media/image19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1.xml"/><Relationship Id="rId4" Type="http://schemas.openxmlformats.org/officeDocument/2006/relationships/image" Target="../media/image2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53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oleObject" Target="../embeddings/oleObject17.bin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notesSlide" Target="../notesSlides/notesSlide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2.xml"/><Relationship Id="rId11" Type="http://schemas.openxmlformats.org/officeDocument/2006/relationships/slideLayout" Target="../slideLayouts/slideLayout7.xml"/><Relationship Id="rId5" Type="http://schemas.openxmlformats.org/officeDocument/2006/relationships/tags" Target="../tags/tag21.xml"/><Relationship Id="rId15" Type="http://schemas.openxmlformats.org/officeDocument/2006/relationships/slide" Target="slide14.xml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12" Type="http://schemas.openxmlformats.org/officeDocument/2006/relationships/slideLayout" Target="../slideLayouts/slideLayout7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tags" Target="../tags/tag32.xml"/><Relationship Id="rId11" Type="http://schemas.openxmlformats.org/officeDocument/2006/relationships/tags" Target="../tags/tag37.xml"/><Relationship Id="rId5" Type="http://schemas.openxmlformats.org/officeDocument/2006/relationships/tags" Target="../tags/tag31.xml"/><Relationship Id="rId10" Type="http://schemas.openxmlformats.org/officeDocument/2006/relationships/tags" Target="../tags/tag36.xml"/><Relationship Id="rId4" Type="http://schemas.openxmlformats.org/officeDocument/2006/relationships/tags" Target="../tags/tag30.xml"/><Relationship Id="rId9" Type="http://schemas.openxmlformats.org/officeDocument/2006/relationships/tags" Target="../tags/tag35.xml"/><Relationship Id="rId1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7" Type="http://schemas.openxmlformats.org/officeDocument/2006/relationships/image" Target="../media/image7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18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8.xml"/><Relationship Id="rId3" Type="http://schemas.openxmlformats.org/officeDocument/2006/relationships/tags" Target="../tags/tag4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image" Target="../media/image11.png"/><Relationship Id="rId5" Type="http://schemas.openxmlformats.org/officeDocument/2006/relationships/tags" Target="../tags/tag44.xml"/><Relationship Id="rId10" Type="http://schemas.openxmlformats.org/officeDocument/2006/relationships/image" Target="../media/image10.png"/><Relationship Id="rId4" Type="http://schemas.openxmlformats.org/officeDocument/2006/relationships/tags" Target="../tags/tag43.xml"/><Relationship Id="rId9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25265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el 18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MANN+HUMMEL</a:t>
            </a:r>
            <a:br>
              <a:rPr lang="en-US" dirty="0" smtClean="0"/>
            </a:br>
            <a:r>
              <a:rPr lang="tr-TR" sz="2600" dirty="0" err="1" smtClean="0">
                <a:solidFill>
                  <a:schemeClr val="accent2"/>
                </a:solidFill>
              </a:rPr>
              <a:t>Importance</a:t>
            </a:r>
            <a:r>
              <a:rPr lang="tr-TR" sz="2600" dirty="0" smtClean="0">
                <a:solidFill>
                  <a:schemeClr val="accent2"/>
                </a:solidFill>
              </a:rPr>
              <a:t> of </a:t>
            </a:r>
            <a:r>
              <a:rPr lang="tr-TR" sz="2600" dirty="0" err="1" smtClean="0">
                <a:solidFill>
                  <a:schemeClr val="accent2"/>
                </a:solidFill>
              </a:rPr>
              <a:t>Innovative</a:t>
            </a:r>
            <a:r>
              <a:rPr lang="tr-TR" sz="2600" dirty="0" smtClean="0">
                <a:solidFill>
                  <a:schemeClr val="accent2"/>
                </a:solidFill>
              </a:rPr>
              <a:t> </a:t>
            </a:r>
            <a:r>
              <a:rPr lang="tr-TR" sz="2600" dirty="0" err="1" smtClean="0">
                <a:solidFill>
                  <a:schemeClr val="accent2"/>
                </a:solidFill>
              </a:rPr>
              <a:t>Approaches</a:t>
            </a:r>
            <a:r>
              <a:rPr lang="tr-TR" sz="2600" dirty="0" smtClean="0">
                <a:solidFill>
                  <a:schemeClr val="accent2"/>
                </a:solidFill>
              </a:rPr>
              <a:t> in </a:t>
            </a:r>
            <a:r>
              <a:rPr lang="tr-TR" sz="2600" dirty="0" err="1" smtClean="0">
                <a:solidFill>
                  <a:schemeClr val="accent2"/>
                </a:solidFill>
              </a:rPr>
              <a:t>Independent</a:t>
            </a:r>
            <a:r>
              <a:rPr lang="tr-TR" sz="2600" dirty="0" smtClean="0">
                <a:solidFill>
                  <a:schemeClr val="accent2"/>
                </a:solidFill>
              </a:rPr>
              <a:t> </a:t>
            </a:r>
            <a:r>
              <a:rPr lang="tr-TR" sz="2600" dirty="0" err="1" smtClean="0">
                <a:solidFill>
                  <a:schemeClr val="accent2"/>
                </a:solidFill>
              </a:rPr>
              <a:t>Aftermarket</a:t>
            </a:r>
            <a:r>
              <a:rPr lang="tr-TR" sz="2600" dirty="0" smtClean="0">
                <a:solidFill>
                  <a:schemeClr val="accent2"/>
                </a:solidFill>
              </a:rPr>
              <a:t> for </a:t>
            </a:r>
            <a:r>
              <a:rPr lang="tr-TR" sz="2600" dirty="0" err="1" smtClean="0">
                <a:solidFill>
                  <a:schemeClr val="accent2"/>
                </a:solidFill>
              </a:rPr>
              <a:t>Sales</a:t>
            </a:r>
            <a:r>
              <a:rPr lang="tr-TR" sz="2600" dirty="0" smtClean="0">
                <a:solidFill>
                  <a:schemeClr val="accent2"/>
                </a:solidFill>
              </a:rPr>
              <a:t> </a:t>
            </a:r>
            <a:r>
              <a:rPr lang="tr-TR" sz="2600" dirty="0" err="1" smtClean="0">
                <a:solidFill>
                  <a:schemeClr val="accent2"/>
                </a:solidFill>
              </a:rPr>
              <a:t>and</a:t>
            </a:r>
            <a:r>
              <a:rPr lang="tr-TR" sz="2600" dirty="0" smtClean="0">
                <a:solidFill>
                  <a:schemeClr val="accent2"/>
                </a:solidFill>
              </a:rPr>
              <a:t> </a:t>
            </a:r>
            <a:r>
              <a:rPr lang="tr-TR" sz="2600" dirty="0" err="1" smtClean="0">
                <a:solidFill>
                  <a:schemeClr val="accent2"/>
                </a:solidFill>
              </a:rPr>
              <a:t>Trade</a:t>
            </a:r>
            <a:r>
              <a:rPr lang="tr-TR" sz="2600" dirty="0" smtClean="0">
                <a:solidFill>
                  <a:schemeClr val="accent2"/>
                </a:solidFill>
              </a:rPr>
              <a:t> Marketing </a:t>
            </a:r>
            <a:endParaRPr lang="en-US" sz="2600" dirty="0">
              <a:solidFill>
                <a:schemeClr val="accent2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tr-TR" dirty="0" smtClean="0"/>
              <a:t>26th May 2017</a:t>
            </a:r>
            <a:endParaRPr lang="en-US" dirty="0"/>
          </a:p>
        </p:txBody>
      </p:sp>
      <p:sp>
        <p:nvSpPr>
          <p:cNvPr id="9" name="Subtitl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tr-TR" dirty="0" smtClean="0"/>
              <a:t>Onur Özyapıcı – </a:t>
            </a:r>
            <a:r>
              <a:rPr lang="tr-TR" dirty="0" err="1" smtClean="0"/>
              <a:t>Sales</a:t>
            </a:r>
            <a:r>
              <a:rPr lang="tr-TR" dirty="0" smtClean="0"/>
              <a:t> </a:t>
            </a:r>
            <a:r>
              <a:rPr lang="tr-TR" dirty="0" err="1" smtClean="0"/>
              <a:t>Director</a:t>
            </a:r>
            <a:endParaRPr lang="de-DE" dirty="0" smtClean="0"/>
          </a:p>
          <a:p>
            <a:r>
              <a:rPr lang="tr-TR" dirty="0" err="1" smtClean="0"/>
              <a:t>Istanbul</a:t>
            </a:r>
            <a:endParaRPr lang="tr-TR" dirty="0" smtClean="0"/>
          </a:p>
        </p:txBody>
      </p:sp>
    </p:spTree>
    <p:extLst>
      <p:ext uri="{BB962C8B-B14F-4D97-AF65-F5344CB8AC3E}">
        <p14:creationId xmlns:p14="http://schemas.microsoft.com/office/powerpoint/2010/main" val="2074931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tr-TR" dirty="0" smtClean="0"/>
              <a:t>4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52971" y="3278015"/>
            <a:ext cx="10296000" cy="123110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ood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actic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Cabin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reciou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Plus)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New cabin filter for increased protection against allergens, bacteria and </a:t>
            </a:r>
            <a:r>
              <a:rPr lang="en-US" dirty="0" err="1"/>
              <a:t>mould</a:t>
            </a:r>
            <a:endParaRPr lang="en-US" dirty="0"/>
          </a:p>
        </p:txBody>
      </p:sp>
      <p:sp>
        <p:nvSpPr>
          <p:cNvPr id="5" name="Freeform 4"/>
          <p:cNvSpPr>
            <a:spLocks/>
          </p:cNvSpPr>
          <p:nvPr/>
        </p:nvSpPr>
        <p:spPr bwMode="auto">
          <a:xfrm rot="480000">
            <a:off x="9445062" y="3682644"/>
            <a:ext cx="1653369" cy="1654908"/>
          </a:xfrm>
          <a:custGeom>
            <a:avLst/>
            <a:gdLst>
              <a:gd name="T0" fmla="*/ 618 w 1074"/>
              <a:gd name="T1" fmla="*/ 5 h 1075"/>
              <a:gd name="T2" fmla="*/ 685 w 1074"/>
              <a:gd name="T3" fmla="*/ 19 h 1075"/>
              <a:gd name="T4" fmla="*/ 748 w 1074"/>
              <a:gd name="T5" fmla="*/ 43 h 1075"/>
              <a:gd name="T6" fmla="*/ 807 w 1074"/>
              <a:gd name="T7" fmla="*/ 74 h 1075"/>
              <a:gd name="T8" fmla="*/ 864 w 1074"/>
              <a:gd name="T9" fmla="*/ 109 h 1075"/>
              <a:gd name="T10" fmla="*/ 916 w 1074"/>
              <a:gd name="T11" fmla="*/ 154 h 1075"/>
              <a:gd name="T12" fmla="*/ 961 w 1074"/>
              <a:gd name="T13" fmla="*/ 206 h 1075"/>
              <a:gd name="T14" fmla="*/ 999 w 1074"/>
              <a:gd name="T15" fmla="*/ 260 h 1075"/>
              <a:gd name="T16" fmla="*/ 1030 w 1074"/>
              <a:gd name="T17" fmla="*/ 322 h 1075"/>
              <a:gd name="T18" fmla="*/ 1053 w 1074"/>
              <a:gd name="T19" fmla="*/ 383 h 1075"/>
              <a:gd name="T20" fmla="*/ 1067 w 1074"/>
              <a:gd name="T21" fmla="*/ 449 h 1075"/>
              <a:gd name="T22" fmla="*/ 1074 w 1074"/>
              <a:gd name="T23" fmla="*/ 518 h 1075"/>
              <a:gd name="T24" fmla="*/ 1074 w 1074"/>
              <a:gd name="T25" fmla="*/ 584 h 1075"/>
              <a:gd name="T26" fmla="*/ 1063 w 1074"/>
              <a:gd name="T27" fmla="*/ 652 h 1075"/>
              <a:gd name="T28" fmla="*/ 1046 w 1074"/>
              <a:gd name="T29" fmla="*/ 716 h 1075"/>
              <a:gd name="T30" fmla="*/ 1018 w 1074"/>
              <a:gd name="T31" fmla="*/ 780 h 1075"/>
              <a:gd name="T32" fmla="*/ 985 w 1074"/>
              <a:gd name="T33" fmla="*/ 837 h 1075"/>
              <a:gd name="T34" fmla="*/ 944 w 1074"/>
              <a:gd name="T35" fmla="*/ 891 h 1075"/>
              <a:gd name="T36" fmla="*/ 895 w 1074"/>
              <a:gd name="T37" fmla="*/ 940 h 1075"/>
              <a:gd name="T38" fmla="*/ 843 w 1074"/>
              <a:gd name="T39" fmla="*/ 981 h 1075"/>
              <a:gd name="T40" fmla="*/ 784 w 1074"/>
              <a:gd name="T41" fmla="*/ 1016 h 1075"/>
              <a:gd name="T42" fmla="*/ 722 w 1074"/>
              <a:gd name="T43" fmla="*/ 1044 h 1075"/>
              <a:gd name="T44" fmla="*/ 659 w 1074"/>
              <a:gd name="T45" fmla="*/ 1063 h 1075"/>
              <a:gd name="T46" fmla="*/ 592 w 1074"/>
              <a:gd name="T47" fmla="*/ 1073 h 1075"/>
              <a:gd name="T48" fmla="*/ 524 w 1074"/>
              <a:gd name="T49" fmla="*/ 1075 h 1075"/>
              <a:gd name="T50" fmla="*/ 455 w 1074"/>
              <a:gd name="T51" fmla="*/ 1070 h 1075"/>
              <a:gd name="T52" fmla="*/ 389 w 1074"/>
              <a:gd name="T53" fmla="*/ 1056 h 1075"/>
              <a:gd name="T54" fmla="*/ 326 w 1074"/>
              <a:gd name="T55" fmla="*/ 1033 h 1075"/>
              <a:gd name="T56" fmla="*/ 266 w 1074"/>
              <a:gd name="T57" fmla="*/ 1004 h 1075"/>
              <a:gd name="T58" fmla="*/ 210 w 1074"/>
              <a:gd name="T59" fmla="*/ 966 h 1075"/>
              <a:gd name="T60" fmla="*/ 158 w 1074"/>
              <a:gd name="T61" fmla="*/ 922 h 1075"/>
              <a:gd name="T62" fmla="*/ 113 w 1074"/>
              <a:gd name="T63" fmla="*/ 872 h 1075"/>
              <a:gd name="T64" fmla="*/ 75 w 1074"/>
              <a:gd name="T65" fmla="*/ 815 h 1075"/>
              <a:gd name="T66" fmla="*/ 44 w 1074"/>
              <a:gd name="T67" fmla="*/ 756 h 1075"/>
              <a:gd name="T68" fmla="*/ 21 w 1074"/>
              <a:gd name="T69" fmla="*/ 692 h 1075"/>
              <a:gd name="T70" fmla="*/ 7 w 1074"/>
              <a:gd name="T71" fmla="*/ 626 h 1075"/>
              <a:gd name="T72" fmla="*/ 0 w 1074"/>
              <a:gd name="T73" fmla="*/ 558 h 1075"/>
              <a:gd name="T74" fmla="*/ 0 w 1074"/>
              <a:gd name="T75" fmla="*/ 492 h 1075"/>
              <a:gd name="T76" fmla="*/ 11 w 1074"/>
              <a:gd name="T77" fmla="*/ 423 h 1075"/>
              <a:gd name="T78" fmla="*/ 30 w 1074"/>
              <a:gd name="T79" fmla="*/ 359 h 1075"/>
              <a:gd name="T80" fmla="*/ 56 w 1074"/>
              <a:gd name="T81" fmla="*/ 298 h 1075"/>
              <a:gd name="T82" fmla="*/ 89 w 1074"/>
              <a:gd name="T83" fmla="*/ 239 h 1075"/>
              <a:gd name="T84" fmla="*/ 129 w 1074"/>
              <a:gd name="T85" fmla="*/ 185 h 1075"/>
              <a:gd name="T86" fmla="*/ 179 w 1074"/>
              <a:gd name="T87" fmla="*/ 137 h 1075"/>
              <a:gd name="T88" fmla="*/ 231 w 1074"/>
              <a:gd name="T89" fmla="*/ 95 h 1075"/>
              <a:gd name="T90" fmla="*/ 290 w 1074"/>
              <a:gd name="T91" fmla="*/ 59 h 1075"/>
              <a:gd name="T92" fmla="*/ 352 w 1074"/>
              <a:gd name="T93" fmla="*/ 34 h 1075"/>
              <a:gd name="T94" fmla="*/ 415 w 1074"/>
              <a:gd name="T95" fmla="*/ 12 h 1075"/>
              <a:gd name="T96" fmla="*/ 484 w 1074"/>
              <a:gd name="T97" fmla="*/ 3 h 1075"/>
              <a:gd name="T98" fmla="*/ 550 w 1074"/>
              <a:gd name="T99" fmla="*/ 0 h 1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74" h="1075">
                <a:moveTo>
                  <a:pt x="581" y="52"/>
                </a:moveTo>
                <a:lnTo>
                  <a:pt x="618" y="5"/>
                </a:lnTo>
                <a:lnTo>
                  <a:pt x="640" y="59"/>
                </a:lnTo>
                <a:lnTo>
                  <a:pt x="685" y="19"/>
                </a:lnTo>
                <a:lnTo>
                  <a:pt x="699" y="78"/>
                </a:lnTo>
                <a:lnTo>
                  <a:pt x="748" y="43"/>
                </a:lnTo>
                <a:lnTo>
                  <a:pt x="755" y="102"/>
                </a:lnTo>
                <a:lnTo>
                  <a:pt x="807" y="74"/>
                </a:lnTo>
                <a:lnTo>
                  <a:pt x="810" y="133"/>
                </a:lnTo>
                <a:lnTo>
                  <a:pt x="864" y="109"/>
                </a:lnTo>
                <a:lnTo>
                  <a:pt x="857" y="171"/>
                </a:lnTo>
                <a:lnTo>
                  <a:pt x="916" y="154"/>
                </a:lnTo>
                <a:lnTo>
                  <a:pt x="902" y="213"/>
                </a:lnTo>
                <a:lnTo>
                  <a:pt x="961" y="206"/>
                </a:lnTo>
                <a:lnTo>
                  <a:pt x="940" y="260"/>
                </a:lnTo>
                <a:lnTo>
                  <a:pt x="999" y="260"/>
                </a:lnTo>
                <a:lnTo>
                  <a:pt x="970" y="312"/>
                </a:lnTo>
                <a:lnTo>
                  <a:pt x="1030" y="322"/>
                </a:lnTo>
                <a:lnTo>
                  <a:pt x="996" y="369"/>
                </a:lnTo>
                <a:lnTo>
                  <a:pt x="1053" y="383"/>
                </a:lnTo>
                <a:lnTo>
                  <a:pt x="1013" y="428"/>
                </a:lnTo>
                <a:lnTo>
                  <a:pt x="1067" y="449"/>
                </a:lnTo>
                <a:lnTo>
                  <a:pt x="1022" y="489"/>
                </a:lnTo>
                <a:lnTo>
                  <a:pt x="1074" y="518"/>
                </a:lnTo>
                <a:lnTo>
                  <a:pt x="1025" y="551"/>
                </a:lnTo>
                <a:lnTo>
                  <a:pt x="1074" y="584"/>
                </a:lnTo>
                <a:lnTo>
                  <a:pt x="1020" y="610"/>
                </a:lnTo>
                <a:lnTo>
                  <a:pt x="1063" y="652"/>
                </a:lnTo>
                <a:lnTo>
                  <a:pt x="1008" y="671"/>
                </a:lnTo>
                <a:lnTo>
                  <a:pt x="1046" y="716"/>
                </a:lnTo>
                <a:lnTo>
                  <a:pt x="987" y="728"/>
                </a:lnTo>
                <a:lnTo>
                  <a:pt x="1018" y="780"/>
                </a:lnTo>
                <a:lnTo>
                  <a:pt x="959" y="785"/>
                </a:lnTo>
                <a:lnTo>
                  <a:pt x="985" y="837"/>
                </a:lnTo>
                <a:lnTo>
                  <a:pt x="926" y="834"/>
                </a:lnTo>
                <a:lnTo>
                  <a:pt x="944" y="891"/>
                </a:lnTo>
                <a:lnTo>
                  <a:pt x="885" y="881"/>
                </a:lnTo>
                <a:lnTo>
                  <a:pt x="895" y="940"/>
                </a:lnTo>
                <a:lnTo>
                  <a:pt x="838" y="922"/>
                </a:lnTo>
                <a:lnTo>
                  <a:pt x="843" y="981"/>
                </a:lnTo>
                <a:lnTo>
                  <a:pt x="789" y="957"/>
                </a:lnTo>
                <a:lnTo>
                  <a:pt x="784" y="1016"/>
                </a:lnTo>
                <a:lnTo>
                  <a:pt x="734" y="985"/>
                </a:lnTo>
                <a:lnTo>
                  <a:pt x="722" y="1044"/>
                </a:lnTo>
                <a:lnTo>
                  <a:pt x="678" y="1007"/>
                </a:lnTo>
                <a:lnTo>
                  <a:pt x="659" y="1063"/>
                </a:lnTo>
                <a:lnTo>
                  <a:pt x="616" y="1021"/>
                </a:lnTo>
                <a:lnTo>
                  <a:pt x="592" y="1073"/>
                </a:lnTo>
                <a:lnTo>
                  <a:pt x="555" y="1025"/>
                </a:lnTo>
                <a:lnTo>
                  <a:pt x="524" y="1075"/>
                </a:lnTo>
                <a:lnTo>
                  <a:pt x="496" y="1025"/>
                </a:lnTo>
                <a:lnTo>
                  <a:pt x="455" y="1070"/>
                </a:lnTo>
                <a:lnTo>
                  <a:pt x="434" y="1016"/>
                </a:lnTo>
                <a:lnTo>
                  <a:pt x="389" y="1056"/>
                </a:lnTo>
                <a:lnTo>
                  <a:pt x="375" y="1000"/>
                </a:lnTo>
                <a:lnTo>
                  <a:pt x="326" y="1033"/>
                </a:lnTo>
                <a:lnTo>
                  <a:pt x="318" y="974"/>
                </a:lnTo>
                <a:lnTo>
                  <a:pt x="266" y="1004"/>
                </a:lnTo>
                <a:lnTo>
                  <a:pt x="266" y="943"/>
                </a:lnTo>
                <a:lnTo>
                  <a:pt x="210" y="966"/>
                </a:lnTo>
                <a:lnTo>
                  <a:pt x="217" y="907"/>
                </a:lnTo>
                <a:lnTo>
                  <a:pt x="158" y="922"/>
                </a:lnTo>
                <a:lnTo>
                  <a:pt x="172" y="863"/>
                </a:lnTo>
                <a:lnTo>
                  <a:pt x="113" y="872"/>
                </a:lnTo>
                <a:lnTo>
                  <a:pt x="134" y="815"/>
                </a:lnTo>
                <a:lnTo>
                  <a:pt x="75" y="815"/>
                </a:lnTo>
                <a:lnTo>
                  <a:pt x="103" y="763"/>
                </a:lnTo>
                <a:lnTo>
                  <a:pt x="44" y="756"/>
                </a:lnTo>
                <a:lnTo>
                  <a:pt x="77" y="707"/>
                </a:lnTo>
                <a:lnTo>
                  <a:pt x="21" y="692"/>
                </a:lnTo>
                <a:lnTo>
                  <a:pt x="61" y="648"/>
                </a:lnTo>
                <a:lnTo>
                  <a:pt x="7" y="626"/>
                </a:lnTo>
                <a:lnTo>
                  <a:pt x="51" y="586"/>
                </a:lnTo>
                <a:lnTo>
                  <a:pt x="0" y="558"/>
                </a:lnTo>
                <a:lnTo>
                  <a:pt x="49" y="527"/>
                </a:lnTo>
                <a:lnTo>
                  <a:pt x="0" y="492"/>
                </a:lnTo>
                <a:lnTo>
                  <a:pt x="54" y="466"/>
                </a:lnTo>
                <a:lnTo>
                  <a:pt x="11" y="423"/>
                </a:lnTo>
                <a:lnTo>
                  <a:pt x="68" y="404"/>
                </a:lnTo>
                <a:lnTo>
                  <a:pt x="30" y="359"/>
                </a:lnTo>
                <a:lnTo>
                  <a:pt x="87" y="348"/>
                </a:lnTo>
                <a:lnTo>
                  <a:pt x="56" y="298"/>
                </a:lnTo>
                <a:lnTo>
                  <a:pt x="115" y="293"/>
                </a:lnTo>
                <a:lnTo>
                  <a:pt x="89" y="239"/>
                </a:lnTo>
                <a:lnTo>
                  <a:pt x="148" y="241"/>
                </a:lnTo>
                <a:lnTo>
                  <a:pt x="129" y="185"/>
                </a:lnTo>
                <a:lnTo>
                  <a:pt x="189" y="194"/>
                </a:lnTo>
                <a:lnTo>
                  <a:pt x="179" y="137"/>
                </a:lnTo>
                <a:lnTo>
                  <a:pt x="236" y="154"/>
                </a:lnTo>
                <a:lnTo>
                  <a:pt x="231" y="95"/>
                </a:lnTo>
                <a:lnTo>
                  <a:pt x="285" y="119"/>
                </a:lnTo>
                <a:lnTo>
                  <a:pt x="290" y="59"/>
                </a:lnTo>
                <a:lnTo>
                  <a:pt x="340" y="90"/>
                </a:lnTo>
                <a:lnTo>
                  <a:pt x="352" y="34"/>
                </a:lnTo>
                <a:lnTo>
                  <a:pt x="396" y="69"/>
                </a:lnTo>
                <a:lnTo>
                  <a:pt x="415" y="12"/>
                </a:lnTo>
                <a:lnTo>
                  <a:pt x="458" y="57"/>
                </a:lnTo>
                <a:lnTo>
                  <a:pt x="484" y="3"/>
                </a:lnTo>
                <a:lnTo>
                  <a:pt x="519" y="50"/>
                </a:lnTo>
                <a:lnTo>
                  <a:pt x="550" y="0"/>
                </a:lnTo>
                <a:lnTo>
                  <a:pt x="581" y="5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International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patent</a:t>
            </a:r>
          </a:p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pending</a:t>
            </a:r>
            <a:endParaRPr lang="en-US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248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8271637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39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en-US" kern="0" dirty="0"/>
              <a:t>Why do we need </a:t>
            </a:r>
            <a:r>
              <a:rPr lang="en-US" kern="0" dirty="0" err="1"/>
              <a:t>FreciousPlus</a:t>
            </a:r>
            <a:r>
              <a:rPr lang="en-US" kern="0" dirty="0"/>
              <a:t> cabin air filters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Status quo</a:t>
            </a:r>
            <a:endParaRPr lang="en-US" dirty="0"/>
          </a:p>
        </p:txBody>
      </p:sp>
      <p:sp>
        <p:nvSpPr>
          <p:cNvPr id="25" name="Inhaltsplatzhalter 3"/>
          <p:cNvSpPr txBox="1">
            <a:spLocks/>
          </p:cNvSpPr>
          <p:nvPr/>
        </p:nvSpPr>
        <p:spPr bwMode="gray">
          <a:xfrm>
            <a:off x="552971" y="1700139"/>
            <a:ext cx="10296000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Increasing share of people suffering from allergies (ca. 20 – 25 % of population in Europe)</a:t>
            </a:r>
          </a:p>
          <a:p>
            <a:r>
              <a:rPr lang="en-US" dirty="0" smtClean="0"/>
              <a:t>Pollen (86 % of allergists) and </a:t>
            </a:r>
            <a:r>
              <a:rPr lang="en-US" dirty="0" err="1" smtClean="0"/>
              <a:t>mould</a:t>
            </a:r>
            <a:r>
              <a:rPr lang="en-US" dirty="0" smtClean="0"/>
              <a:t> (14 % of allergists)</a:t>
            </a:r>
          </a:p>
          <a:p>
            <a:r>
              <a:rPr lang="en-US" dirty="0" smtClean="0"/>
              <a:t>Air coming through ventilation can be up to 5 times more polluted than ambient air on the street</a:t>
            </a:r>
          </a:p>
          <a:p>
            <a:r>
              <a:rPr lang="en-US" dirty="0" smtClean="0"/>
              <a:t>Population becomes more health conscious</a:t>
            </a:r>
          </a:p>
          <a:p>
            <a:endParaRPr lang="en-US" dirty="0"/>
          </a:p>
        </p:txBody>
      </p:sp>
      <p:pic>
        <p:nvPicPr>
          <p:cNvPr id="28" name="Grafik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4545496" y="2714064"/>
            <a:ext cx="7649679" cy="3713188"/>
          </a:xfrm>
          <a:prstGeom prst="rect">
            <a:avLst/>
          </a:prstGeom>
        </p:spPr>
      </p:pic>
      <p:graphicFrame>
        <p:nvGraphicFramePr>
          <p:cNvPr id="29" name="Diagram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01071455"/>
              </p:ext>
            </p:extLst>
          </p:nvPr>
        </p:nvGraphicFramePr>
        <p:xfrm>
          <a:off x="696987" y="3609875"/>
          <a:ext cx="3774774" cy="23394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0" name="Worksheet" r:id="rId9" imgW="5067210" imgH="3429077" progId="Excel.Sheet.8">
                  <p:embed/>
                </p:oleObj>
              </mc:Choice>
              <mc:Fallback>
                <p:oleObj name="Worksheet" r:id="rId9" imgW="5067210" imgH="3429077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6987" y="3609875"/>
                        <a:ext cx="3774774" cy="2339405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Rechteck 20"/>
          <p:cNvSpPr/>
          <p:nvPr/>
        </p:nvSpPr>
        <p:spPr>
          <a:xfrm>
            <a:off x="4545496" y="5347488"/>
            <a:ext cx="133619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 smtClean="0">
                <a:latin typeface="Arial"/>
              </a:rPr>
              <a:t>*American Academy of Allergy Asthma and Immunology (AAAAI); </a:t>
            </a:r>
            <a:br>
              <a:rPr lang="en-US" sz="800" dirty="0" smtClean="0">
                <a:latin typeface="Arial"/>
              </a:rPr>
            </a:br>
            <a:r>
              <a:rPr lang="en-US" sz="800" dirty="0" smtClean="0">
                <a:latin typeface="Arial"/>
              </a:rPr>
              <a:t>annual growth: 2-6%</a:t>
            </a:r>
            <a:endParaRPr lang="en-US" sz="800" dirty="0">
              <a:latin typeface="Arial"/>
            </a:endParaRPr>
          </a:p>
        </p:txBody>
      </p:sp>
      <p:sp>
        <p:nvSpPr>
          <p:cNvPr id="31" name="Freeform 8"/>
          <p:cNvSpPr>
            <a:spLocks/>
          </p:cNvSpPr>
          <p:nvPr/>
        </p:nvSpPr>
        <p:spPr bwMode="auto">
          <a:xfrm rot="480000">
            <a:off x="4603217" y="3697221"/>
            <a:ext cx="1302874" cy="1304087"/>
          </a:xfrm>
          <a:custGeom>
            <a:avLst/>
            <a:gdLst>
              <a:gd name="T0" fmla="*/ 618 w 1074"/>
              <a:gd name="T1" fmla="*/ 5 h 1075"/>
              <a:gd name="T2" fmla="*/ 685 w 1074"/>
              <a:gd name="T3" fmla="*/ 19 h 1075"/>
              <a:gd name="T4" fmla="*/ 748 w 1074"/>
              <a:gd name="T5" fmla="*/ 43 h 1075"/>
              <a:gd name="T6" fmla="*/ 807 w 1074"/>
              <a:gd name="T7" fmla="*/ 74 h 1075"/>
              <a:gd name="T8" fmla="*/ 864 w 1074"/>
              <a:gd name="T9" fmla="*/ 109 h 1075"/>
              <a:gd name="T10" fmla="*/ 916 w 1074"/>
              <a:gd name="T11" fmla="*/ 154 h 1075"/>
              <a:gd name="T12" fmla="*/ 961 w 1074"/>
              <a:gd name="T13" fmla="*/ 206 h 1075"/>
              <a:gd name="T14" fmla="*/ 999 w 1074"/>
              <a:gd name="T15" fmla="*/ 260 h 1075"/>
              <a:gd name="T16" fmla="*/ 1030 w 1074"/>
              <a:gd name="T17" fmla="*/ 322 h 1075"/>
              <a:gd name="T18" fmla="*/ 1053 w 1074"/>
              <a:gd name="T19" fmla="*/ 383 h 1075"/>
              <a:gd name="T20" fmla="*/ 1067 w 1074"/>
              <a:gd name="T21" fmla="*/ 449 h 1075"/>
              <a:gd name="T22" fmla="*/ 1074 w 1074"/>
              <a:gd name="T23" fmla="*/ 518 h 1075"/>
              <a:gd name="T24" fmla="*/ 1074 w 1074"/>
              <a:gd name="T25" fmla="*/ 584 h 1075"/>
              <a:gd name="T26" fmla="*/ 1063 w 1074"/>
              <a:gd name="T27" fmla="*/ 652 h 1075"/>
              <a:gd name="T28" fmla="*/ 1046 w 1074"/>
              <a:gd name="T29" fmla="*/ 716 h 1075"/>
              <a:gd name="T30" fmla="*/ 1018 w 1074"/>
              <a:gd name="T31" fmla="*/ 780 h 1075"/>
              <a:gd name="T32" fmla="*/ 985 w 1074"/>
              <a:gd name="T33" fmla="*/ 837 h 1075"/>
              <a:gd name="T34" fmla="*/ 944 w 1074"/>
              <a:gd name="T35" fmla="*/ 891 h 1075"/>
              <a:gd name="T36" fmla="*/ 895 w 1074"/>
              <a:gd name="T37" fmla="*/ 940 h 1075"/>
              <a:gd name="T38" fmla="*/ 843 w 1074"/>
              <a:gd name="T39" fmla="*/ 981 h 1075"/>
              <a:gd name="T40" fmla="*/ 784 w 1074"/>
              <a:gd name="T41" fmla="*/ 1016 h 1075"/>
              <a:gd name="T42" fmla="*/ 722 w 1074"/>
              <a:gd name="T43" fmla="*/ 1044 h 1075"/>
              <a:gd name="T44" fmla="*/ 659 w 1074"/>
              <a:gd name="T45" fmla="*/ 1063 h 1075"/>
              <a:gd name="T46" fmla="*/ 592 w 1074"/>
              <a:gd name="T47" fmla="*/ 1073 h 1075"/>
              <a:gd name="T48" fmla="*/ 524 w 1074"/>
              <a:gd name="T49" fmla="*/ 1075 h 1075"/>
              <a:gd name="T50" fmla="*/ 455 w 1074"/>
              <a:gd name="T51" fmla="*/ 1070 h 1075"/>
              <a:gd name="T52" fmla="*/ 389 w 1074"/>
              <a:gd name="T53" fmla="*/ 1056 h 1075"/>
              <a:gd name="T54" fmla="*/ 326 w 1074"/>
              <a:gd name="T55" fmla="*/ 1033 h 1075"/>
              <a:gd name="T56" fmla="*/ 266 w 1074"/>
              <a:gd name="T57" fmla="*/ 1004 h 1075"/>
              <a:gd name="T58" fmla="*/ 210 w 1074"/>
              <a:gd name="T59" fmla="*/ 966 h 1075"/>
              <a:gd name="T60" fmla="*/ 158 w 1074"/>
              <a:gd name="T61" fmla="*/ 922 h 1075"/>
              <a:gd name="T62" fmla="*/ 113 w 1074"/>
              <a:gd name="T63" fmla="*/ 872 h 1075"/>
              <a:gd name="T64" fmla="*/ 75 w 1074"/>
              <a:gd name="T65" fmla="*/ 815 h 1075"/>
              <a:gd name="T66" fmla="*/ 44 w 1074"/>
              <a:gd name="T67" fmla="*/ 756 h 1075"/>
              <a:gd name="T68" fmla="*/ 21 w 1074"/>
              <a:gd name="T69" fmla="*/ 692 h 1075"/>
              <a:gd name="T70" fmla="*/ 7 w 1074"/>
              <a:gd name="T71" fmla="*/ 626 h 1075"/>
              <a:gd name="T72" fmla="*/ 0 w 1074"/>
              <a:gd name="T73" fmla="*/ 558 h 1075"/>
              <a:gd name="T74" fmla="*/ 0 w 1074"/>
              <a:gd name="T75" fmla="*/ 492 h 1075"/>
              <a:gd name="T76" fmla="*/ 11 w 1074"/>
              <a:gd name="T77" fmla="*/ 423 h 1075"/>
              <a:gd name="T78" fmla="*/ 30 w 1074"/>
              <a:gd name="T79" fmla="*/ 359 h 1075"/>
              <a:gd name="T80" fmla="*/ 56 w 1074"/>
              <a:gd name="T81" fmla="*/ 298 h 1075"/>
              <a:gd name="T82" fmla="*/ 89 w 1074"/>
              <a:gd name="T83" fmla="*/ 239 h 1075"/>
              <a:gd name="T84" fmla="*/ 129 w 1074"/>
              <a:gd name="T85" fmla="*/ 185 h 1075"/>
              <a:gd name="T86" fmla="*/ 179 w 1074"/>
              <a:gd name="T87" fmla="*/ 137 h 1075"/>
              <a:gd name="T88" fmla="*/ 231 w 1074"/>
              <a:gd name="T89" fmla="*/ 95 h 1075"/>
              <a:gd name="T90" fmla="*/ 290 w 1074"/>
              <a:gd name="T91" fmla="*/ 59 h 1075"/>
              <a:gd name="T92" fmla="*/ 352 w 1074"/>
              <a:gd name="T93" fmla="*/ 34 h 1075"/>
              <a:gd name="T94" fmla="*/ 415 w 1074"/>
              <a:gd name="T95" fmla="*/ 12 h 1075"/>
              <a:gd name="T96" fmla="*/ 484 w 1074"/>
              <a:gd name="T97" fmla="*/ 3 h 1075"/>
              <a:gd name="T98" fmla="*/ 550 w 1074"/>
              <a:gd name="T99" fmla="*/ 0 h 1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74" h="1075">
                <a:moveTo>
                  <a:pt x="581" y="52"/>
                </a:moveTo>
                <a:lnTo>
                  <a:pt x="618" y="5"/>
                </a:lnTo>
                <a:lnTo>
                  <a:pt x="640" y="59"/>
                </a:lnTo>
                <a:lnTo>
                  <a:pt x="685" y="19"/>
                </a:lnTo>
                <a:lnTo>
                  <a:pt x="699" y="78"/>
                </a:lnTo>
                <a:lnTo>
                  <a:pt x="748" y="43"/>
                </a:lnTo>
                <a:lnTo>
                  <a:pt x="755" y="102"/>
                </a:lnTo>
                <a:lnTo>
                  <a:pt x="807" y="74"/>
                </a:lnTo>
                <a:lnTo>
                  <a:pt x="810" y="133"/>
                </a:lnTo>
                <a:lnTo>
                  <a:pt x="864" y="109"/>
                </a:lnTo>
                <a:lnTo>
                  <a:pt x="857" y="171"/>
                </a:lnTo>
                <a:lnTo>
                  <a:pt x="916" y="154"/>
                </a:lnTo>
                <a:lnTo>
                  <a:pt x="902" y="213"/>
                </a:lnTo>
                <a:lnTo>
                  <a:pt x="961" y="206"/>
                </a:lnTo>
                <a:lnTo>
                  <a:pt x="940" y="260"/>
                </a:lnTo>
                <a:lnTo>
                  <a:pt x="999" y="260"/>
                </a:lnTo>
                <a:lnTo>
                  <a:pt x="970" y="312"/>
                </a:lnTo>
                <a:lnTo>
                  <a:pt x="1030" y="322"/>
                </a:lnTo>
                <a:lnTo>
                  <a:pt x="996" y="369"/>
                </a:lnTo>
                <a:lnTo>
                  <a:pt x="1053" y="383"/>
                </a:lnTo>
                <a:lnTo>
                  <a:pt x="1013" y="428"/>
                </a:lnTo>
                <a:lnTo>
                  <a:pt x="1067" y="449"/>
                </a:lnTo>
                <a:lnTo>
                  <a:pt x="1022" y="489"/>
                </a:lnTo>
                <a:lnTo>
                  <a:pt x="1074" y="518"/>
                </a:lnTo>
                <a:lnTo>
                  <a:pt x="1025" y="551"/>
                </a:lnTo>
                <a:lnTo>
                  <a:pt x="1074" y="584"/>
                </a:lnTo>
                <a:lnTo>
                  <a:pt x="1020" y="610"/>
                </a:lnTo>
                <a:lnTo>
                  <a:pt x="1063" y="652"/>
                </a:lnTo>
                <a:lnTo>
                  <a:pt x="1008" y="671"/>
                </a:lnTo>
                <a:lnTo>
                  <a:pt x="1046" y="716"/>
                </a:lnTo>
                <a:lnTo>
                  <a:pt x="987" y="728"/>
                </a:lnTo>
                <a:lnTo>
                  <a:pt x="1018" y="780"/>
                </a:lnTo>
                <a:lnTo>
                  <a:pt x="959" y="785"/>
                </a:lnTo>
                <a:lnTo>
                  <a:pt x="985" y="837"/>
                </a:lnTo>
                <a:lnTo>
                  <a:pt x="926" y="834"/>
                </a:lnTo>
                <a:lnTo>
                  <a:pt x="944" y="891"/>
                </a:lnTo>
                <a:lnTo>
                  <a:pt x="885" y="881"/>
                </a:lnTo>
                <a:lnTo>
                  <a:pt x="895" y="940"/>
                </a:lnTo>
                <a:lnTo>
                  <a:pt x="838" y="922"/>
                </a:lnTo>
                <a:lnTo>
                  <a:pt x="843" y="981"/>
                </a:lnTo>
                <a:lnTo>
                  <a:pt x="789" y="957"/>
                </a:lnTo>
                <a:lnTo>
                  <a:pt x="784" y="1016"/>
                </a:lnTo>
                <a:lnTo>
                  <a:pt x="734" y="985"/>
                </a:lnTo>
                <a:lnTo>
                  <a:pt x="722" y="1044"/>
                </a:lnTo>
                <a:lnTo>
                  <a:pt x="678" y="1007"/>
                </a:lnTo>
                <a:lnTo>
                  <a:pt x="659" y="1063"/>
                </a:lnTo>
                <a:lnTo>
                  <a:pt x="616" y="1021"/>
                </a:lnTo>
                <a:lnTo>
                  <a:pt x="592" y="1073"/>
                </a:lnTo>
                <a:lnTo>
                  <a:pt x="555" y="1025"/>
                </a:lnTo>
                <a:lnTo>
                  <a:pt x="524" y="1075"/>
                </a:lnTo>
                <a:lnTo>
                  <a:pt x="496" y="1025"/>
                </a:lnTo>
                <a:lnTo>
                  <a:pt x="455" y="1070"/>
                </a:lnTo>
                <a:lnTo>
                  <a:pt x="434" y="1016"/>
                </a:lnTo>
                <a:lnTo>
                  <a:pt x="389" y="1056"/>
                </a:lnTo>
                <a:lnTo>
                  <a:pt x="375" y="1000"/>
                </a:lnTo>
                <a:lnTo>
                  <a:pt x="326" y="1033"/>
                </a:lnTo>
                <a:lnTo>
                  <a:pt x="318" y="974"/>
                </a:lnTo>
                <a:lnTo>
                  <a:pt x="266" y="1004"/>
                </a:lnTo>
                <a:lnTo>
                  <a:pt x="266" y="943"/>
                </a:lnTo>
                <a:lnTo>
                  <a:pt x="210" y="966"/>
                </a:lnTo>
                <a:lnTo>
                  <a:pt x="217" y="907"/>
                </a:lnTo>
                <a:lnTo>
                  <a:pt x="158" y="922"/>
                </a:lnTo>
                <a:lnTo>
                  <a:pt x="172" y="863"/>
                </a:lnTo>
                <a:lnTo>
                  <a:pt x="113" y="872"/>
                </a:lnTo>
                <a:lnTo>
                  <a:pt x="134" y="815"/>
                </a:lnTo>
                <a:lnTo>
                  <a:pt x="75" y="815"/>
                </a:lnTo>
                <a:lnTo>
                  <a:pt x="103" y="763"/>
                </a:lnTo>
                <a:lnTo>
                  <a:pt x="44" y="756"/>
                </a:lnTo>
                <a:lnTo>
                  <a:pt x="77" y="707"/>
                </a:lnTo>
                <a:lnTo>
                  <a:pt x="21" y="692"/>
                </a:lnTo>
                <a:lnTo>
                  <a:pt x="61" y="648"/>
                </a:lnTo>
                <a:lnTo>
                  <a:pt x="7" y="626"/>
                </a:lnTo>
                <a:lnTo>
                  <a:pt x="51" y="586"/>
                </a:lnTo>
                <a:lnTo>
                  <a:pt x="0" y="558"/>
                </a:lnTo>
                <a:lnTo>
                  <a:pt x="49" y="527"/>
                </a:lnTo>
                <a:lnTo>
                  <a:pt x="0" y="492"/>
                </a:lnTo>
                <a:lnTo>
                  <a:pt x="54" y="466"/>
                </a:lnTo>
                <a:lnTo>
                  <a:pt x="11" y="423"/>
                </a:lnTo>
                <a:lnTo>
                  <a:pt x="68" y="404"/>
                </a:lnTo>
                <a:lnTo>
                  <a:pt x="30" y="359"/>
                </a:lnTo>
                <a:lnTo>
                  <a:pt x="87" y="348"/>
                </a:lnTo>
                <a:lnTo>
                  <a:pt x="56" y="298"/>
                </a:lnTo>
                <a:lnTo>
                  <a:pt x="115" y="293"/>
                </a:lnTo>
                <a:lnTo>
                  <a:pt x="89" y="239"/>
                </a:lnTo>
                <a:lnTo>
                  <a:pt x="148" y="241"/>
                </a:lnTo>
                <a:lnTo>
                  <a:pt x="129" y="185"/>
                </a:lnTo>
                <a:lnTo>
                  <a:pt x="189" y="194"/>
                </a:lnTo>
                <a:lnTo>
                  <a:pt x="179" y="137"/>
                </a:lnTo>
                <a:lnTo>
                  <a:pt x="236" y="154"/>
                </a:lnTo>
                <a:lnTo>
                  <a:pt x="231" y="95"/>
                </a:lnTo>
                <a:lnTo>
                  <a:pt x="285" y="119"/>
                </a:lnTo>
                <a:lnTo>
                  <a:pt x="290" y="59"/>
                </a:lnTo>
                <a:lnTo>
                  <a:pt x="340" y="90"/>
                </a:lnTo>
                <a:lnTo>
                  <a:pt x="352" y="34"/>
                </a:lnTo>
                <a:lnTo>
                  <a:pt x="396" y="69"/>
                </a:lnTo>
                <a:lnTo>
                  <a:pt x="415" y="12"/>
                </a:lnTo>
                <a:lnTo>
                  <a:pt x="458" y="57"/>
                </a:lnTo>
                <a:lnTo>
                  <a:pt x="484" y="3"/>
                </a:lnTo>
                <a:lnTo>
                  <a:pt x="519" y="50"/>
                </a:lnTo>
                <a:lnTo>
                  <a:pt x="550" y="0"/>
                </a:lnTo>
                <a:lnTo>
                  <a:pt x="581" y="5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Many suffer from heavy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allergies</a:t>
            </a:r>
            <a:endParaRPr lang="en-US" sz="1400" b="1" dirty="0">
              <a:solidFill>
                <a:schemeClr val="bg1"/>
              </a:solidFill>
            </a:endParaRPr>
          </a:p>
        </p:txBody>
      </p:sp>
      <p:pic>
        <p:nvPicPr>
          <p:cNvPr id="32" name="Grafik 16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21723" y="3235406"/>
            <a:ext cx="4060112" cy="2295446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16516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Target group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ho needs the </a:t>
            </a:r>
            <a:r>
              <a:rPr lang="en-US" dirty="0" err="1"/>
              <a:t>FreciousPlus</a:t>
            </a:r>
            <a:r>
              <a:rPr lang="en-US" dirty="0"/>
              <a:t> cabin air filter?</a:t>
            </a:r>
          </a:p>
        </p:txBody>
      </p:sp>
      <p:sp>
        <p:nvSpPr>
          <p:cNvPr id="8" name="Inhaltsplatzhalter 3"/>
          <p:cNvSpPr txBox="1">
            <a:spLocks/>
          </p:cNvSpPr>
          <p:nvPr/>
        </p:nvSpPr>
        <p:spPr bwMode="gray">
          <a:xfrm>
            <a:off x="552971" y="1700139"/>
            <a:ext cx="10296000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cs typeface="Arial" pitchFamily="34" charset="0"/>
              </a:rPr>
              <a:t>Allergists</a:t>
            </a:r>
          </a:p>
          <a:p>
            <a:r>
              <a:rPr lang="en-US" dirty="0" smtClean="0">
                <a:cs typeface="Arial" pitchFamily="34" charset="0"/>
              </a:rPr>
              <a:t>Asthmatics</a:t>
            </a:r>
          </a:p>
          <a:p>
            <a:r>
              <a:rPr lang="en-US" dirty="0" smtClean="0">
                <a:cs typeface="Arial" pitchFamily="34" charset="0"/>
              </a:rPr>
              <a:t>Families</a:t>
            </a:r>
          </a:p>
          <a:p>
            <a:r>
              <a:rPr lang="en-US" dirty="0" smtClean="0">
                <a:cs typeface="Arial" pitchFamily="34" charset="0"/>
              </a:rPr>
              <a:t>Health conscious people</a:t>
            </a:r>
          </a:p>
          <a:p>
            <a:r>
              <a:rPr lang="en-US" dirty="0" smtClean="0">
                <a:cs typeface="Arial" pitchFamily="34" charset="0"/>
              </a:rPr>
              <a:t>Frequent drivers</a:t>
            </a:r>
          </a:p>
          <a:p>
            <a:r>
              <a:rPr lang="en-US" dirty="0" smtClean="0">
                <a:cs typeface="Arial" pitchFamily="34" charset="0"/>
              </a:rPr>
              <a:t>Drivers of mid-class and upper mid-class vehicles, Vans and family SUVs</a:t>
            </a:r>
          </a:p>
          <a:p>
            <a:endParaRPr lang="en-US" dirty="0" smtClean="0">
              <a:cs typeface="Arial" pitchFamily="34" charset="0"/>
            </a:endParaRPr>
          </a:p>
          <a:p>
            <a:endParaRPr lang="en-US" dirty="0">
              <a:cs typeface="Arial" pitchFamily="34" charset="0"/>
            </a:endParaRPr>
          </a:p>
        </p:txBody>
      </p:sp>
      <p:grpSp>
        <p:nvGrpSpPr>
          <p:cNvPr id="9" name="Gruppieren 7"/>
          <p:cNvGrpSpPr/>
          <p:nvPr/>
        </p:nvGrpSpPr>
        <p:grpSpPr>
          <a:xfrm>
            <a:off x="552971" y="4334201"/>
            <a:ext cx="8640242" cy="1615750"/>
            <a:chOff x="552971" y="4509121"/>
            <a:chExt cx="7704856" cy="1440830"/>
          </a:xfrm>
        </p:grpSpPr>
        <p:pic>
          <p:nvPicPr>
            <p:cNvPr id="10" name="Grafik 8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7654"/>
            <a:stretch/>
          </p:blipFill>
          <p:spPr>
            <a:xfrm>
              <a:off x="552971" y="4509894"/>
              <a:ext cx="2503134" cy="1439386"/>
            </a:xfrm>
            <a:prstGeom prst="rect">
              <a:avLst/>
            </a:prstGeom>
          </p:spPr>
        </p:pic>
        <p:pic>
          <p:nvPicPr>
            <p:cNvPr id="11" name="Grafik 9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690" b="33155"/>
            <a:stretch/>
          </p:blipFill>
          <p:spPr>
            <a:xfrm>
              <a:off x="3169730" y="4509151"/>
              <a:ext cx="2443299" cy="1440129"/>
            </a:xfrm>
            <a:prstGeom prst="rect">
              <a:avLst/>
            </a:prstGeom>
          </p:spPr>
        </p:pic>
        <p:pic>
          <p:nvPicPr>
            <p:cNvPr id="12" name="Grafik 10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7453" b="169"/>
            <a:stretch/>
          </p:blipFill>
          <p:spPr>
            <a:xfrm>
              <a:off x="5754693" y="4509121"/>
              <a:ext cx="2503134" cy="14408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84596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The</a:t>
            </a:r>
            <a:r>
              <a:rPr lang="tr-TR" dirty="0" smtClean="0">
                <a:solidFill>
                  <a:srgbClr val="147C43"/>
                </a:solidFill>
                <a:cs typeface="Arial Black" pitchFamily="34" charset="0"/>
              </a:rPr>
              <a:t>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solu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tr-TR" dirty="0" err="1" smtClean="0"/>
              <a:t>Launch</a:t>
            </a:r>
            <a:r>
              <a:rPr lang="tr-TR" dirty="0" smtClean="0"/>
              <a:t> of New </a:t>
            </a:r>
            <a:r>
              <a:rPr lang="tr-TR" dirty="0" err="1" smtClean="0"/>
              <a:t>Innovative</a:t>
            </a:r>
            <a:r>
              <a:rPr lang="tr-TR" dirty="0" smtClean="0"/>
              <a:t> Product</a:t>
            </a:r>
            <a:endParaRPr lang="en-US" dirty="0"/>
          </a:p>
        </p:txBody>
      </p:sp>
      <p:pic>
        <p:nvPicPr>
          <p:cNvPr id="13" name="Grafik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77" r="970" b="15738"/>
          <a:stretch/>
        </p:blipFill>
        <p:spPr>
          <a:xfrm>
            <a:off x="552450" y="1700213"/>
            <a:ext cx="7058025" cy="4249738"/>
          </a:xfrm>
          <a:prstGeom prst="rect">
            <a:avLst/>
          </a:prstGeom>
        </p:spPr>
      </p:pic>
      <p:sp>
        <p:nvSpPr>
          <p:cNvPr id="14" name="Freeform 13"/>
          <p:cNvSpPr>
            <a:spLocks/>
          </p:cNvSpPr>
          <p:nvPr/>
        </p:nvSpPr>
        <p:spPr bwMode="auto">
          <a:xfrm rot="480000">
            <a:off x="8027753" y="1807500"/>
            <a:ext cx="1657819" cy="1659362"/>
          </a:xfrm>
          <a:custGeom>
            <a:avLst/>
            <a:gdLst>
              <a:gd name="T0" fmla="*/ 618 w 1074"/>
              <a:gd name="T1" fmla="*/ 5 h 1075"/>
              <a:gd name="T2" fmla="*/ 685 w 1074"/>
              <a:gd name="T3" fmla="*/ 19 h 1075"/>
              <a:gd name="T4" fmla="*/ 748 w 1074"/>
              <a:gd name="T5" fmla="*/ 43 h 1075"/>
              <a:gd name="T6" fmla="*/ 807 w 1074"/>
              <a:gd name="T7" fmla="*/ 74 h 1075"/>
              <a:gd name="T8" fmla="*/ 864 w 1074"/>
              <a:gd name="T9" fmla="*/ 109 h 1075"/>
              <a:gd name="T10" fmla="*/ 916 w 1074"/>
              <a:gd name="T11" fmla="*/ 154 h 1075"/>
              <a:gd name="T12" fmla="*/ 961 w 1074"/>
              <a:gd name="T13" fmla="*/ 206 h 1075"/>
              <a:gd name="T14" fmla="*/ 999 w 1074"/>
              <a:gd name="T15" fmla="*/ 260 h 1075"/>
              <a:gd name="T16" fmla="*/ 1030 w 1074"/>
              <a:gd name="T17" fmla="*/ 322 h 1075"/>
              <a:gd name="T18" fmla="*/ 1053 w 1074"/>
              <a:gd name="T19" fmla="*/ 383 h 1075"/>
              <a:gd name="T20" fmla="*/ 1067 w 1074"/>
              <a:gd name="T21" fmla="*/ 449 h 1075"/>
              <a:gd name="T22" fmla="*/ 1074 w 1074"/>
              <a:gd name="T23" fmla="*/ 518 h 1075"/>
              <a:gd name="T24" fmla="*/ 1074 w 1074"/>
              <a:gd name="T25" fmla="*/ 584 h 1075"/>
              <a:gd name="T26" fmla="*/ 1063 w 1074"/>
              <a:gd name="T27" fmla="*/ 652 h 1075"/>
              <a:gd name="T28" fmla="*/ 1046 w 1074"/>
              <a:gd name="T29" fmla="*/ 716 h 1075"/>
              <a:gd name="T30" fmla="*/ 1018 w 1074"/>
              <a:gd name="T31" fmla="*/ 780 h 1075"/>
              <a:gd name="T32" fmla="*/ 985 w 1074"/>
              <a:gd name="T33" fmla="*/ 837 h 1075"/>
              <a:gd name="T34" fmla="*/ 944 w 1074"/>
              <a:gd name="T35" fmla="*/ 891 h 1075"/>
              <a:gd name="T36" fmla="*/ 895 w 1074"/>
              <a:gd name="T37" fmla="*/ 940 h 1075"/>
              <a:gd name="T38" fmla="*/ 843 w 1074"/>
              <a:gd name="T39" fmla="*/ 981 h 1075"/>
              <a:gd name="T40" fmla="*/ 784 w 1074"/>
              <a:gd name="T41" fmla="*/ 1016 h 1075"/>
              <a:gd name="T42" fmla="*/ 722 w 1074"/>
              <a:gd name="T43" fmla="*/ 1044 h 1075"/>
              <a:gd name="T44" fmla="*/ 659 w 1074"/>
              <a:gd name="T45" fmla="*/ 1063 h 1075"/>
              <a:gd name="T46" fmla="*/ 592 w 1074"/>
              <a:gd name="T47" fmla="*/ 1073 h 1075"/>
              <a:gd name="T48" fmla="*/ 524 w 1074"/>
              <a:gd name="T49" fmla="*/ 1075 h 1075"/>
              <a:gd name="T50" fmla="*/ 455 w 1074"/>
              <a:gd name="T51" fmla="*/ 1070 h 1075"/>
              <a:gd name="T52" fmla="*/ 389 w 1074"/>
              <a:gd name="T53" fmla="*/ 1056 h 1075"/>
              <a:gd name="T54" fmla="*/ 326 w 1074"/>
              <a:gd name="T55" fmla="*/ 1033 h 1075"/>
              <a:gd name="T56" fmla="*/ 266 w 1074"/>
              <a:gd name="T57" fmla="*/ 1004 h 1075"/>
              <a:gd name="T58" fmla="*/ 210 w 1074"/>
              <a:gd name="T59" fmla="*/ 966 h 1075"/>
              <a:gd name="T60" fmla="*/ 158 w 1074"/>
              <a:gd name="T61" fmla="*/ 922 h 1075"/>
              <a:gd name="T62" fmla="*/ 113 w 1074"/>
              <a:gd name="T63" fmla="*/ 872 h 1075"/>
              <a:gd name="T64" fmla="*/ 75 w 1074"/>
              <a:gd name="T65" fmla="*/ 815 h 1075"/>
              <a:gd name="T66" fmla="*/ 44 w 1074"/>
              <a:gd name="T67" fmla="*/ 756 h 1075"/>
              <a:gd name="T68" fmla="*/ 21 w 1074"/>
              <a:gd name="T69" fmla="*/ 692 h 1075"/>
              <a:gd name="T70" fmla="*/ 7 w 1074"/>
              <a:gd name="T71" fmla="*/ 626 h 1075"/>
              <a:gd name="T72" fmla="*/ 0 w 1074"/>
              <a:gd name="T73" fmla="*/ 558 h 1075"/>
              <a:gd name="T74" fmla="*/ 0 w 1074"/>
              <a:gd name="T75" fmla="*/ 492 h 1075"/>
              <a:gd name="T76" fmla="*/ 11 w 1074"/>
              <a:gd name="T77" fmla="*/ 423 h 1075"/>
              <a:gd name="T78" fmla="*/ 30 w 1074"/>
              <a:gd name="T79" fmla="*/ 359 h 1075"/>
              <a:gd name="T80" fmla="*/ 56 w 1074"/>
              <a:gd name="T81" fmla="*/ 298 h 1075"/>
              <a:gd name="T82" fmla="*/ 89 w 1074"/>
              <a:gd name="T83" fmla="*/ 239 h 1075"/>
              <a:gd name="T84" fmla="*/ 129 w 1074"/>
              <a:gd name="T85" fmla="*/ 185 h 1075"/>
              <a:gd name="T86" fmla="*/ 179 w 1074"/>
              <a:gd name="T87" fmla="*/ 137 h 1075"/>
              <a:gd name="T88" fmla="*/ 231 w 1074"/>
              <a:gd name="T89" fmla="*/ 95 h 1075"/>
              <a:gd name="T90" fmla="*/ 290 w 1074"/>
              <a:gd name="T91" fmla="*/ 59 h 1075"/>
              <a:gd name="T92" fmla="*/ 352 w 1074"/>
              <a:gd name="T93" fmla="*/ 34 h 1075"/>
              <a:gd name="T94" fmla="*/ 415 w 1074"/>
              <a:gd name="T95" fmla="*/ 12 h 1075"/>
              <a:gd name="T96" fmla="*/ 484 w 1074"/>
              <a:gd name="T97" fmla="*/ 3 h 1075"/>
              <a:gd name="T98" fmla="*/ 550 w 1074"/>
              <a:gd name="T99" fmla="*/ 0 h 1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74" h="1075">
                <a:moveTo>
                  <a:pt x="581" y="52"/>
                </a:moveTo>
                <a:lnTo>
                  <a:pt x="618" y="5"/>
                </a:lnTo>
                <a:lnTo>
                  <a:pt x="640" y="59"/>
                </a:lnTo>
                <a:lnTo>
                  <a:pt x="685" y="19"/>
                </a:lnTo>
                <a:lnTo>
                  <a:pt x="699" y="78"/>
                </a:lnTo>
                <a:lnTo>
                  <a:pt x="748" y="43"/>
                </a:lnTo>
                <a:lnTo>
                  <a:pt x="755" y="102"/>
                </a:lnTo>
                <a:lnTo>
                  <a:pt x="807" y="74"/>
                </a:lnTo>
                <a:lnTo>
                  <a:pt x="810" y="133"/>
                </a:lnTo>
                <a:lnTo>
                  <a:pt x="864" y="109"/>
                </a:lnTo>
                <a:lnTo>
                  <a:pt x="857" y="171"/>
                </a:lnTo>
                <a:lnTo>
                  <a:pt x="916" y="154"/>
                </a:lnTo>
                <a:lnTo>
                  <a:pt x="902" y="213"/>
                </a:lnTo>
                <a:lnTo>
                  <a:pt x="961" y="206"/>
                </a:lnTo>
                <a:lnTo>
                  <a:pt x="940" y="260"/>
                </a:lnTo>
                <a:lnTo>
                  <a:pt x="999" y="260"/>
                </a:lnTo>
                <a:lnTo>
                  <a:pt x="970" y="312"/>
                </a:lnTo>
                <a:lnTo>
                  <a:pt x="1030" y="322"/>
                </a:lnTo>
                <a:lnTo>
                  <a:pt x="996" y="369"/>
                </a:lnTo>
                <a:lnTo>
                  <a:pt x="1053" y="383"/>
                </a:lnTo>
                <a:lnTo>
                  <a:pt x="1013" y="428"/>
                </a:lnTo>
                <a:lnTo>
                  <a:pt x="1067" y="449"/>
                </a:lnTo>
                <a:lnTo>
                  <a:pt x="1022" y="489"/>
                </a:lnTo>
                <a:lnTo>
                  <a:pt x="1074" y="518"/>
                </a:lnTo>
                <a:lnTo>
                  <a:pt x="1025" y="551"/>
                </a:lnTo>
                <a:lnTo>
                  <a:pt x="1074" y="584"/>
                </a:lnTo>
                <a:lnTo>
                  <a:pt x="1020" y="610"/>
                </a:lnTo>
                <a:lnTo>
                  <a:pt x="1063" y="652"/>
                </a:lnTo>
                <a:lnTo>
                  <a:pt x="1008" y="671"/>
                </a:lnTo>
                <a:lnTo>
                  <a:pt x="1046" y="716"/>
                </a:lnTo>
                <a:lnTo>
                  <a:pt x="987" y="728"/>
                </a:lnTo>
                <a:lnTo>
                  <a:pt x="1018" y="780"/>
                </a:lnTo>
                <a:lnTo>
                  <a:pt x="959" y="785"/>
                </a:lnTo>
                <a:lnTo>
                  <a:pt x="985" y="837"/>
                </a:lnTo>
                <a:lnTo>
                  <a:pt x="926" y="834"/>
                </a:lnTo>
                <a:lnTo>
                  <a:pt x="944" y="891"/>
                </a:lnTo>
                <a:lnTo>
                  <a:pt x="885" y="881"/>
                </a:lnTo>
                <a:lnTo>
                  <a:pt x="895" y="940"/>
                </a:lnTo>
                <a:lnTo>
                  <a:pt x="838" y="922"/>
                </a:lnTo>
                <a:lnTo>
                  <a:pt x="843" y="981"/>
                </a:lnTo>
                <a:lnTo>
                  <a:pt x="789" y="957"/>
                </a:lnTo>
                <a:lnTo>
                  <a:pt x="784" y="1016"/>
                </a:lnTo>
                <a:lnTo>
                  <a:pt x="734" y="985"/>
                </a:lnTo>
                <a:lnTo>
                  <a:pt x="722" y="1044"/>
                </a:lnTo>
                <a:lnTo>
                  <a:pt x="678" y="1007"/>
                </a:lnTo>
                <a:lnTo>
                  <a:pt x="659" y="1063"/>
                </a:lnTo>
                <a:lnTo>
                  <a:pt x="616" y="1021"/>
                </a:lnTo>
                <a:lnTo>
                  <a:pt x="592" y="1073"/>
                </a:lnTo>
                <a:lnTo>
                  <a:pt x="555" y="1025"/>
                </a:lnTo>
                <a:lnTo>
                  <a:pt x="524" y="1075"/>
                </a:lnTo>
                <a:lnTo>
                  <a:pt x="496" y="1025"/>
                </a:lnTo>
                <a:lnTo>
                  <a:pt x="455" y="1070"/>
                </a:lnTo>
                <a:lnTo>
                  <a:pt x="434" y="1016"/>
                </a:lnTo>
                <a:lnTo>
                  <a:pt x="389" y="1056"/>
                </a:lnTo>
                <a:lnTo>
                  <a:pt x="375" y="1000"/>
                </a:lnTo>
                <a:lnTo>
                  <a:pt x="326" y="1033"/>
                </a:lnTo>
                <a:lnTo>
                  <a:pt x="318" y="974"/>
                </a:lnTo>
                <a:lnTo>
                  <a:pt x="266" y="1004"/>
                </a:lnTo>
                <a:lnTo>
                  <a:pt x="266" y="943"/>
                </a:lnTo>
                <a:lnTo>
                  <a:pt x="210" y="966"/>
                </a:lnTo>
                <a:lnTo>
                  <a:pt x="217" y="907"/>
                </a:lnTo>
                <a:lnTo>
                  <a:pt x="158" y="922"/>
                </a:lnTo>
                <a:lnTo>
                  <a:pt x="172" y="863"/>
                </a:lnTo>
                <a:lnTo>
                  <a:pt x="113" y="872"/>
                </a:lnTo>
                <a:lnTo>
                  <a:pt x="134" y="815"/>
                </a:lnTo>
                <a:lnTo>
                  <a:pt x="75" y="815"/>
                </a:lnTo>
                <a:lnTo>
                  <a:pt x="103" y="763"/>
                </a:lnTo>
                <a:lnTo>
                  <a:pt x="44" y="756"/>
                </a:lnTo>
                <a:lnTo>
                  <a:pt x="77" y="707"/>
                </a:lnTo>
                <a:lnTo>
                  <a:pt x="21" y="692"/>
                </a:lnTo>
                <a:lnTo>
                  <a:pt x="61" y="648"/>
                </a:lnTo>
                <a:lnTo>
                  <a:pt x="7" y="626"/>
                </a:lnTo>
                <a:lnTo>
                  <a:pt x="51" y="586"/>
                </a:lnTo>
                <a:lnTo>
                  <a:pt x="0" y="558"/>
                </a:lnTo>
                <a:lnTo>
                  <a:pt x="49" y="527"/>
                </a:lnTo>
                <a:lnTo>
                  <a:pt x="0" y="492"/>
                </a:lnTo>
                <a:lnTo>
                  <a:pt x="54" y="466"/>
                </a:lnTo>
                <a:lnTo>
                  <a:pt x="11" y="423"/>
                </a:lnTo>
                <a:lnTo>
                  <a:pt x="68" y="404"/>
                </a:lnTo>
                <a:lnTo>
                  <a:pt x="30" y="359"/>
                </a:lnTo>
                <a:lnTo>
                  <a:pt x="87" y="348"/>
                </a:lnTo>
                <a:lnTo>
                  <a:pt x="56" y="298"/>
                </a:lnTo>
                <a:lnTo>
                  <a:pt x="115" y="293"/>
                </a:lnTo>
                <a:lnTo>
                  <a:pt x="89" y="239"/>
                </a:lnTo>
                <a:lnTo>
                  <a:pt x="148" y="241"/>
                </a:lnTo>
                <a:lnTo>
                  <a:pt x="129" y="185"/>
                </a:lnTo>
                <a:lnTo>
                  <a:pt x="189" y="194"/>
                </a:lnTo>
                <a:lnTo>
                  <a:pt x="179" y="137"/>
                </a:lnTo>
                <a:lnTo>
                  <a:pt x="236" y="154"/>
                </a:lnTo>
                <a:lnTo>
                  <a:pt x="231" y="95"/>
                </a:lnTo>
                <a:lnTo>
                  <a:pt x="285" y="119"/>
                </a:lnTo>
                <a:lnTo>
                  <a:pt x="290" y="59"/>
                </a:lnTo>
                <a:lnTo>
                  <a:pt x="340" y="90"/>
                </a:lnTo>
                <a:lnTo>
                  <a:pt x="352" y="34"/>
                </a:lnTo>
                <a:lnTo>
                  <a:pt x="396" y="69"/>
                </a:lnTo>
                <a:lnTo>
                  <a:pt x="415" y="12"/>
                </a:lnTo>
                <a:lnTo>
                  <a:pt x="458" y="57"/>
                </a:lnTo>
                <a:lnTo>
                  <a:pt x="484" y="3"/>
                </a:lnTo>
                <a:lnTo>
                  <a:pt x="519" y="50"/>
                </a:lnTo>
                <a:lnTo>
                  <a:pt x="550" y="0"/>
                </a:lnTo>
                <a:lnTo>
                  <a:pt x="581" y="5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300" b="1" dirty="0" smtClean="0">
                <a:solidFill>
                  <a:schemeClr val="bg1"/>
                </a:solidFill>
              </a:rPr>
              <a:t>Available </a:t>
            </a:r>
          </a:p>
          <a:p>
            <a:pPr algn="ctr"/>
            <a:r>
              <a:rPr lang="en-US" sz="1300" b="1" dirty="0" smtClean="0">
                <a:solidFill>
                  <a:schemeClr val="bg1"/>
                </a:solidFill>
              </a:rPr>
              <a:t>for almost every second car</a:t>
            </a:r>
          </a:p>
          <a:p>
            <a:pPr algn="ctr"/>
            <a:r>
              <a:rPr lang="en-US" sz="1300" b="1" dirty="0" smtClean="0">
                <a:solidFill>
                  <a:schemeClr val="bg1"/>
                </a:solidFill>
              </a:rPr>
              <a:t>model in the </a:t>
            </a:r>
          </a:p>
          <a:p>
            <a:pPr algn="ctr"/>
            <a:r>
              <a:rPr lang="en-US" sz="1300" b="1" dirty="0" smtClean="0">
                <a:solidFill>
                  <a:schemeClr val="bg1"/>
                </a:solidFill>
              </a:rPr>
              <a:t>EU market!</a:t>
            </a:r>
            <a:endParaRPr lang="en-US" sz="13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174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The</a:t>
            </a:r>
            <a:r>
              <a:rPr lang="tr-TR" dirty="0" smtClean="0">
                <a:solidFill>
                  <a:srgbClr val="147C43"/>
                </a:solidFill>
                <a:cs typeface="Arial Black" pitchFamily="34" charset="0"/>
              </a:rPr>
              <a:t>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solutio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With </a:t>
            </a:r>
            <a:r>
              <a:rPr lang="en-US" dirty="0" err="1"/>
              <a:t>FreciousPlus</a:t>
            </a:r>
            <a:r>
              <a:rPr lang="en-US" dirty="0"/>
              <a:t> your health has priority!</a:t>
            </a:r>
          </a:p>
        </p:txBody>
      </p:sp>
      <p:sp>
        <p:nvSpPr>
          <p:cNvPr id="6" name="Inhaltsplatzhalter 3"/>
          <p:cNvSpPr txBox="1">
            <a:spLocks/>
          </p:cNvSpPr>
          <p:nvPr/>
        </p:nvSpPr>
        <p:spPr bwMode="gray">
          <a:xfrm>
            <a:off x="552971" y="1700213"/>
            <a:ext cx="10296000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 smtClean="0"/>
              <a:t>Traps almost 100 % of allergens through natural polyphenol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Reduces the growth of </a:t>
            </a:r>
            <a:r>
              <a:rPr lang="en-US" dirty="0" err="1" smtClean="0"/>
              <a:t>moulds</a:t>
            </a:r>
            <a:r>
              <a:rPr lang="en-US" dirty="0" smtClean="0"/>
              <a:t> and bacteria by more than 98%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Blocks particulate matter almost completely (PM2.5)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Premium activated carbon offers  higher capacity for harmful gases</a:t>
            </a:r>
          </a:p>
          <a:p>
            <a:endParaRPr lang="en-US" dirty="0" smtClean="0"/>
          </a:p>
          <a:p>
            <a:endParaRPr lang="en-US" dirty="0"/>
          </a:p>
        </p:txBody>
      </p:sp>
      <p:grpSp>
        <p:nvGrpSpPr>
          <p:cNvPr id="8" name="Gruppieren 11"/>
          <p:cNvGrpSpPr/>
          <p:nvPr/>
        </p:nvGrpSpPr>
        <p:grpSpPr>
          <a:xfrm>
            <a:off x="264939" y="3140968"/>
            <a:ext cx="8180501" cy="2804718"/>
            <a:chOff x="1802467" y="3212976"/>
            <a:chExt cx="8180501" cy="2804718"/>
          </a:xfrm>
        </p:grpSpPr>
        <p:pic>
          <p:nvPicPr>
            <p:cNvPr id="9" name="Picture 4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6663"/>
            <a:stretch/>
          </p:blipFill>
          <p:spPr bwMode="auto">
            <a:xfrm>
              <a:off x="1802467" y="3605694"/>
              <a:ext cx="7990001" cy="241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feld 13"/>
            <p:cNvSpPr txBox="1"/>
            <p:nvPr/>
          </p:nvSpPr>
          <p:spPr>
            <a:xfrm>
              <a:off x="2299238" y="3278415"/>
              <a:ext cx="3564157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b="1" dirty="0" smtClean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Anti-</a:t>
              </a:r>
              <a:r>
                <a:rPr lang="en-US" sz="1050" b="1" dirty="0" err="1" smtClean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allerg</a:t>
              </a:r>
              <a:r>
                <a:rPr lang="en-US" sz="1050" b="1" dirty="0" smtClean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 test (allergen residual %) ELISA method (high allergic pollen)</a:t>
              </a:r>
              <a:endParaRPr lang="en-US" sz="1050" b="1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1" name="Textfeld 14"/>
            <p:cNvSpPr txBox="1"/>
            <p:nvPr/>
          </p:nvSpPr>
          <p:spPr>
            <a:xfrm>
              <a:off x="5401434" y="5365314"/>
              <a:ext cx="661987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Time</a:t>
              </a:r>
              <a:b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</a:br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(hours)</a:t>
              </a:r>
              <a:endParaRPr lang="en-US" sz="750" b="1" dirty="0">
                <a:solidFill>
                  <a:schemeClr val="bg1">
                    <a:lumMod val="75000"/>
                  </a:schemeClr>
                </a:solidFill>
                <a:latin typeface="HelveticaNeueLT W1G 55 Roman" pitchFamily="34" charset="0"/>
              </a:endParaRPr>
            </a:p>
          </p:txBody>
        </p:sp>
        <p:sp>
          <p:nvSpPr>
            <p:cNvPr id="12" name="Textfeld 17"/>
            <p:cNvSpPr txBox="1"/>
            <p:nvPr/>
          </p:nvSpPr>
          <p:spPr>
            <a:xfrm>
              <a:off x="6212543" y="3287971"/>
              <a:ext cx="3770425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1">
                      <a:lumMod val="50000"/>
                    </a:schemeClr>
                  </a:solidFill>
                  <a:latin typeface="+mj-lt"/>
                </a:rPr>
                <a:t>No. of living bacteria after  28 days in lab</a:t>
              </a:r>
              <a:endParaRPr lang="en-US" sz="1050" b="1" dirty="0">
                <a:solidFill>
                  <a:schemeClr val="bg1">
                    <a:lumMod val="50000"/>
                  </a:schemeClr>
                </a:solidFill>
                <a:latin typeface="+mj-lt"/>
              </a:endParaRPr>
            </a:p>
          </p:txBody>
        </p:sp>
        <p:sp>
          <p:nvSpPr>
            <p:cNvPr id="15" name="Rechteck 18"/>
            <p:cNvSpPr/>
            <p:nvPr/>
          </p:nvSpPr>
          <p:spPr bwMode="auto">
            <a:xfrm>
              <a:off x="3239268" y="3645867"/>
              <a:ext cx="2558199" cy="4244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rPr>
                <a:t> </a:t>
              </a:r>
            </a:p>
          </p:txBody>
        </p:sp>
        <p:sp>
          <p:nvSpPr>
            <p:cNvPr id="16" name="Rechteck 19"/>
            <p:cNvSpPr/>
            <p:nvPr/>
          </p:nvSpPr>
          <p:spPr bwMode="auto">
            <a:xfrm>
              <a:off x="6773043" y="3645866"/>
              <a:ext cx="2558199" cy="424479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7" name="Rechteck 20"/>
            <p:cNvSpPr/>
            <p:nvPr/>
          </p:nvSpPr>
          <p:spPr bwMode="auto">
            <a:xfrm>
              <a:off x="2069166" y="3212976"/>
              <a:ext cx="3994255" cy="2795091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8" name="Rechteck 21"/>
            <p:cNvSpPr/>
            <p:nvPr/>
          </p:nvSpPr>
          <p:spPr bwMode="auto">
            <a:xfrm>
              <a:off x="6212542" y="3212976"/>
              <a:ext cx="3770426" cy="2795091"/>
            </a:xfrm>
            <a:prstGeom prst="rect">
              <a:avLst/>
            </a:prstGeom>
            <a:noFill/>
            <a:ln w="9525" cap="flat" cmpd="sng" algn="ctr">
              <a:solidFill>
                <a:schemeClr val="bg1">
                  <a:lumMod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</a:endParaRPr>
            </a:p>
          </p:txBody>
        </p:sp>
        <p:sp>
          <p:nvSpPr>
            <p:cNvPr id="19" name="Textfeld 22"/>
            <p:cNvSpPr txBox="1"/>
            <p:nvPr/>
          </p:nvSpPr>
          <p:spPr>
            <a:xfrm>
              <a:off x="7067240" y="4250567"/>
              <a:ext cx="1585193" cy="415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smtClean="0">
                  <a:solidFill>
                    <a:schemeClr val="bg2">
                      <a:lumMod val="65000"/>
                    </a:schemeClr>
                  </a:solidFill>
                  <a:latin typeface="+mj-lt"/>
                </a:rPr>
                <a:t>Prevent</a:t>
              </a:r>
            </a:p>
            <a:p>
              <a:pPr algn="ctr"/>
              <a:r>
                <a:rPr lang="en-US" sz="1050" b="1" dirty="0" smtClean="0">
                  <a:solidFill>
                    <a:schemeClr val="bg2">
                      <a:lumMod val="65000"/>
                    </a:schemeClr>
                  </a:solidFill>
                  <a:latin typeface="+mj-lt"/>
                </a:rPr>
                <a:t>bacterial growth</a:t>
              </a:r>
              <a:endParaRPr lang="en-US" sz="1050" b="1" dirty="0">
                <a:solidFill>
                  <a:schemeClr val="bg2">
                    <a:lumMod val="65000"/>
                  </a:schemeClr>
                </a:solidFill>
                <a:latin typeface="+mj-lt"/>
              </a:endParaRPr>
            </a:p>
          </p:txBody>
        </p:sp>
        <p:sp>
          <p:nvSpPr>
            <p:cNvPr id="20" name="Textfeld 23"/>
            <p:cNvSpPr txBox="1"/>
            <p:nvPr/>
          </p:nvSpPr>
          <p:spPr>
            <a:xfrm>
              <a:off x="7048190" y="5521688"/>
              <a:ext cx="2858578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 err="1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Frecious</a:t>
              </a:r>
              <a:r>
                <a:rPr lang="en-US" sz="10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 Plus           </a:t>
              </a:r>
              <a:r>
                <a:rPr lang="en-US" sz="1050" b="1" dirty="0" err="1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Gewöhnlicher</a:t>
              </a:r>
              <a:r>
                <a:rPr lang="en-US" sz="10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 Filter</a:t>
              </a:r>
              <a:endParaRPr lang="en-US" sz="1050" b="1" dirty="0">
                <a:solidFill>
                  <a:schemeClr val="bg1">
                    <a:lumMod val="75000"/>
                  </a:schemeClr>
                </a:solidFill>
                <a:latin typeface="HelveticaNeueLT W1G 55 Roman" pitchFamily="34" charset="0"/>
              </a:endParaRPr>
            </a:p>
          </p:txBody>
        </p:sp>
        <p:sp>
          <p:nvSpPr>
            <p:cNvPr id="21" name="Textfeld 24"/>
            <p:cNvSpPr txBox="1"/>
            <p:nvPr/>
          </p:nvSpPr>
          <p:spPr>
            <a:xfrm>
              <a:off x="2097742" y="3766230"/>
              <a:ext cx="1545710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Filtration von </a:t>
              </a:r>
              <a:r>
                <a:rPr lang="en-US" sz="750" b="1" dirty="0" err="1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Allergenen</a:t>
              </a:r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 und </a:t>
              </a:r>
              <a:r>
                <a:rPr lang="en-US" sz="750" b="1" dirty="0" err="1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anderen</a:t>
              </a:r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 </a:t>
              </a:r>
              <a:r>
                <a:rPr lang="en-US" sz="750" b="1" dirty="0" err="1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Schadstoffen</a:t>
              </a:r>
              <a:r>
                <a:rPr lang="en-US" sz="750" b="1" dirty="0" smtClean="0">
                  <a:solidFill>
                    <a:schemeClr val="bg1">
                      <a:lumMod val="75000"/>
                    </a:schemeClr>
                  </a:solidFill>
                  <a:latin typeface="HelveticaNeueLT W1G 55 Roman" pitchFamily="34" charset="0"/>
                </a:rPr>
                <a:t> %</a:t>
              </a:r>
              <a:endParaRPr lang="en-US" sz="750" b="1" dirty="0">
                <a:solidFill>
                  <a:schemeClr val="bg1">
                    <a:lumMod val="75000"/>
                  </a:schemeClr>
                </a:solidFill>
                <a:latin typeface="HelveticaNeueLT W1G 55 Roman" pitchFamily="34" charset="0"/>
              </a:endParaRPr>
            </a:p>
          </p:txBody>
        </p:sp>
        <p:sp>
          <p:nvSpPr>
            <p:cNvPr id="22" name="Textfeld 25"/>
            <p:cNvSpPr txBox="1"/>
            <p:nvPr/>
          </p:nvSpPr>
          <p:spPr>
            <a:xfrm>
              <a:off x="2097742" y="3725408"/>
              <a:ext cx="1545710" cy="32316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750" b="1" dirty="0" smtClean="0">
                  <a:solidFill>
                    <a:schemeClr val="bg2">
                      <a:lumMod val="65000"/>
                    </a:schemeClr>
                  </a:solidFill>
                  <a:latin typeface="+mj-lt"/>
                </a:rPr>
                <a:t>Filtration of allergens </a:t>
              </a:r>
              <a:br>
                <a:rPr lang="en-US" sz="750" b="1" dirty="0" smtClean="0">
                  <a:solidFill>
                    <a:schemeClr val="bg2">
                      <a:lumMod val="65000"/>
                    </a:schemeClr>
                  </a:solidFill>
                  <a:latin typeface="+mj-lt"/>
                </a:rPr>
              </a:br>
              <a:r>
                <a:rPr lang="en-US" sz="750" b="1" dirty="0" smtClean="0">
                  <a:solidFill>
                    <a:schemeClr val="bg2">
                      <a:lumMod val="65000"/>
                    </a:schemeClr>
                  </a:solidFill>
                  <a:latin typeface="+mj-lt"/>
                </a:rPr>
                <a:t>and other pollutants %</a:t>
              </a:r>
              <a:endParaRPr lang="en-US" sz="750" b="1" dirty="0">
                <a:solidFill>
                  <a:schemeClr val="bg2">
                    <a:lumMod val="65000"/>
                  </a:schemeClr>
                </a:solidFill>
                <a:latin typeface="+mj-lt"/>
              </a:endParaRPr>
            </a:p>
          </p:txBody>
        </p:sp>
        <p:sp>
          <p:nvSpPr>
            <p:cNvPr id="23" name="Textfeld 26"/>
            <p:cNvSpPr txBox="1"/>
            <p:nvPr/>
          </p:nvSpPr>
          <p:spPr>
            <a:xfrm>
              <a:off x="3034139" y="5698004"/>
              <a:ext cx="114242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b="1" dirty="0" err="1" smtClean="0">
                  <a:solidFill>
                    <a:srgbClr val="808080"/>
                  </a:solidFill>
                  <a:latin typeface="+mj-lt"/>
                </a:rPr>
                <a:t>FreciousPlus</a:t>
              </a:r>
              <a:endParaRPr lang="en-US" sz="1050" b="1" dirty="0">
                <a:solidFill>
                  <a:srgbClr val="808080"/>
                </a:solidFill>
                <a:latin typeface="+mj-lt"/>
              </a:endParaRPr>
            </a:p>
          </p:txBody>
        </p:sp>
        <p:sp>
          <p:nvSpPr>
            <p:cNvPr id="24" name="Textfeld 27"/>
            <p:cNvSpPr txBox="1"/>
            <p:nvPr/>
          </p:nvSpPr>
          <p:spPr>
            <a:xfrm>
              <a:off x="4339064" y="5707529"/>
              <a:ext cx="172435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b="1" dirty="0" smtClean="0">
                  <a:solidFill>
                    <a:srgbClr val="808080"/>
                  </a:solidFill>
                  <a:latin typeface="+mj-lt"/>
                </a:rPr>
                <a:t>Ordinary filter</a:t>
              </a:r>
              <a:endParaRPr lang="en-US" sz="1050" b="1" dirty="0">
                <a:solidFill>
                  <a:srgbClr val="808080"/>
                </a:solidFill>
                <a:latin typeface="+mj-lt"/>
              </a:endParaRPr>
            </a:p>
          </p:txBody>
        </p:sp>
        <p:sp>
          <p:nvSpPr>
            <p:cNvPr id="25" name="Textfeld 28"/>
            <p:cNvSpPr txBox="1"/>
            <p:nvPr/>
          </p:nvSpPr>
          <p:spPr>
            <a:xfrm>
              <a:off x="7153711" y="5556258"/>
              <a:ext cx="1142427" cy="2539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b="1" dirty="0" err="1" smtClean="0">
                  <a:solidFill>
                    <a:srgbClr val="808080"/>
                  </a:solidFill>
                  <a:latin typeface="+mj-lt"/>
                </a:rPr>
                <a:t>FreciousPlus</a:t>
              </a:r>
              <a:endParaRPr lang="en-US" sz="1050" b="1" dirty="0">
                <a:solidFill>
                  <a:srgbClr val="808080"/>
                </a:solidFill>
                <a:latin typeface="+mj-lt"/>
              </a:endParaRPr>
            </a:p>
          </p:txBody>
        </p:sp>
        <p:sp>
          <p:nvSpPr>
            <p:cNvPr id="26" name="Textfeld 29"/>
            <p:cNvSpPr txBox="1"/>
            <p:nvPr/>
          </p:nvSpPr>
          <p:spPr>
            <a:xfrm>
              <a:off x="8411011" y="5556258"/>
              <a:ext cx="1495757" cy="26344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050" b="1" dirty="0" smtClean="0">
                  <a:solidFill>
                    <a:srgbClr val="808080"/>
                  </a:solidFill>
                  <a:latin typeface="+mj-lt"/>
                </a:rPr>
                <a:t>Ordinary filter</a:t>
              </a:r>
              <a:endParaRPr lang="en-US" sz="1050" b="1" dirty="0">
                <a:solidFill>
                  <a:srgbClr val="808080"/>
                </a:solidFill>
                <a:latin typeface="+mj-lt"/>
              </a:endParaRPr>
            </a:p>
          </p:txBody>
        </p:sp>
      </p:grpSp>
      <p:sp>
        <p:nvSpPr>
          <p:cNvPr id="27" name="Freeform 8"/>
          <p:cNvSpPr>
            <a:spLocks/>
          </p:cNvSpPr>
          <p:nvPr/>
        </p:nvSpPr>
        <p:spPr bwMode="auto">
          <a:xfrm rot="480000">
            <a:off x="9073671" y="4128392"/>
            <a:ext cx="1478168" cy="1479543"/>
          </a:xfrm>
          <a:custGeom>
            <a:avLst/>
            <a:gdLst>
              <a:gd name="T0" fmla="*/ 618 w 1074"/>
              <a:gd name="T1" fmla="*/ 5 h 1075"/>
              <a:gd name="T2" fmla="*/ 685 w 1074"/>
              <a:gd name="T3" fmla="*/ 19 h 1075"/>
              <a:gd name="T4" fmla="*/ 748 w 1074"/>
              <a:gd name="T5" fmla="*/ 43 h 1075"/>
              <a:gd name="T6" fmla="*/ 807 w 1074"/>
              <a:gd name="T7" fmla="*/ 74 h 1075"/>
              <a:gd name="T8" fmla="*/ 864 w 1074"/>
              <a:gd name="T9" fmla="*/ 109 h 1075"/>
              <a:gd name="T10" fmla="*/ 916 w 1074"/>
              <a:gd name="T11" fmla="*/ 154 h 1075"/>
              <a:gd name="T12" fmla="*/ 961 w 1074"/>
              <a:gd name="T13" fmla="*/ 206 h 1075"/>
              <a:gd name="T14" fmla="*/ 999 w 1074"/>
              <a:gd name="T15" fmla="*/ 260 h 1075"/>
              <a:gd name="T16" fmla="*/ 1030 w 1074"/>
              <a:gd name="T17" fmla="*/ 322 h 1075"/>
              <a:gd name="T18" fmla="*/ 1053 w 1074"/>
              <a:gd name="T19" fmla="*/ 383 h 1075"/>
              <a:gd name="T20" fmla="*/ 1067 w 1074"/>
              <a:gd name="T21" fmla="*/ 449 h 1075"/>
              <a:gd name="T22" fmla="*/ 1074 w 1074"/>
              <a:gd name="T23" fmla="*/ 518 h 1075"/>
              <a:gd name="T24" fmla="*/ 1074 w 1074"/>
              <a:gd name="T25" fmla="*/ 584 h 1075"/>
              <a:gd name="T26" fmla="*/ 1063 w 1074"/>
              <a:gd name="T27" fmla="*/ 652 h 1075"/>
              <a:gd name="T28" fmla="*/ 1046 w 1074"/>
              <a:gd name="T29" fmla="*/ 716 h 1075"/>
              <a:gd name="T30" fmla="*/ 1018 w 1074"/>
              <a:gd name="T31" fmla="*/ 780 h 1075"/>
              <a:gd name="T32" fmla="*/ 985 w 1074"/>
              <a:gd name="T33" fmla="*/ 837 h 1075"/>
              <a:gd name="T34" fmla="*/ 944 w 1074"/>
              <a:gd name="T35" fmla="*/ 891 h 1075"/>
              <a:gd name="T36" fmla="*/ 895 w 1074"/>
              <a:gd name="T37" fmla="*/ 940 h 1075"/>
              <a:gd name="T38" fmla="*/ 843 w 1074"/>
              <a:gd name="T39" fmla="*/ 981 h 1075"/>
              <a:gd name="T40" fmla="*/ 784 w 1074"/>
              <a:gd name="T41" fmla="*/ 1016 h 1075"/>
              <a:gd name="T42" fmla="*/ 722 w 1074"/>
              <a:gd name="T43" fmla="*/ 1044 h 1075"/>
              <a:gd name="T44" fmla="*/ 659 w 1074"/>
              <a:gd name="T45" fmla="*/ 1063 h 1075"/>
              <a:gd name="T46" fmla="*/ 592 w 1074"/>
              <a:gd name="T47" fmla="*/ 1073 h 1075"/>
              <a:gd name="T48" fmla="*/ 524 w 1074"/>
              <a:gd name="T49" fmla="*/ 1075 h 1075"/>
              <a:gd name="T50" fmla="*/ 455 w 1074"/>
              <a:gd name="T51" fmla="*/ 1070 h 1075"/>
              <a:gd name="T52" fmla="*/ 389 w 1074"/>
              <a:gd name="T53" fmla="*/ 1056 h 1075"/>
              <a:gd name="T54" fmla="*/ 326 w 1074"/>
              <a:gd name="T55" fmla="*/ 1033 h 1075"/>
              <a:gd name="T56" fmla="*/ 266 w 1074"/>
              <a:gd name="T57" fmla="*/ 1004 h 1075"/>
              <a:gd name="T58" fmla="*/ 210 w 1074"/>
              <a:gd name="T59" fmla="*/ 966 h 1075"/>
              <a:gd name="T60" fmla="*/ 158 w 1074"/>
              <a:gd name="T61" fmla="*/ 922 h 1075"/>
              <a:gd name="T62" fmla="*/ 113 w 1074"/>
              <a:gd name="T63" fmla="*/ 872 h 1075"/>
              <a:gd name="T64" fmla="*/ 75 w 1074"/>
              <a:gd name="T65" fmla="*/ 815 h 1075"/>
              <a:gd name="T66" fmla="*/ 44 w 1074"/>
              <a:gd name="T67" fmla="*/ 756 h 1075"/>
              <a:gd name="T68" fmla="*/ 21 w 1074"/>
              <a:gd name="T69" fmla="*/ 692 h 1075"/>
              <a:gd name="T70" fmla="*/ 7 w 1074"/>
              <a:gd name="T71" fmla="*/ 626 h 1075"/>
              <a:gd name="T72" fmla="*/ 0 w 1074"/>
              <a:gd name="T73" fmla="*/ 558 h 1075"/>
              <a:gd name="T74" fmla="*/ 0 w 1074"/>
              <a:gd name="T75" fmla="*/ 492 h 1075"/>
              <a:gd name="T76" fmla="*/ 11 w 1074"/>
              <a:gd name="T77" fmla="*/ 423 h 1075"/>
              <a:gd name="T78" fmla="*/ 30 w 1074"/>
              <a:gd name="T79" fmla="*/ 359 h 1075"/>
              <a:gd name="T80" fmla="*/ 56 w 1074"/>
              <a:gd name="T81" fmla="*/ 298 h 1075"/>
              <a:gd name="T82" fmla="*/ 89 w 1074"/>
              <a:gd name="T83" fmla="*/ 239 h 1075"/>
              <a:gd name="T84" fmla="*/ 129 w 1074"/>
              <a:gd name="T85" fmla="*/ 185 h 1075"/>
              <a:gd name="T86" fmla="*/ 179 w 1074"/>
              <a:gd name="T87" fmla="*/ 137 h 1075"/>
              <a:gd name="T88" fmla="*/ 231 w 1074"/>
              <a:gd name="T89" fmla="*/ 95 h 1075"/>
              <a:gd name="T90" fmla="*/ 290 w 1074"/>
              <a:gd name="T91" fmla="*/ 59 h 1075"/>
              <a:gd name="T92" fmla="*/ 352 w 1074"/>
              <a:gd name="T93" fmla="*/ 34 h 1075"/>
              <a:gd name="T94" fmla="*/ 415 w 1074"/>
              <a:gd name="T95" fmla="*/ 12 h 1075"/>
              <a:gd name="T96" fmla="*/ 484 w 1074"/>
              <a:gd name="T97" fmla="*/ 3 h 1075"/>
              <a:gd name="T98" fmla="*/ 550 w 1074"/>
              <a:gd name="T99" fmla="*/ 0 h 1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74" h="1075">
                <a:moveTo>
                  <a:pt x="581" y="52"/>
                </a:moveTo>
                <a:lnTo>
                  <a:pt x="618" y="5"/>
                </a:lnTo>
                <a:lnTo>
                  <a:pt x="640" y="59"/>
                </a:lnTo>
                <a:lnTo>
                  <a:pt x="685" y="19"/>
                </a:lnTo>
                <a:lnTo>
                  <a:pt x="699" y="78"/>
                </a:lnTo>
                <a:lnTo>
                  <a:pt x="748" y="43"/>
                </a:lnTo>
                <a:lnTo>
                  <a:pt x="755" y="102"/>
                </a:lnTo>
                <a:lnTo>
                  <a:pt x="807" y="74"/>
                </a:lnTo>
                <a:lnTo>
                  <a:pt x="810" y="133"/>
                </a:lnTo>
                <a:lnTo>
                  <a:pt x="864" y="109"/>
                </a:lnTo>
                <a:lnTo>
                  <a:pt x="857" y="171"/>
                </a:lnTo>
                <a:lnTo>
                  <a:pt x="916" y="154"/>
                </a:lnTo>
                <a:lnTo>
                  <a:pt x="902" y="213"/>
                </a:lnTo>
                <a:lnTo>
                  <a:pt x="961" y="206"/>
                </a:lnTo>
                <a:lnTo>
                  <a:pt x="940" y="260"/>
                </a:lnTo>
                <a:lnTo>
                  <a:pt x="999" y="260"/>
                </a:lnTo>
                <a:lnTo>
                  <a:pt x="970" y="312"/>
                </a:lnTo>
                <a:lnTo>
                  <a:pt x="1030" y="322"/>
                </a:lnTo>
                <a:lnTo>
                  <a:pt x="996" y="369"/>
                </a:lnTo>
                <a:lnTo>
                  <a:pt x="1053" y="383"/>
                </a:lnTo>
                <a:lnTo>
                  <a:pt x="1013" y="428"/>
                </a:lnTo>
                <a:lnTo>
                  <a:pt x="1067" y="449"/>
                </a:lnTo>
                <a:lnTo>
                  <a:pt x="1022" y="489"/>
                </a:lnTo>
                <a:lnTo>
                  <a:pt x="1074" y="518"/>
                </a:lnTo>
                <a:lnTo>
                  <a:pt x="1025" y="551"/>
                </a:lnTo>
                <a:lnTo>
                  <a:pt x="1074" y="584"/>
                </a:lnTo>
                <a:lnTo>
                  <a:pt x="1020" y="610"/>
                </a:lnTo>
                <a:lnTo>
                  <a:pt x="1063" y="652"/>
                </a:lnTo>
                <a:lnTo>
                  <a:pt x="1008" y="671"/>
                </a:lnTo>
                <a:lnTo>
                  <a:pt x="1046" y="716"/>
                </a:lnTo>
                <a:lnTo>
                  <a:pt x="987" y="728"/>
                </a:lnTo>
                <a:lnTo>
                  <a:pt x="1018" y="780"/>
                </a:lnTo>
                <a:lnTo>
                  <a:pt x="959" y="785"/>
                </a:lnTo>
                <a:lnTo>
                  <a:pt x="985" y="837"/>
                </a:lnTo>
                <a:lnTo>
                  <a:pt x="926" y="834"/>
                </a:lnTo>
                <a:lnTo>
                  <a:pt x="944" y="891"/>
                </a:lnTo>
                <a:lnTo>
                  <a:pt x="885" y="881"/>
                </a:lnTo>
                <a:lnTo>
                  <a:pt x="895" y="940"/>
                </a:lnTo>
                <a:lnTo>
                  <a:pt x="838" y="922"/>
                </a:lnTo>
                <a:lnTo>
                  <a:pt x="843" y="981"/>
                </a:lnTo>
                <a:lnTo>
                  <a:pt x="789" y="957"/>
                </a:lnTo>
                <a:lnTo>
                  <a:pt x="784" y="1016"/>
                </a:lnTo>
                <a:lnTo>
                  <a:pt x="734" y="985"/>
                </a:lnTo>
                <a:lnTo>
                  <a:pt x="722" y="1044"/>
                </a:lnTo>
                <a:lnTo>
                  <a:pt x="678" y="1007"/>
                </a:lnTo>
                <a:lnTo>
                  <a:pt x="659" y="1063"/>
                </a:lnTo>
                <a:lnTo>
                  <a:pt x="616" y="1021"/>
                </a:lnTo>
                <a:lnTo>
                  <a:pt x="592" y="1073"/>
                </a:lnTo>
                <a:lnTo>
                  <a:pt x="555" y="1025"/>
                </a:lnTo>
                <a:lnTo>
                  <a:pt x="524" y="1075"/>
                </a:lnTo>
                <a:lnTo>
                  <a:pt x="496" y="1025"/>
                </a:lnTo>
                <a:lnTo>
                  <a:pt x="455" y="1070"/>
                </a:lnTo>
                <a:lnTo>
                  <a:pt x="434" y="1016"/>
                </a:lnTo>
                <a:lnTo>
                  <a:pt x="389" y="1056"/>
                </a:lnTo>
                <a:lnTo>
                  <a:pt x="375" y="1000"/>
                </a:lnTo>
                <a:lnTo>
                  <a:pt x="326" y="1033"/>
                </a:lnTo>
                <a:lnTo>
                  <a:pt x="318" y="974"/>
                </a:lnTo>
                <a:lnTo>
                  <a:pt x="266" y="1004"/>
                </a:lnTo>
                <a:lnTo>
                  <a:pt x="266" y="943"/>
                </a:lnTo>
                <a:lnTo>
                  <a:pt x="210" y="966"/>
                </a:lnTo>
                <a:lnTo>
                  <a:pt x="217" y="907"/>
                </a:lnTo>
                <a:lnTo>
                  <a:pt x="158" y="922"/>
                </a:lnTo>
                <a:lnTo>
                  <a:pt x="172" y="863"/>
                </a:lnTo>
                <a:lnTo>
                  <a:pt x="113" y="872"/>
                </a:lnTo>
                <a:lnTo>
                  <a:pt x="134" y="815"/>
                </a:lnTo>
                <a:lnTo>
                  <a:pt x="75" y="815"/>
                </a:lnTo>
                <a:lnTo>
                  <a:pt x="103" y="763"/>
                </a:lnTo>
                <a:lnTo>
                  <a:pt x="44" y="756"/>
                </a:lnTo>
                <a:lnTo>
                  <a:pt x="77" y="707"/>
                </a:lnTo>
                <a:lnTo>
                  <a:pt x="21" y="692"/>
                </a:lnTo>
                <a:lnTo>
                  <a:pt x="61" y="648"/>
                </a:lnTo>
                <a:lnTo>
                  <a:pt x="7" y="626"/>
                </a:lnTo>
                <a:lnTo>
                  <a:pt x="51" y="586"/>
                </a:lnTo>
                <a:lnTo>
                  <a:pt x="0" y="558"/>
                </a:lnTo>
                <a:lnTo>
                  <a:pt x="49" y="527"/>
                </a:lnTo>
                <a:lnTo>
                  <a:pt x="0" y="492"/>
                </a:lnTo>
                <a:lnTo>
                  <a:pt x="54" y="466"/>
                </a:lnTo>
                <a:lnTo>
                  <a:pt x="11" y="423"/>
                </a:lnTo>
                <a:lnTo>
                  <a:pt x="68" y="404"/>
                </a:lnTo>
                <a:lnTo>
                  <a:pt x="30" y="359"/>
                </a:lnTo>
                <a:lnTo>
                  <a:pt x="87" y="348"/>
                </a:lnTo>
                <a:lnTo>
                  <a:pt x="56" y="298"/>
                </a:lnTo>
                <a:lnTo>
                  <a:pt x="115" y="293"/>
                </a:lnTo>
                <a:lnTo>
                  <a:pt x="89" y="239"/>
                </a:lnTo>
                <a:lnTo>
                  <a:pt x="148" y="241"/>
                </a:lnTo>
                <a:lnTo>
                  <a:pt x="129" y="185"/>
                </a:lnTo>
                <a:lnTo>
                  <a:pt x="189" y="194"/>
                </a:lnTo>
                <a:lnTo>
                  <a:pt x="179" y="137"/>
                </a:lnTo>
                <a:lnTo>
                  <a:pt x="236" y="154"/>
                </a:lnTo>
                <a:lnTo>
                  <a:pt x="231" y="95"/>
                </a:lnTo>
                <a:lnTo>
                  <a:pt x="285" y="119"/>
                </a:lnTo>
                <a:lnTo>
                  <a:pt x="290" y="59"/>
                </a:lnTo>
                <a:lnTo>
                  <a:pt x="340" y="90"/>
                </a:lnTo>
                <a:lnTo>
                  <a:pt x="352" y="34"/>
                </a:lnTo>
                <a:lnTo>
                  <a:pt x="396" y="69"/>
                </a:lnTo>
                <a:lnTo>
                  <a:pt x="415" y="12"/>
                </a:lnTo>
                <a:lnTo>
                  <a:pt x="458" y="57"/>
                </a:lnTo>
                <a:lnTo>
                  <a:pt x="484" y="3"/>
                </a:lnTo>
                <a:lnTo>
                  <a:pt x="519" y="50"/>
                </a:lnTo>
                <a:lnTo>
                  <a:pt x="550" y="0"/>
                </a:lnTo>
                <a:lnTo>
                  <a:pt x="581" y="5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International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patent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pending</a:t>
            </a:r>
            <a:endParaRPr lang="en-US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1409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The design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kern="0" dirty="0"/>
              <a:t>Three filtration layers technology</a:t>
            </a:r>
          </a:p>
        </p:txBody>
      </p:sp>
      <p:grpSp>
        <p:nvGrpSpPr>
          <p:cNvPr id="28" name="Gruppieren 10"/>
          <p:cNvGrpSpPr/>
          <p:nvPr/>
        </p:nvGrpSpPr>
        <p:grpSpPr>
          <a:xfrm>
            <a:off x="372153" y="1516567"/>
            <a:ext cx="5012044" cy="4317027"/>
            <a:chOff x="-2493" y="1972150"/>
            <a:chExt cx="4650693" cy="4077875"/>
          </a:xfrm>
        </p:grpSpPr>
        <p:pic>
          <p:nvPicPr>
            <p:cNvPr id="29" name="Grafik 1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717" b="36051"/>
            <a:stretch/>
          </p:blipFill>
          <p:spPr>
            <a:xfrm>
              <a:off x="-2493" y="1972150"/>
              <a:ext cx="4650693" cy="4077875"/>
            </a:xfrm>
            <a:prstGeom prst="rect">
              <a:avLst/>
            </a:prstGeom>
            <a:ln>
              <a:noFill/>
            </a:ln>
          </p:spPr>
        </p:pic>
        <p:cxnSp>
          <p:nvCxnSpPr>
            <p:cNvPr id="30" name="Gerade Verbindung 14"/>
            <p:cNvCxnSpPr/>
            <p:nvPr/>
          </p:nvCxnSpPr>
          <p:spPr bwMode="auto">
            <a:xfrm flipV="1">
              <a:off x="3044605" y="2368820"/>
              <a:ext cx="1466850" cy="1885951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rgbClr val="147C4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1" name="Gerade Verbindung 15"/>
            <p:cNvCxnSpPr/>
            <p:nvPr/>
          </p:nvCxnSpPr>
          <p:spPr bwMode="auto">
            <a:xfrm flipV="1">
              <a:off x="3442008" y="3515340"/>
              <a:ext cx="1072559" cy="943488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rgbClr val="147C4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Gerade Verbindung 20"/>
            <p:cNvCxnSpPr/>
            <p:nvPr/>
          </p:nvCxnSpPr>
          <p:spPr bwMode="auto">
            <a:xfrm flipV="1">
              <a:off x="3579136" y="4556468"/>
              <a:ext cx="893101" cy="316335"/>
            </a:xfrm>
            <a:prstGeom prst="line">
              <a:avLst/>
            </a:prstGeom>
            <a:solidFill>
              <a:schemeClr val="accent1"/>
            </a:solidFill>
            <a:ln w="15875" cap="flat" cmpd="sng" algn="ctr">
              <a:solidFill>
                <a:srgbClr val="147C4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33" name="Textplatzhalter 3"/>
          <p:cNvSpPr txBox="1">
            <a:spLocks/>
          </p:cNvSpPr>
          <p:nvPr/>
        </p:nvSpPr>
        <p:spPr bwMode="gray">
          <a:xfrm>
            <a:off x="5527408" y="1688108"/>
            <a:ext cx="6192688" cy="4067884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buNone/>
            </a:pPr>
            <a:r>
              <a:rPr lang="en-US" sz="1600" b="1" dirty="0" smtClean="0"/>
              <a:t>Particle filter layer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sz="1600" dirty="0" smtClean="0"/>
              <a:t>High efficiency filter medium removes pollen, diesel soot and particulate matter virtually completely</a:t>
            </a:r>
            <a:endParaRPr lang="en-US" sz="1600" b="1" dirty="0" smtClean="0"/>
          </a:p>
          <a:p>
            <a:pPr marL="0" indent="0">
              <a:buNone/>
            </a:pPr>
            <a:endParaRPr lang="en-US" sz="1600" b="1" dirty="0" smtClean="0"/>
          </a:p>
          <a:p>
            <a:pPr marL="0" indent="0">
              <a:buNone/>
            </a:pPr>
            <a:r>
              <a:rPr lang="en-US" sz="1600" b="1" dirty="0" smtClean="0"/>
              <a:t>Premium activated carbon layer</a:t>
            </a:r>
          </a:p>
          <a:p>
            <a:pPr marL="0" indent="0">
              <a:spcBef>
                <a:spcPts val="300"/>
              </a:spcBef>
              <a:buNone/>
            </a:pPr>
            <a:r>
              <a:rPr lang="en-US" sz="1600" dirty="0" smtClean="0"/>
              <a:t>Eliminates unpleasant </a:t>
            </a:r>
            <a:r>
              <a:rPr lang="en-US" sz="1600" dirty="0" err="1" smtClean="0"/>
              <a:t>odours</a:t>
            </a:r>
            <a:r>
              <a:rPr lang="en-US" sz="1600" dirty="0" smtClean="0"/>
              <a:t> and harmful gases, including ozone, </a:t>
            </a:r>
            <a:r>
              <a:rPr lang="en-US" sz="1600" dirty="0" err="1" smtClean="0"/>
              <a:t>sulphur</a:t>
            </a:r>
            <a:r>
              <a:rPr lang="en-US" sz="1600" dirty="0" smtClean="0"/>
              <a:t> dioxide and nitrogen oxides</a:t>
            </a:r>
            <a:endParaRPr lang="en-US" sz="1600" b="1" dirty="0" smtClean="0"/>
          </a:p>
          <a:p>
            <a:pPr marL="0" indent="0">
              <a:spcBef>
                <a:spcPts val="300"/>
              </a:spcBef>
              <a:buNone/>
            </a:pPr>
            <a:endParaRPr lang="en-US" sz="1600" b="1" dirty="0" smtClean="0"/>
          </a:p>
          <a:p>
            <a:pPr marL="0" indent="0">
              <a:spcBef>
                <a:spcPts val="300"/>
              </a:spcBef>
              <a:buNone/>
            </a:pPr>
            <a:r>
              <a:rPr lang="en-US" sz="1600" b="1" dirty="0" err="1" smtClean="0"/>
              <a:t>Biofunctional</a:t>
            </a:r>
            <a:r>
              <a:rPr lang="en-US" sz="1600" b="1" dirty="0" smtClean="0"/>
              <a:t> layer </a:t>
            </a:r>
          </a:p>
          <a:p>
            <a:pPr marL="0" indent="0">
              <a:buNone/>
            </a:pPr>
            <a:r>
              <a:rPr lang="en-US" sz="1600" dirty="0" err="1" smtClean="0"/>
              <a:t>Biofunctional</a:t>
            </a:r>
            <a:r>
              <a:rPr lang="en-US" sz="1600" dirty="0" smtClean="0"/>
              <a:t> coating with natural polyphenol</a:t>
            </a:r>
            <a:r>
              <a:rPr lang="en-US" sz="1600" b="1" dirty="0" smtClean="0"/>
              <a:t> </a:t>
            </a:r>
            <a:r>
              <a:rPr lang="en-US" sz="1600" dirty="0" smtClean="0"/>
              <a:t>traps allergens. Additional antimicrobial coating blocks nutrition of bacteria and fungi and blocks their growth</a:t>
            </a:r>
            <a:endParaRPr lang="en-US" sz="1600" dirty="0"/>
          </a:p>
        </p:txBody>
      </p:sp>
      <p:sp>
        <p:nvSpPr>
          <p:cNvPr id="34" name="Textfeld 21"/>
          <p:cNvSpPr txBox="1"/>
          <p:nvPr/>
        </p:nvSpPr>
        <p:spPr>
          <a:xfrm>
            <a:off x="5233491" y="1628800"/>
            <a:ext cx="359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+mj-lt"/>
              </a:rPr>
              <a:t>1</a:t>
            </a:r>
            <a:endParaRPr lang="en-US" b="1" dirty="0">
              <a:latin typeface="+mj-lt"/>
            </a:endParaRPr>
          </a:p>
        </p:txBody>
      </p:sp>
      <p:sp>
        <p:nvSpPr>
          <p:cNvPr id="35" name="Textfeld 22"/>
          <p:cNvSpPr txBox="1"/>
          <p:nvPr/>
        </p:nvSpPr>
        <p:spPr>
          <a:xfrm>
            <a:off x="5233491" y="2780928"/>
            <a:ext cx="359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+mj-lt"/>
              </a:rPr>
              <a:t>2</a:t>
            </a:r>
            <a:endParaRPr lang="en-US" b="1" dirty="0">
              <a:latin typeface="+mj-lt"/>
            </a:endParaRPr>
          </a:p>
        </p:txBody>
      </p:sp>
      <p:sp>
        <p:nvSpPr>
          <p:cNvPr id="36" name="Textfeld 23"/>
          <p:cNvSpPr txBox="1"/>
          <p:nvPr/>
        </p:nvSpPr>
        <p:spPr>
          <a:xfrm>
            <a:off x="5233491" y="4067780"/>
            <a:ext cx="3592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>
                <a:latin typeface="+mj-lt"/>
              </a:rPr>
              <a:t>3</a:t>
            </a:r>
          </a:p>
        </p:txBody>
      </p:sp>
      <p:sp>
        <p:nvSpPr>
          <p:cNvPr id="37" name="Freeform 8"/>
          <p:cNvSpPr>
            <a:spLocks/>
          </p:cNvSpPr>
          <p:nvPr/>
        </p:nvSpPr>
        <p:spPr bwMode="auto">
          <a:xfrm rot="480000">
            <a:off x="4568780" y="4564430"/>
            <a:ext cx="854649" cy="855445"/>
          </a:xfrm>
          <a:custGeom>
            <a:avLst/>
            <a:gdLst>
              <a:gd name="T0" fmla="*/ 618 w 1074"/>
              <a:gd name="T1" fmla="*/ 5 h 1075"/>
              <a:gd name="T2" fmla="*/ 685 w 1074"/>
              <a:gd name="T3" fmla="*/ 19 h 1075"/>
              <a:gd name="T4" fmla="*/ 748 w 1074"/>
              <a:gd name="T5" fmla="*/ 43 h 1075"/>
              <a:gd name="T6" fmla="*/ 807 w 1074"/>
              <a:gd name="T7" fmla="*/ 74 h 1075"/>
              <a:gd name="T8" fmla="*/ 864 w 1074"/>
              <a:gd name="T9" fmla="*/ 109 h 1075"/>
              <a:gd name="T10" fmla="*/ 916 w 1074"/>
              <a:gd name="T11" fmla="*/ 154 h 1075"/>
              <a:gd name="T12" fmla="*/ 961 w 1074"/>
              <a:gd name="T13" fmla="*/ 206 h 1075"/>
              <a:gd name="T14" fmla="*/ 999 w 1074"/>
              <a:gd name="T15" fmla="*/ 260 h 1075"/>
              <a:gd name="T16" fmla="*/ 1030 w 1074"/>
              <a:gd name="T17" fmla="*/ 322 h 1075"/>
              <a:gd name="T18" fmla="*/ 1053 w 1074"/>
              <a:gd name="T19" fmla="*/ 383 h 1075"/>
              <a:gd name="T20" fmla="*/ 1067 w 1074"/>
              <a:gd name="T21" fmla="*/ 449 h 1075"/>
              <a:gd name="T22" fmla="*/ 1074 w 1074"/>
              <a:gd name="T23" fmla="*/ 518 h 1075"/>
              <a:gd name="T24" fmla="*/ 1074 w 1074"/>
              <a:gd name="T25" fmla="*/ 584 h 1075"/>
              <a:gd name="T26" fmla="*/ 1063 w 1074"/>
              <a:gd name="T27" fmla="*/ 652 h 1075"/>
              <a:gd name="T28" fmla="*/ 1046 w 1074"/>
              <a:gd name="T29" fmla="*/ 716 h 1075"/>
              <a:gd name="T30" fmla="*/ 1018 w 1074"/>
              <a:gd name="T31" fmla="*/ 780 h 1075"/>
              <a:gd name="T32" fmla="*/ 985 w 1074"/>
              <a:gd name="T33" fmla="*/ 837 h 1075"/>
              <a:gd name="T34" fmla="*/ 944 w 1074"/>
              <a:gd name="T35" fmla="*/ 891 h 1075"/>
              <a:gd name="T36" fmla="*/ 895 w 1074"/>
              <a:gd name="T37" fmla="*/ 940 h 1075"/>
              <a:gd name="T38" fmla="*/ 843 w 1074"/>
              <a:gd name="T39" fmla="*/ 981 h 1075"/>
              <a:gd name="T40" fmla="*/ 784 w 1074"/>
              <a:gd name="T41" fmla="*/ 1016 h 1075"/>
              <a:gd name="T42" fmla="*/ 722 w 1074"/>
              <a:gd name="T43" fmla="*/ 1044 h 1075"/>
              <a:gd name="T44" fmla="*/ 659 w 1074"/>
              <a:gd name="T45" fmla="*/ 1063 h 1075"/>
              <a:gd name="T46" fmla="*/ 592 w 1074"/>
              <a:gd name="T47" fmla="*/ 1073 h 1075"/>
              <a:gd name="T48" fmla="*/ 524 w 1074"/>
              <a:gd name="T49" fmla="*/ 1075 h 1075"/>
              <a:gd name="T50" fmla="*/ 455 w 1074"/>
              <a:gd name="T51" fmla="*/ 1070 h 1075"/>
              <a:gd name="T52" fmla="*/ 389 w 1074"/>
              <a:gd name="T53" fmla="*/ 1056 h 1075"/>
              <a:gd name="T54" fmla="*/ 326 w 1074"/>
              <a:gd name="T55" fmla="*/ 1033 h 1075"/>
              <a:gd name="T56" fmla="*/ 266 w 1074"/>
              <a:gd name="T57" fmla="*/ 1004 h 1075"/>
              <a:gd name="T58" fmla="*/ 210 w 1074"/>
              <a:gd name="T59" fmla="*/ 966 h 1075"/>
              <a:gd name="T60" fmla="*/ 158 w 1074"/>
              <a:gd name="T61" fmla="*/ 922 h 1075"/>
              <a:gd name="T62" fmla="*/ 113 w 1074"/>
              <a:gd name="T63" fmla="*/ 872 h 1075"/>
              <a:gd name="T64" fmla="*/ 75 w 1074"/>
              <a:gd name="T65" fmla="*/ 815 h 1075"/>
              <a:gd name="T66" fmla="*/ 44 w 1074"/>
              <a:gd name="T67" fmla="*/ 756 h 1075"/>
              <a:gd name="T68" fmla="*/ 21 w 1074"/>
              <a:gd name="T69" fmla="*/ 692 h 1075"/>
              <a:gd name="T70" fmla="*/ 7 w 1074"/>
              <a:gd name="T71" fmla="*/ 626 h 1075"/>
              <a:gd name="T72" fmla="*/ 0 w 1074"/>
              <a:gd name="T73" fmla="*/ 558 h 1075"/>
              <a:gd name="T74" fmla="*/ 0 w 1074"/>
              <a:gd name="T75" fmla="*/ 492 h 1075"/>
              <a:gd name="T76" fmla="*/ 11 w 1074"/>
              <a:gd name="T77" fmla="*/ 423 h 1075"/>
              <a:gd name="T78" fmla="*/ 30 w 1074"/>
              <a:gd name="T79" fmla="*/ 359 h 1075"/>
              <a:gd name="T80" fmla="*/ 56 w 1074"/>
              <a:gd name="T81" fmla="*/ 298 h 1075"/>
              <a:gd name="T82" fmla="*/ 89 w 1074"/>
              <a:gd name="T83" fmla="*/ 239 h 1075"/>
              <a:gd name="T84" fmla="*/ 129 w 1074"/>
              <a:gd name="T85" fmla="*/ 185 h 1075"/>
              <a:gd name="T86" fmla="*/ 179 w 1074"/>
              <a:gd name="T87" fmla="*/ 137 h 1075"/>
              <a:gd name="T88" fmla="*/ 231 w 1074"/>
              <a:gd name="T89" fmla="*/ 95 h 1075"/>
              <a:gd name="T90" fmla="*/ 290 w 1074"/>
              <a:gd name="T91" fmla="*/ 59 h 1075"/>
              <a:gd name="T92" fmla="*/ 352 w 1074"/>
              <a:gd name="T93" fmla="*/ 34 h 1075"/>
              <a:gd name="T94" fmla="*/ 415 w 1074"/>
              <a:gd name="T95" fmla="*/ 12 h 1075"/>
              <a:gd name="T96" fmla="*/ 484 w 1074"/>
              <a:gd name="T97" fmla="*/ 3 h 1075"/>
              <a:gd name="T98" fmla="*/ 550 w 1074"/>
              <a:gd name="T99" fmla="*/ 0 h 10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1074" h="1075">
                <a:moveTo>
                  <a:pt x="581" y="52"/>
                </a:moveTo>
                <a:lnTo>
                  <a:pt x="618" y="5"/>
                </a:lnTo>
                <a:lnTo>
                  <a:pt x="640" y="59"/>
                </a:lnTo>
                <a:lnTo>
                  <a:pt x="685" y="19"/>
                </a:lnTo>
                <a:lnTo>
                  <a:pt x="699" y="78"/>
                </a:lnTo>
                <a:lnTo>
                  <a:pt x="748" y="43"/>
                </a:lnTo>
                <a:lnTo>
                  <a:pt x="755" y="102"/>
                </a:lnTo>
                <a:lnTo>
                  <a:pt x="807" y="74"/>
                </a:lnTo>
                <a:lnTo>
                  <a:pt x="810" y="133"/>
                </a:lnTo>
                <a:lnTo>
                  <a:pt x="864" y="109"/>
                </a:lnTo>
                <a:lnTo>
                  <a:pt x="857" y="171"/>
                </a:lnTo>
                <a:lnTo>
                  <a:pt x="916" y="154"/>
                </a:lnTo>
                <a:lnTo>
                  <a:pt x="902" y="213"/>
                </a:lnTo>
                <a:lnTo>
                  <a:pt x="961" y="206"/>
                </a:lnTo>
                <a:lnTo>
                  <a:pt x="940" y="260"/>
                </a:lnTo>
                <a:lnTo>
                  <a:pt x="999" y="260"/>
                </a:lnTo>
                <a:lnTo>
                  <a:pt x="970" y="312"/>
                </a:lnTo>
                <a:lnTo>
                  <a:pt x="1030" y="322"/>
                </a:lnTo>
                <a:lnTo>
                  <a:pt x="996" y="369"/>
                </a:lnTo>
                <a:lnTo>
                  <a:pt x="1053" y="383"/>
                </a:lnTo>
                <a:lnTo>
                  <a:pt x="1013" y="428"/>
                </a:lnTo>
                <a:lnTo>
                  <a:pt x="1067" y="449"/>
                </a:lnTo>
                <a:lnTo>
                  <a:pt x="1022" y="489"/>
                </a:lnTo>
                <a:lnTo>
                  <a:pt x="1074" y="518"/>
                </a:lnTo>
                <a:lnTo>
                  <a:pt x="1025" y="551"/>
                </a:lnTo>
                <a:lnTo>
                  <a:pt x="1074" y="584"/>
                </a:lnTo>
                <a:lnTo>
                  <a:pt x="1020" y="610"/>
                </a:lnTo>
                <a:lnTo>
                  <a:pt x="1063" y="652"/>
                </a:lnTo>
                <a:lnTo>
                  <a:pt x="1008" y="671"/>
                </a:lnTo>
                <a:lnTo>
                  <a:pt x="1046" y="716"/>
                </a:lnTo>
                <a:lnTo>
                  <a:pt x="987" y="728"/>
                </a:lnTo>
                <a:lnTo>
                  <a:pt x="1018" y="780"/>
                </a:lnTo>
                <a:lnTo>
                  <a:pt x="959" y="785"/>
                </a:lnTo>
                <a:lnTo>
                  <a:pt x="985" y="837"/>
                </a:lnTo>
                <a:lnTo>
                  <a:pt x="926" y="834"/>
                </a:lnTo>
                <a:lnTo>
                  <a:pt x="944" y="891"/>
                </a:lnTo>
                <a:lnTo>
                  <a:pt x="885" y="881"/>
                </a:lnTo>
                <a:lnTo>
                  <a:pt x="895" y="940"/>
                </a:lnTo>
                <a:lnTo>
                  <a:pt x="838" y="922"/>
                </a:lnTo>
                <a:lnTo>
                  <a:pt x="843" y="981"/>
                </a:lnTo>
                <a:lnTo>
                  <a:pt x="789" y="957"/>
                </a:lnTo>
                <a:lnTo>
                  <a:pt x="784" y="1016"/>
                </a:lnTo>
                <a:lnTo>
                  <a:pt x="734" y="985"/>
                </a:lnTo>
                <a:lnTo>
                  <a:pt x="722" y="1044"/>
                </a:lnTo>
                <a:lnTo>
                  <a:pt x="678" y="1007"/>
                </a:lnTo>
                <a:lnTo>
                  <a:pt x="659" y="1063"/>
                </a:lnTo>
                <a:lnTo>
                  <a:pt x="616" y="1021"/>
                </a:lnTo>
                <a:lnTo>
                  <a:pt x="592" y="1073"/>
                </a:lnTo>
                <a:lnTo>
                  <a:pt x="555" y="1025"/>
                </a:lnTo>
                <a:lnTo>
                  <a:pt x="524" y="1075"/>
                </a:lnTo>
                <a:lnTo>
                  <a:pt x="496" y="1025"/>
                </a:lnTo>
                <a:lnTo>
                  <a:pt x="455" y="1070"/>
                </a:lnTo>
                <a:lnTo>
                  <a:pt x="434" y="1016"/>
                </a:lnTo>
                <a:lnTo>
                  <a:pt x="389" y="1056"/>
                </a:lnTo>
                <a:lnTo>
                  <a:pt x="375" y="1000"/>
                </a:lnTo>
                <a:lnTo>
                  <a:pt x="326" y="1033"/>
                </a:lnTo>
                <a:lnTo>
                  <a:pt x="318" y="974"/>
                </a:lnTo>
                <a:lnTo>
                  <a:pt x="266" y="1004"/>
                </a:lnTo>
                <a:lnTo>
                  <a:pt x="266" y="943"/>
                </a:lnTo>
                <a:lnTo>
                  <a:pt x="210" y="966"/>
                </a:lnTo>
                <a:lnTo>
                  <a:pt x="217" y="907"/>
                </a:lnTo>
                <a:lnTo>
                  <a:pt x="158" y="922"/>
                </a:lnTo>
                <a:lnTo>
                  <a:pt x="172" y="863"/>
                </a:lnTo>
                <a:lnTo>
                  <a:pt x="113" y="872"/>
                </a:lnTo>
                <a:lnTo>
                  <a:pt x="134" y="815"/>
                </a:lnTo>
                <a:lnTo>
                  <a:pt x="75" y="815"/>
                </a:lnTo>
                <a:lnTo>
                  <a:pt x="103" y="763"/>
                </a:lnTo>
                <a:lnTo>
                  <a:pt x="44" y="756"/>
                </a:lnTo>
                <a:lnTo>
                  <a:pt x="77" y="707"/>
                </a:lnTo>
                <a:lnTo>
                  <a:pt x="21" y="692"/>
                </a:lnTo>
                <a:lnTo>
                  <a:pt x="61" y="648"/>
                </a:lnTo>
                <a:lnTo>
                  <a:pt x="7" y="626"/>
                </a:lnTo>
                <a:lnTo>
                  <a:pt x="51" y="586"/>
                </a:lnTo>
                <a:lnTo>
                  <a:pt x="0" y="558"/>
                </a:lnTo>
                <a:lnTo>
                  <a:pt x="49" y="527"/>
                </a:lnTo>
                <a:lnTo>
                  <a:pt x="0" y="492"/>
                </a:lnTo>
                <a:lnTo>
                  <a:pt x="54" y="466"/>
                </a:lnTo>
                <a:lnTo>
                  <a:pt x="11" y="423"/>
                </a:lnTo>
                <a:lnTo>
                  <a:pt x="68" y="404"/>
                </a:lnTo>
                <a:lnTo>
                  <a:pt x="30" y="359"/>
                </a:lnTo>
                <a:lnTo>
                  <a:pt x="87" y="348"/>
                </a:lnTo>
                <a:lnTo>
                  <a:pt x="56" y="298"/>
                </a:lnTo>
                <a:lnTo>
                  <a:pt x="115" y="293"/>
                </a:lnTo>
                <a:lnTo>
                  <a:pt x="89" y="239"/>
                </a:lnTo>
                <a:lnTo>
                  <a:pt x="148" y="241"/>
                </a:lnTo>
                <a:lnTo>
                  <a:pt x="129" y="185"/>
                </a:lnTo>
                <a:lnTo>
                  <a:pt x="189" y="194"/>
                </a:lnTo>
                <a:lnTo>
                  <a:pt x="179" y="137"/>
                </a:lnTo>
                <a:lnTo>
                  <a:pt x="236" y="154"/>
                </a:lnTo>
                <a:lnTo>
                  <a:pt x="231" y="95"/>
                </a:lnTo>
                <a:lnTo>
                  <a:pt x="285" y="119"/>
                </a:lnTo>
                <a:lnTo>
                  <a:pt x="290" y="59"/>
                </a:lnTo>
                <a:lnTo>
                  <a:pt x="340" y="90"/>
                </a:lnTo>
                <a:lnTo>
                  <a:pt x="352" y="34"/>
                </a:lnTo>
                <a:lnTo>
                  <a:pt x="396" y="69"/>
                </a:lnTo>
                <a:lnTo>
                  <a:pt x="415" y="12"/>
                </a:lnTo>
                <a:lnTo>
                  <a:pt x="458" y="57"/>
                </a:lnTo>
                <a:lnTo>
                  <a:pt x="484" y="3"/>
                </a:lnTo>
                <a:lnTo>
                  <a:pt x="519" y="50"/>
                </a:lnTo>
                <a:lnTo>
                  <a:pt x="550" y="0"/>
                </a:lnTo>
                <a:lnTo>
                  <a:pt x="581" y="52"/>
                </a:lnTo>
                <a:close/>
              </a:path>
            </a:pathLst>
          </a:custGeom>
          <a:solidFill>
            <a:srgbClr val="009EE0"/>
          </a:solidFill>
          <a:ln>
            <a:noFill/>
          </a:ln>
          <a:effectLst>
            <a:outerShdw blurRad="50800" dist="38100" dir="2700000" algn="tl" rotWithShape="0">
              <a:schemeClr val="tx1">
                <a:alpha val="40000"/>
              </a:scheme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New!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328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The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new</a:t>
            </a:r>
            <a:r>
              <a:rPr lang="tr-TR" dirty="0" smtClean="0">
                <a:solidFill>
                  <a:srgbClr val="147C43"/>
                </a:solidFill>
                <a:cs typeface="Arial Black" pitchFamily="34" charset="0"/>
              </a:rPr>
              <a:t> </a:t>
            </a:r>
            <a:r>
              <a:rPr lang="tr-TR" dirty="0" err="1" smtClean="0">
                <a:solidFill>
                  <a:srgbClr val="147C43"/>
                </a:solidFill>
                <a:cs typeface="Arial Black" pitchFamily="34" charset="0"/>
              </a:rPr>
              <a:t>look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New packaging </a:t>
            </a:r>
          </a:p>
        </p:txBody>
      </p:sp>
      <p:sp>
        <p:nvSpPr>
          <p:cNvPr id="14" name="Inhaltsplatzhalter 3"/>
          <p:cNvSpPr txBox="1">
            <a:spLocks/>
          </p:cNvSpPr>
          <p:nvPr/>
        </p:nvSpPr>
        <p:spPr bwMode="gray">
          <a:xfrm>
            <a:off x="5521325" y="1700212"/>
            <a:ext cx="5472806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New premium packaging</a:t>
            </a:r>
          </a:p>
          <a:p>
            <a:r>
              <a:rPr lang="en-US" dirty="0" smtClean="0"/>
              <a:t>Appealing to end customers through emotional design and product description</a:t>
            </a:r>
          </a:p>
          <a:p>
            <a:r>
              <a:rPr lang="en-US" dirty="0" smtClean="0"/>
              <a:t>5 languages EN, GER, FR, ES, RU</a:t>
            </a:r>
          </a:p>
          <a:p>
            <a:r>
              <a:rPr lang="en-US" kern="0" dirty="0" smtClean="0"/>
              <a:t>Indication leaflet (24 languages incl. RU + TR)</a:t>
            </a:r>
          </a:p>
          <a:p>
            <a:r>
              <a:rPr lang="en-US" kern="0" dirty="0" smtClean="0"/>
              <a:t>Installation instruction (updated)</a:t>
            </a:r>
          </a:p>
          <a:p>
            <a:endParaRPr lang="en-US" dirty="0" smtClean="0">
              <a:cs typeface="Arial" pitchFamily="34" charset="0"/>
            </a:endParaRPr>
          </a:p>
          <a:p>
            <a:endParaRPr lang="en-US" dirty="0">
              <a:cs typeface="Arial" pitchFamily="34" charset="0"/>
            </a:endParaRPr>
          </a:p>
        </p:txBody>
      </p:sp>
      <p:grpSp>
        <p:nvGrpSpPr>
          <p:cNvPr id="15" name="Gruppieren 10"/>
          <p:cNvGrpSpPr/>
          <p:nvPr/>
        </p:nvGrpSpPr>
        <p:grpSpPr>
          <a:xfrm>
            <a:off x="599106" y="1643921"/>
            <a:ext cx="4202337" cy="4422956"/>
            <a:chOff x="599106" y="1340768"/>
            <a:chExt cx="4490369" cy="4726109"/>
          </a:xfrm>
        </p:grpSpPr>
        <p:pic>
          <p:nvPicPr>
            <p:cNvPr id="16" name="Grafik 11"/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3993"/>
            <a:stretch/>
          </p:blipFill>
          <p:spPr>
            <a:xfrm>
              <a:off x="599106" y="2204864"/>
              <a:ext cx="1466033" cy="3019195"/>
            </a:xfrm>
            <a:prstGeom prst="rect">
              <a:avLst/>
            </a:prstGeom>
          </p:spPr>
        </p:pic>
        <p:pic>
          <p:nvPicPr>
            <p:cNvPr id="17" name="Grafik 12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027" r="12060" b="5586"/>
            <a:stretch/>
          </p:blipFill>
          <p:spPr>
            <a:xfrm>
              <a:off x="2195737" y="1340768"/>
              <a:ext cx="2893738" cy="4726109"/>
            </a:xfrm>
            <a:prstGeom prst="rect">
              <a:avLst/>
            </a:prstGeom>
          </p:spPr>
        </p:pic>
      </p:grpSp>
      <p:pic>
        <p:nvPicPr>
          <p:cNvPr id="18" name="Grafik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8235" y="3861048"/>
            <a:ext cx="2483768" cy="17559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2000"/>
              </a:prstClr>
            </a:outerShdw>
          </a:effectLst>
        </p:spPr>
      </p:pic>
      <p:pic>
        <p:nvPicPr>
          <p:cNvPr id="19" name="Grafik 1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300"/>
          <a:stretch/>
        </p:blipFill>
        <p:spPr>
          <a:xfrm rot="21189616">
            <a:off x="6749527" y="4147076"/>
            <a:ext cx="812180" cy="175591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25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517837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/>
        <p:txBody>
          <a:bodyPr/>
          <a:lstStyle/>
          <a:p>
            <a:r>
              <a:rPr lang="en-US" dirty="0" err="1">
                <a:solidFill>
                  <a:srgbClr val="147C43"/>
                </a:solidFill>
                <a:cs typeface="Arial Black" pitchFamily="34" charset="0"/>
              </a:rPr>
              <a:t>FreciousPlus</a:t>
            </a:r>
            <a:r>
              <a:rPr lang="en-US" dirty="0">
                <a:solidFill>
                  <a:srgbClr val="147C43"/>
                </a:solidFill>
                <a:cs typeface="Arial Black" pitchFamily="34" charset="0"/>
              </a:rPr>
              <a:t> – Additional benefits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Many advantages – for everybody!</a:t>
            </a:r>
          </a:p>
        </p:txBody>
      </p:sp>
      <p:pic>
        <p:nvPicPr>
          <p:cNvPr id="10" name="Grafik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49" r="14" b="9269"/>
          <a:stretch/>
        </p:blipFill>
        <p:spPr>
          <a:xfrm flipH="1">
            <a:off x="3649315" y="2683125"/>
            <a:ext cx="8208912" cy="3422400"/>
          </a:xfrm>
          <a:prstGeom prst="rect">
            <a:avLst/>
          </a:prstGeom>
        </p:spPr>
      </p:pic>
      <p:pic>
        <p:nvPicPr>
          <p:cNvPr id="11" name="Picture 2" descr="http://img.e-marketing.fr/Img/BREVE/2016/1/301269/elu-Produit-Annee-29eme-edition-F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670" r="27109"/>
          <a:stretch/>
        </p:blipFill>
        <p:spPr bwMode="auto">
          <a:xfrm>
            <a:off x="9481963" y="1703661"/>
            <a:ext cx="1368601" cy="1419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Inhaltsplatzhalter 3"/>
          <p:cNvSpPr txBox="1">
            <a:spLocks/>
          </p:cNvSpPr>
          <p:nvPr/>
        </p:nvSpPr>
        <p:spPr bwMode="gray">
          <a:xfrm>
            <a:off x="552971" y="1700139"/>
            <a:ext cx="6697142" cy="4249141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538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6575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5350" indent="-179388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900000" indent="-180000" algn="l" defTabSz="914400" rtl="0" eaLnBrk="1" latinLnBrk="0" hangingPunct="1">
              <a:spcBef>
                <a:spcPts val="0"/>
              </a:spcBef>
              <a:spcAft>
                <a:spcPts val="40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dirty="0" smtClean="0"/>
              <a:t>Three filtration layers for best filtration performance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Innovative premium product (international patent pending)</a:t>
            </a:r>
          </a:p>
          <a:p>
            <a:r>
              <a:rPr lang="en-US" dirty="0" smtClean="0"/>
              <a:t>Product of the year 2016 in France „</a:t>
            </a:r>
            <a:r>
              <a:rPr lang="en-US" dirty="0" err="1" smtClean="0"/>
              <a:t>Produit</a:t>
            </a:r>
            <a:r>
              <a:rPr lang="en-US" dirty="0" smtClean="0"/>
              <a:t> de </a:t>
            </a:r>
            <a:r>
              <a:rPr lang="en-US" dirty="0" err="1" smtClean="0"/>
              <a:t>l’année</a:t>
            </a:r>
            <a:r>
              <a:rPr lang="en-US" dirty="0" smtClean="0"/>
              <a:t>“*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Air conditioning servicing with benefits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Safety and comfort in the car</a:t>
            </a:r>
          </a:p>
          <a:p>
            <a:r>
              <a:rPr lang="en-US" dirty="0" smtClean="0"/>
              <a:t>Possibility to point on importance of the regular change of </a:t>
            </a:r>
            <a:br>
              <a:rPr lang="en-US" dirty="0" smtClean="0"/>
            </a:br>
            <a:r>
              <a:rPr lang="en-US" dirty="0" smtClean="0"/>
              <a:t>cabin air filters</a:t>
            </a:r>
          </a:p>
          <a:p>
            <a:pPr>
              <a:lnSpc>
                <a:spcPct val="100000"/>
              </a:lnSpc>
            </a:pPr>
            <a:r>
              <a:rPr lang="en-US" dirty="0" smtClean="0"/>
              <a:t>in car driver communication Comprehensive sales support for garages and wholesalers</a:t>
            </a:r>
          </a:p>
          <a:p>
            <a:endParaRPr lang="en-US" dirty="0"/>
          </a:p>
        </p:txBody>
      </p:sp>
      <p:pic>
        <p:nvPicPr>
          <p:cNvPr id="13" name="Grafik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6738" y="3797408"/>
            <a:ext cx="1235265" cy="1161757"/>
          </a:xfrm>
          <a:prstGeom prst="rect">
            <a:avLst/>
          </a:prstGeom>
        </p:spPr>
      </p:pic>
      <p:sp>
        <p:nvSpPr>
          <p:cNvPr id="20" name="Textfeld 12"/>
          <p:cNvSpPr txBox="1"/>
          <p:nvPr/>
        </p:nvSpPr>
        <p:spPr bwMode="gray">
          <a:xfrm>
            <a:off x="9193213" y="3159580"/>
            <a:ext cx="165575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Clr>
                <a:schemeClr val="accent2"/>
              </a:buClr>
            </a:pPr>
            <a:r>
              <a:rPr lang="en-US" sz="1000" dirty="0" smtClean="0"/>
              <a:t>Logo „</a:t>
            </a:r>
            <a:r>
              <a:rPr lang="en-US" sz="1000" dirty="0" err="1" smtClean="0"/>
              <a:t>Produit</a:t>
            </a:r>
            <a:r>
              <a:rPr lang="en-US" sz="1000" dirty="0" smtClean="0"/>
              <a:t> de </a:t>
            </a:r>
            <a:r>
              <a:rPr lang="en-US" sz="1000" dirty="0" err="1" smtClean="0"/>
              <a:t>l’année</a:t>
            </a:r>
            <a:r>
              <a:rPr lang="en-US" sz="1000" dirty="0" smtClean="0"/>
              <a:t> (product of the year) »</a:t>
            </a:r>
          </a:p>
        </p:txBody>
      </p:sp>
      <p:sp>
        <p:nvSpPr>
          <p:cNvPr id="21" name="Textfeld 13"/>
          <p:cNvSpPr txBox="1"/>
          <p:nvPr/>
        </p:nvSpPr>
        <p:spPr bwMode="gray">
          <a:xfrm>
            <a:off x="552971" y="5795392"/>
            <a:ext cx="7200800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000" dirty="0" smtClean="0"/>
              <a:t>* Online </a:t>
            </a:r>
            <a:r>
              <a:rPr lang="en-US" sz="1000" dirty="0"/>
              <a:t>study </a:t>
            </a:r>
            <a:r>
              <a:rPr lang="en-US" sz="1000" dirty="0" smtClean="0"/>
              <a:t>an among </a:t>
            </a:r>
            <a:r>
              <a:rPr lang="en-US" sz="1000" dirty="0"/>
              <a:t>more than 10,000 representative consumers in </a:t>
            </a:r>
            <a:r>
              <a:rPr lang="en-US" sz="1000" dirty="0" smtClean="0"/>
              <a:t>France</a:t>
            </a:r>
            <a:r>
              <a:rPr lang="en-US" sz="1000" dirty="0"/>
              <a:t> conducted </a:t>
            </a:r>
            <a:r>
              <a:rPr lang="en-US" sz="1000" dirty="0" smtClean="0"/>
              <a:t>by </a:t>
            </a:r>
            <a:r>
              <a:rPr lang="en-US" sz="1000" dirty="0"/>
              <a:t>market research institute Nielsen </a:t>
            </a: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843305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070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0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tr-TR" dirty="0" err="1" smtClean="0"/>
              <a:t>Thank</a:t>
            </a:r>
            <a:r>
              <a:rPr lang="tr-TR" dirty="0" smtClean="0"/>
              <a:t> </a:t>
            </a:r>
            <a:r>
              <a:rPr lang="tr-TR" dirty="0" err="1" smtClean="0"/>
              <a:t>you</a:t>
            </a:r>
            <a:r>
              <a:rPr lang="tr-TR" dirty="0" smtClean="0"/>
              <a:t>…</a:t>
            </a:r>
            <a:endParaRPr lang="en-US" dirty="0" smtClean="0"/>
          </a:p>
          <a:p>
            <a:pPr lvl="2"/>
            <a:r>
              <a:rPr lang="tr-TR" dirty="0" smtClean="0"/>
              <a:t>Onur Özyapıcı</a:t>
            </a:r>
            <a:r>
              <a:rPr lang="en-US" dirty="0" smtClean="0"/>
              <a:t>, </a:t>
            </a:r>
            <a:r>
              <a:rPr lang="tr-TR" b="0" dirty="0" err="1" smtClean="0"/>
              <a:t>Sales</a:t>
            </a:r>
            <a:r>
              <a:rPr lang="tr-TR" b="0" dirty="0" smtClean="0"/>
              <a:t> </a:t>
            </a:r>
            <a:r>
              <a:rPr lang="tr-TR" b="0" dirty="0" err="1" smtClean="0"/>
              <a:t>Director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32402730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7884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62" name="think-cell Slide" r:id="rId13" imgW="353" imgH="353" progId="TCLayout.ActiveDocument.1">
                  <p:embed/>
                </p:oleObj>
              </mc:Choice>
              <mc:Fallback>
                <p:oleObj name="think-cell Slide" r:id="rId1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platzhalter 10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 smtClean="0"/>
              <a:t>Table of content</a:t>
            </a:r>
            <a:endParaRPr lang="en-US" dirty="0"/>
          </a:p>
        </p:txBody>
      </p:sp>
      <p:sp>
        <p:nvSpPr>
          <p:cNvPr id="35" name="Rectangle 51">
            <a:hlinkClick r:id="" action="ppaction://noaction"/>
          </p:cNvPr>
          <p:cNvSpPr/>
          <p:nvPr>
            <p:custDataLst>
              <p:tags r:id="rId3"/>
            </p:custDataLst>
          </p:nvPr>
        </p:nvSpPr>
        <p:spPr bwMode="gray">
          <a:xfrm>
            <a:off x="984027" y="2569072"/>
            <a:ext cx="9938096" cy="3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aches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d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rketing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Rectangle 50">
            <a:hlinkClick r:id="" action="ppaction://noaction"/>
          </p:cNvPr>
          <p:cNvSpPr/>
          <p:nvPr>
            <p:custDataLst>
              <p:tags r:id="rId4"/>
            </p:custDataLst>
          </p:nvPr>
        </p:nvSpPr>
        <p:spPr bwMode="gray">
          <a:xfrm>
            <a:off x="552971" y="2569071"/>
            <a:ext cx="360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Rectangle 37">
            <a:hlinkClick r:id="rId15" action="ppaction://hlinksldjump"/>
          </p:cNvPr>
          <p:cNvSpPr/>
          <p:nvPr>
            <p:custDataLst>
              <p:tags r:id="rId5"/>
            </p:custDataLst>
          </p:nvPr>
        </p:nvSpPr>
        <p:spPr bwMode="gray">
          <a:xfrm>
            <a:off x="983431" y="2132935"/>
            <a:ext cx="9938692" cy="3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s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fecting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pendent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market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Rectangle 36">
            <a:hlinkClick r:id="rId15" action="ppaction://hlinksldjump"/>
          </p:cNvPr>
          <p:cNvSpPr/>
          <p:nvPr>
            <p:custDataLst>
              <p:tags r:id="rId6"/>
            </p:custDataLst>
          </p:nvPr>
        </p:nvSpPr>
        <p:spPr bwMode="gray">
          <a:xfrm>
            <a:off x="552971" y="2132895"/>
            <a:ext cx="360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Rectangle 33">
            <a:hlinkClick r:id="" action="ppaction://noaction"/>
          </p:cNvPr>
          <p:cNvSpPr/>
          <p:nvPr>
            <p:custDataLst>
              <p:tags r:id="rId7"/>
            </p:custDataLst>
          </p:nvPr>
        </p:nvSpPr>
        <p:spPr bwMode="gray">
          <a:xfrm>
            <a:off x="983431" y="1700848"/>
            <a:ext cx="9938692" cy="3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NN+HUMMEL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a </a:t>
            </a:r>
            <a:r>
              <a:rPr lang="tr-T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ce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Rectangle 32">
            <a:hlinkClick r:id="" action="ppaction://noaction"/>
          </p:cNvPr>
          <p:cNvSpPr/>
          <p:nvPr>
            <p:custDataLst>
              <p:tags r:id="rId8"/>
            </p:custDataLst>
          </p:nvPr>
        </p:nvSpPr>
        <p:spPr bwMode="gray">
          <a:xfrm>
            <a:off x="552971" y="1704975"/>
            <a:ext cx="360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51">
            <a:hlinkClick r:id="" action="ppaction://noaction"/>
          </p:cNvPr>
          <p:cNvSpPr/>
          <p:nvPr>
            <p:custDataLst>
              <p:tags r:id="rId9"/>
            </p:custDataLst>
          </p:nvPr>
        </p:nvSpPr>
        <p:spPr bwMode="gray">
          <a:xfrm>
            <a:off x="983431" y="2996953"/>
            <a:ext cx="9938096" cy="360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</a:t>
            </a:r>
            <a:r>
              <a:rPr lang="tr-TR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od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c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: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bin</a:t>
            </a:r>
            <a:r>
              <a:rPr lang="tr-TR" sz="16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sz="1600" dirty="0" err="1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ter</a:t>
            </a:r>
            <a:endParaRPr lang="en-US" sz="16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50">
            <a:hlinkClick r:id="" action="ppaction://noaction"/>
          </p:cNvPr>
          <p:cNvSpPr/>
          <p:nvPr>
            <p:custDataLst>
              <p:tags r:id="rId10"/>
            </p:custDataLst>
          </p:nvPr>
        </p:nvSpPr>
        <p:spPr bwMode="gray">
          <a:xfrm>
            <a:off x="552375" y="2996952"/>
            <a:ext cx="360000" cy="360000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tr-TR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en-US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7426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 smtClean="0"/>
              <a:t>The</a:t>
            </a:r>
            <a:r>
              <a:rPr lang="tr-TR" dirty="0" smtClean="0"/>
              <a:t> MANN+HUMMEL </a:t>
            </a:r>
            <a:r>
              <a:rPr lang="tr-TR" dirty="0" err="1" smtClean="0"/>
              <a:t>Group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494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1" name="Freeform 6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1345058" y="1014149"/>
            <a:ext cx="9637325" cy="5367179"/>
          </a:xfrm>
          <a:custGeom>
            <a:avLst/>
            <a:gdLst>
              <a:gd name="T0" fmla="*/ 3434 w 5373"/>
              <a:gd name="T1" fmla="*/ 290 h 2681"/>
              <a:gd name="T2" fmla="*/ 2977 w 5373"/>
              <a:gd name="T3" fmla="*/ 117 h 2681"/>
              <a:gd name="T4" fmla="*/ 1813 w 5373"/>
              <a:gd name="T5" fmla="*/ 355 h 2681"/>
              <a:gd name="T6" fmla="*/ 810 w 5373"/>
              <a:gd name="T7" fmla="*/ 888 h 2681"/>
              <a:gd name="T8" fmla="*/ 319 w 5373"/>
              <a:gd name="T9" fmla="*/ 744 h 2681"/>
              <a:gd name="T10" fmla="*/ 1050 w 5373"/>
              <a:gd name="T11" fmla="*/ 493 h 2681"/>
              <a:gd name="T12" fmla="*/ 1556 w 5373"/>
              <a:gd name="T13" fmla="*/ 632 h 2681"/>
              <a:gd name="T14" fmla="*/ 1506 w 5373"/>
              <a:gd name="T15" fmla="*/ 1080 h 2681"/>
              <a:gd name="T16" fmla="*/ 1377 w 5373"/>
              <a:gd name="T17" fmla="*/ 510 h 2681"/>
              <a:gd name="T18" fmla="*/ 1582 w 5373"/>
              <a:gd name="T19" fmla="*/ 2590 h 2681"/>
              <a:gd name="T20" fmla="*/ 4958 w 5373"/>
              <a:gd name="T21" fmla="*/ 442 h 2681"/>
              <a:gd name="T22" fmla="*/ 3395 w 5373"/>
              <a:gd name="T23" fmla="*/ 104 h 2681"/>
              <a:gd name="T24" fmla="*/ 3480 w 5373"/>
              <a:gd name="T25" fmla="*/ 97 h 2681"/>
              <a:gd name="T26" fmla="*/ 1138 w 5373"/>
              <a:gd name="T27" fmla="*/ 453 h 2681"/>
              <a:gd name="T28" fmla="*/ 1222 w 5373"/>
              <a:gd name="T29" fmla="*/ 141 h 2681"/>
              <a:gd name="T30" fmla="*/ 1016 w 5373"/>
              <a:gd name="T31" fmla="*/ 208 h 2681"/>
              <a:gd name="T32" fmla="*/ 1659 w 5373"/>
              <a:gd name="T33" fmla="*/ 476 h 2681"/>
              <a:gd name="T34" fmla="*/ 1533 w 5373"/>
              <a:gd name="T35" fmla="*/ 466 h 2681"/>
              <a:gd name="T36" fmla="*/ 1441 w 5373"/>
              <a:gd name="T37" fmla="*/ 56 h 2681"/>
              <a:gd name="T38" fmla="*/ 2517 w 5373"/>
              <a:gd name="T39" fmla="*/ 630 h 2681"/>
              <a:gd name="T40" fmla="*/ 647 w 5373"/>
              <a:gd name="T41" fmla="*/ 728 h 2681"/>
              <a:gd name="T42" fmla="*/ 1614 w 5373"/>
              <a:gd name="T43" fmla="*/ 988 h 2681"/>
              <a:gd name="T44" fmla="*/ 2566 w 5373"/>
              <a:gd name="T45" fmla="*/ 697 h 2681"/>
              <a:gd name="T46" fmla="*/ 592 w 5373"/>
              <a:gd name="T47" fmla="*/ 1846 h 2681"/>
              <a:gd name="T48" fmla="*/ 5131 w 5373"/>
              <a:gd name="T49" fmla="*/ 2242 h 2681"/>
              <a:gd name="T50" fmla="*/ 4120 w 5373"/>
              <a:gd name="T51" fmla="*/ 1676 h 2681"/>
              <a:gd name="T52" fmla="*/ 4393 w 5373"/>
              <a:gd name="T53" fmla="*/ 1753 h 2681"/>
              <a:gd name="T54" fmla="*/ 5055 w 5373"/>
              <a:gd name="T55" fmla="*/ 1960 h 2681"/>
              <a:gd name="T56" fmla="*/ 4317 w 5373"/>
              <a:gd name="T57" fmla="*/ 2007 h 2681"/>
              <a:gd name="T58" fmla="*/ 4433 w 5373"/>
              <a:gd name="T59" fmla="*/ 1921 h 2681"/>
              <a:gd name="T60" fmla="*/ 4945 w 5373"/>
              <a:gd name="T61" fmla="*/ 789 h 2681"/>
              <a:gd name="T62" fmla="*/ 4441 w 5373"/>
              <a:gd name="T63" fmla="*/ 1102 h 2681"/>
              <a:gd name="T64" fmla="*/ 4167 w 5373"/>
              <a:gd name="T65" fmla="*/ 1537 h 2681"/>
              <a:gd name="T66" fmla="*/ 3670 w 5373"/>
              <a:gd name="T67" fmla="*/ 1402 h 2681"/>
              <a:gd name="T68" fmla="*/ 3209 w 5373"/>
              <a:gd name="T69" fmla="*/ 1704 h 2681"/>
              <a:gd name="T70" fmla="*/ 2421 w 5373"/>
              <a:gd name="T71" fmla="*/ 1274 h 2681"/>
              <a:gd name="T72" fmla="*/ 2919 w 5373"/>
              <a:gd name="T73" fmla="*/ 613 h 2681"/>
              <a:gd name="T74" fmla="*/ 2854 w 5373"/>
              <a:gd name="T75" fmla="*/ 455 h 2681"/>
              <a:gd name="T76" fmla="*/ 3668 w 5373"/>
              <a:gd name="T77" fmla="*/ 404 h 2681"/>
              <a:gd name="T78" fmla="*/ 4408 w 5373"/>
              <a:gd name="T79" fmla="*/ 354 h 2681"/>
              <a:gd name="T80" fmla="*/ 2691 w 5373"/>
              <a:gd name="T81" fmla="*/ 648 h 2681"/>
              <a:gd name="T82" fmla="*/ 2723 w 5373"/>
              <a:gd name="T83" fmla="*/ 997 h 2681"/>
              <a:gd name="T84" fmla="*/ 3370 w 5373"/>
              <a:gd name="T85" fmla="*/ 472 h 2681"/>
              <a:gd name="T86" fmla="*/ 2971 w 5373"/>
              <a:gd name="T87" fmla="*/ 1146 h 2681"/>
              <a:gd name="T88" fmla="*/ 2785 w 5373"/>
              <a:gd name="T89" fmla="*/ 761 h 2681"/>
              <a:gd name="T90" fmla="*/ 3858 w 5373"/>
              <a:gd name="T91" fmla="*/ 299 h 2681"/>
              <a:gd name="T92" fmla="*/ 2257 w 5373"/>
              <a:gd name="T93" fmla="*/ 535 h 2681"/>
              <a:gd name="T94" fmla="*/ 2012 w 5373"/>
              <a:gd name="T95" fmla="*/ 592 h 2681"/>
              <a:gd name="T96" fmla="*/ 1755 w 5373"/>
              <a:gd name="T97" fmla="*/ 262 h 2681"/>
              <a:gd name="T98" fmla="*/ 2322 w 5373"/>
              <a:gd name="T99" fmla="*/ 311 h 2681"/>
              <a:gd name="T100" fmla="*/ 2332 w 5373"/>
              <a:gd name="T101" fmla="*/ 185 h 2681"/>
              <a:gd name="T102" fmla="*/ 3277 w 5373"/>
              <a:gd name="T103" fmla="*/ 1935 h 2681"/>
              <a:gd name="T104" fmla="*/ 2048 w 5373"/>
              <a:gd name="T105" fmla="*/ 1886 h 2681"/>
              <a:gd name="T106" fmla="*/ 1526 w 5373"/>
              <a:gd name="T107" fmla="*/ 2433 h 2681"/>
              <a:gd name="T108" fmla="*/ 1824 w 5373"/>
              <a:gd name="T109" fmla="*/ 1612 h 2681"/>
              <a:gd name="T110" fmla="*/ 1808 w 5373"/>
              <a:gd name="T111" fmla="*/ 378 h 2681"/>
              <a:gd name="T112" fmla="*/ 4408 w 5373"/>
              <a:gd name="T113" fmla="*/ 1721 h 2681"/>
              <a:gd name="T114" fmla="*/ 4421 w 5373"/>
              <a:gd name="T115" fmla="*/ 1527 h 2681"/>
              <a:gd name="T116" fmla="*/ 4404 w 5373"/>
              <a:gd name="T117" fmla="*/ 1567 h 2681"/>
              <a:gd name="T118" fmla="*/ 4598 w 5373"/>
              <a:gd name="T119" fmla="*/ 1116 h 2681"/>
              <a:gd name="T120" fmla="*/ 4249 w 5373"/>
              <a:gd name="T121" fmla="*/ 1800 h 2681"/>
              <a:gd name="T122" fmla="*/ 4517 w 5373"/>
              <a:gd name="T123" fmla="*/ 1802 h 2681"/>
              <a:gd name="T124" fmla="*/ 4660 w 5373"/>
              <a:gd name="T125" fmla="*/ 1032 h 26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5373" h="2681">
                <a:moveTo>
                  <a:pt x="1846" y="547"/>
                </a:moveTo>
                <a:lnTo>
                  <a:pt x="1843" y="545"/>
                </a:lnTo>
                <a:lnTo>
                  <a:pt x="1846" y="545"/>
                </a:lnTo>
                <a:lnTo>
                  <a:pt x="1846" y="547"/>
                </a:lnTo>
                <a:close/>
                <a:moveTo>
                  <a:pt x="1793" y="933"/>
                </a:moveTo>
                <a:lnTo>
                  <a:pt x="1795" y="939"/>
                </a:lnTo>
                <a:lnTo>
                  <a:pt x="1799" y="939"/>
                </a:lnTo>
                <a:lnTo>
                  <a:pt x="1795" y="935"/>
                </a:lnTo>
                <a:lnTo>
                  <a:pt x="1795" y="933"/>
                </a:lnTo>
                <a:lnTo>
                  <a:pt x="1793" y="933"/>
                </a:lnTo>
                <a:close/>
                <a:moveTo>
                  <a:pt x="980" y="1246"/>
                </a:moveTo>
                <a:lnTo>
                  <a:pt x="980" y="1246"/>
                </a:lnTo>
                <a:lnTo>
                  <a:pt x="979" y="1252"/>
                </a:lnTo>
                <a:lnTo>
                  <a:pt x="983" y="1253"/>
                </a:lnTo>
                <a:lnTo>
                  <a:pt x="983" y="1251"/>
                </a:lnTo>
                <a:lnTo>
                  <a:pt x="980" y="1250"/>
                </a:lnTo>
                <a:lnTo>
                  <a:pt x="980" y="1246"/>
                </a:lnTo>
                <a:close/>
                <a:moveTo>
                  <a:pt x="2732" y="599"/>
                </a:moveTo>
                <a:lnTo>
                  <a:pt x="2732" y="599"/>
                </a:lnTo>
                <a:lnTo>
                  <a:pt x="2735" y="599"/>
                </a:lnTo>
                <a:lnTo>
                  <a:pt x="2731" y="598"/>
                </a:lnTo>
                <a:lnTo>
                  <a:pt x="2732" y="599"/>
                </a:lnTo>
                <a:lnTo>
                  <a:pt x="2732" y="599"/>
                </a:lnTo>
                <a:close/>
                <a:moveTo>
                  <a:pt x="3343" y="449"/>
                </a:moveTo>
                <a:lnTo>
                  <a:pt x="3340" y="447"/>
                </a:lnTo>
                <a:lnTo>
                  <a:pt x="3325" y="441"/>
                </a:lnTo>
                <a:lnTo>
                  <a:pt x="3313" y="445"/>
                </a:lnTo>
                <a:lnTo>
                  <a:pt x="3309" y="452"/>
                </a:lnTo>
                <a:lnTo>
                  <a:pt x="3309" y="457"/>
                </a:lnTo>
                <a:lnTo>
                  <a:pt x="3315" y="459"/>
                </a:lnTo>
                <a:lnTo>
                  <a:pt x="3319" y="461"/>
                </a:lnTo>
                <a:lnTo>
                  <a:pt x="3325" y="460"/>
                </a:lnTo>
                <a:lnTo>
                  <a:pt x="3330" y="459"/>
                </a:lnTo>
                <a:lnTo>
                  <a:pt x="3340" y="451"/>
                </a:lnTo>
                <a:lnTo>
                  <a:pt x="3342" y="451"/>
                </a:lnTo>
                <a:lnTo>
                  <a:pt x="3340" y="454"/>
                </a:lnTo>
                <a:lnTo>
                  <a:pt x="3343" y="449"/>
                </a:lnTo>
                <a:close/>
                <a:moveTo>
                  <a:pt x="1507" y="1392"/>
                </a:moveTo>
                <a:lnTo>
                  <a:pt x="1484" y="1394"/>
                </a:lnTo>
                <a:lnTo>
                  <a:pt x="1488" y="1391"/>
                </a:lnTo>
                <a:lnTo>
                  <a:pt x="1494" y="1386"/>
                </a:lnTo>
                <a:lnTo>
                  <a:pt x="1494" y="1383"/>
                </a:lnTo>
                <a:lnTo>
                  <a:pt x="1494" y="1383"/>
                </a:lnTo>
                <a:lnTo>
                  <a:pt x="1481" y="1383"/>
                </a:lnTo>
                <a:lnTo>
                  <a:pt x="1474" y="1376"/>
                </a:lnTo>
                <a:lnTo>
                  <a:pt x="1472" y="1366"/>
                </a:lnTo>
                <a:lnTo>
                  <a:pt x="1471" y="1365"/>
                </a:lnTo>
                <a:lnTo>
                  <a:pt x="1464" y="1366"/>
                </a:lnTo>
                <a:lnTo>
                  <a:pt x="1454" y="1363"/>
                </a:lnTo>
                <a:lnTo>
                  <a:pt x="1447" y="1360"/>
                </a:lnTo>
                <a:lnTo>
                  <a:pt x="1446" y="1357"/>
                </a:lnTo>
                <a:lnTo>
                  <a:pt x="1443" y="1359"/>
                </a:lnTo>
                <a:lnTo>
                  <a:pt x="1441" y="1359"/>
                </a:lnTo>
                <a:lnTo>
                  <a:pt x="1434" y="1357"/>
                </a:lnTo>
                <a:lnTo>
                  <a:pt x="1430" y="1359"/>
                </a:lnTo>
                <a:lnTo>
                  <a:pt x="1430" y="1359"/>
                </a:lnTo>
                <a:lnTo>
                  <a:pt x="1427" y="1359"/>
                </a:lnTo>
                <a:lnTo>
                  <a:pt x="1420" y="1355"/>
                </a:lnTo>
                <a:lnTo>
                  <a:pt x="1426" y="1351"/>
                </a:lnTo>
                <a:lnTo>
                  <a:pt x="1414" y="1351"/>
                </a:lnTo>
                <a:lnTo>
                  <a:pt x="1404" y="1358"/>
                </a:lnTo>
                <a:lnTo>
                  <a:pt x="1395" y="1358"/>
                </a:lnTo>
                <a:lnTo>
                  <a:pt x="1394" y="1363"/>
                </a:lnTo>
                <a:lnTo>
                  <a:pt x="1391" y="1363"/>
                </a:lnTo>
                <a:lnTo>
                  <a:pt x="1385" y="1363"/>
                </a:lnTo>
                <a:lnTo>
                  <a:pt x="1385" y="1360"/>
                </a:lnTo>
                <a:lnTo>
                  <a:pt x="1387" y="1359"/>
                </a:lnTo>
                <a:lnTo>
                  <a:pt x="1390" y="1359"/>
                </a:lnTo>
                <a:lnTo>
                  <a:pt x="1387" y="1355"/>
                </a:lnTo>
                <a:lnTo>
                  <a:pt x="1393" y="1350"/>
                </a:lnTo>
                <a:lnTo>
                  <a:pt x="1405" y="1343"/>
                </a:lnTo>
                <a:lnTo>
                  <a:pt x="1410" y="1343"/>
                </a:lnTo>
                <a:lnTo>
                  <a:pt x="1422" y="1339"/>
                </a:lnTo>
                <a:lnTo>
                  <a:pt x="1429" y="1339"/>
                </a:lnTo>
                <a:lnTo>
                  <a:pt x="1431" y="1342"/>
                </a:lnTo>
                <a:lnTo>
                  <a:pt x="1436" y="1339"/>
                </a:lnTo>
                <a:lnTo>
                  <a:pt x="1435" y="1341"/>
                </a:lnTo>
                <a:lnTo>
                  <a:pt x="1436" y="1342"/>
                </a:lnTo>
                <a:lnTo>
                  <a:pt x="1443" y="1342"/>
                </a:lnTo>
                <a:lnTo>
                  <a:pt x="1449" y="1344"/>
                </a:lnTo>
                <a:lnTo>
                  <a:pt x="1451" y="1343"/>
                </a:lnTo>
                <a:lnTo>
                  <a:pt x="1458" y="1347"/>
                </a:lnTo>
                <a:lnTo>
                  <a:pt x="1463" y="1355"/>
                </a:lnTo>
                <a:lnTo>
                  <a:pt x="1469" y="1355"/>
                </a:lnTo>
                <a:lnTo>
                  <a:pt x="1474" y="1355"/>
                </a:lnTo>
                <a:lnTo>
                  <a:pt x="1481" y="1359"/>
                </a:lnTo>
                <a:lnTo>
                  <a:pt x="1484" y="1362"/>
                </a:lnTo>
                <a:lnTo>
                  <a:pt x="1489" y="1363"/>
                </a:lnTo>
                <a:lnTo>
                  <a:pt x="1487" y="1362"/>
                </a:lnTo>
                <a:lnTo>
                  <a:pt x="1488" y="1360"/>
                </a:lnTo>
                <a:lnTo>
                  <a:pt x="1495" y="1367"/>
                </a:lnTo>
                <a:lnTo>
                  <a:pt x="1493" y="1367"/>
                </a:lnTo>
                <a:lnTo>
                  <a:pt x="1494" y="1369"/>
                </a:lnTo>
                <a:lnTo>
                  <a:pt x="1494" y="1370"/>
                </a:lnTo>
                <a:lnTo>
                  <a:pt x="1497" y="1369"/>
                </a:lnTo>
                <a:lnTo>
                  <a:pt x="1502" y="1370"/>
                </a:lnTo>
                <a:lnTo>
                  <a:pt x="1503" y="1371"/>
                </a:lnTo>
                <a:lnTo>
                  <a:pt x="1504" y="1371"/>
                </a:lnTo>
                <a:lnTo>
                  <a:pt x="1505" y="1371"/>
                </a:lnTo>
                <a:lnTo>
                  <a:pt x="1510" y="1375"/>
                </a:lnTo>
                <a:lnTo>
                  <a:pt x="1516" y="1375"/>
                </a:lnTo>
                <a:lnTo>
                  <a:pt x="1516" y="1375"/>
                </a:lnTo>
                <a:lnTo>
                  <a:pt x="1514" y="1378"/>
                </a:lnTo>
                <a:lnTo>
                  <a:pt x="1510" y="1379"/>
                </a:lnTo>
                <a:lnTo>
                  <a:pt x="1510" y="1383"/>
                </a:lnTo>
                <a:lnTo>
                  <a:pt x="1526" y="1383"/>
                </a:lnTo>
                <a:lnTo>
                  <a:pt x="1532" y="1387"/>
                </a:lnTo>
                <a:lnTo>
                  <a:pt x="1538" y="1387"/>
                </a:lnTo>
                <a:lnTo>
                  <a:pt x="1536" y="1391"/>
                </a:lnTo>
                <a:lnTo>
                  <a:pt x="1528" y="1391"/>
                </a:lnTo>
                <a:lnTo>
                  <a:pt x="1524" y="1395"/>
                </a:lnTo>
                <a:lnTo>
                  <a:pt x="1522" y="1395"/>
                </a:lnTo>
                <a:lnTo>
                  <a:pt x="1507" y="1392"/>
                </a:lnTo>
                <a:close/>
                <a:moveTo>
                  <a:pt x="1493" y="1367"/>
                </a:moveTo>
                <a:lnTo>
                  <a:pt x="1493" y="1367"/>
                </a:lnTo>
                <a:lnTo>
                  <a:pt x="1491" y="1367"/>
                </a:lnTo>
                <a:lnTo>
                  <a:pt x="1490" y="1364"/>
                </a:lnTo>
                <a:lnTo>
                  <a:pt x="1490" y="1367"/>
                </a:lnTo>
                <a:lnTo>
                  <a:pt x="1491" y="1367"/>
                </a:lnTo>
                <a:lnTo>
                  <a:pt x="1493" y="1367"/>
                </a:lnTo>
                <a:close/>
                <a:moveTo>
                  <a:pt x="1823" y="928"/>
                </a:moveTo>
                <a:lnTo>
                  <a:pt x="1824" y="928"/>
                </a:lnTo>
                <a:lnTo>
                  <a:pt x="1826" y="924"/>
                </a:lnTo>
                <a:lnTo>
                  <a:pt x="1823" y="928"/>
                </a:lnTo>
                <a:close/>
                <a:moveTo>
                  <a:pt x="1816" y="886"/>
                </a:moveTo>
                <a:lnTo>
                  <a:pt x="1816" y="889"/>
                </a:lnTo>
                <a:lnTo>
                  <a:pt x="1819" y="885"/>
                </a:lnTo>
                <a:lnTo>
                  <a:pt x="1817" y="886"/>
                </a:lnTo>
                <a:lnTo>
                  <a:pt x="1816" y="886"/>
                </a:lnTo>
                <a:close/>
                <a:moveTo>
                  <a:pt x="1824" y="438"/>
                </a:moveTo>
                <a:lnTo>
                  <a:pt x="1817" y="435"/>
                </a:lnTo>
                <a:lnTo>
                  <a:pt x="1827" y="435"/>
                </a:lnTo>
                <a:lnTo>
                  <a:pt x="1819" y="429"/>
                </a:lnTo>
                <a:lnTo>
                  <a:pt x="1819" y="426"/>
                </a:lnTo>
                <a:lnTo>
                  <a:pt x="1826" y="422"/>
                </a:lnTo>
                <a:lnTo>
                  <a:pt x="1838" y="423"/>
                </a:lnTo>
                <a:lnTo>
                  <a:pt x="1848" y="432"/>
                </a:lnTo>
                <a:lnTo>
                  <a:pt x="1859" y="434"/>
                </a:lnTo>
                <a:lnTo>
                  <a:pt x="1859" y="437"/>
                </a:lnTo>
                <a:lnTo>
                  <a:pt x="1859" y="438"/>
                </a:lnTo>
                <a:lnTo>
                  <a:pt x="1862" y="440"/>
                </a:lnTo>
                <a:lnTo>
                  <a:pt x="1855" y="445"/>
                </a:lnTo>
                <a:lnTo>
                  <a:pt x="1837" y="450"/>
                </a:lnTo>
                <a:lnTo>
                  <a:pt x="1827" y="447"/>
                </a:lnTo>
                <a:lnTo>
                  <a:pt x="1830" y="447"/>
                </a:lnTo>
                <a:lnTo>
                  <a:pt x="1831" y="441"/>
                </a:lnTo>
                <a:lnTo>
                  <a:pt x="1831" y="440"/>
                </a:lnTo>
                <a:lnTo>
                  <a:pt x="1828" y="441"/>
                </a:lnTo>
                <a:lnTo>
                  <a:pt x="1819" y="440"/>
                </a:lnTo>
                <a:lnTo>
                  <a:pt x="1816" y="438"/>
                </a:lnTo>
                <a:lnTo>
                  <a:pt x="1820" y="437"/>
                </a:lnTo>
                <a:lnTo>
                  <a:pt x="1824" y="438"/>
                </a:lnTo>
                <a:close/>
                <a:moveTo>
                  <a:pt x="1834" y="447"/>
                </a:moveTo>
                <a:lnTo>
                  <a:pt x="1837" y="447"/>
                </a:lnTo>
                <a:lnTo>
                  <a:pt x="1840" y="443"/>
                </a:lnTo>
                <a:lnTo>
                  <a:pt x="1834" y="447"/>
                </a:lnTo>
                <a:close/>
                <a:moveTo>
                  <a:pt x="3466" y="445"/>
                </a:moveTo>
                <a:lnTo>
                  <a:pt x="3474" y="449"/>
                </a:lnTo>
                <a:lnTo>
                  <a:pt x="3472" y="447"/>
                </a:lnTo>
                <a:lnTo>
                  <a:pt x="3466" y="445"/>
                </a:lnTo>
                <a:close/>
                <a:moveTo>
                  <a:pt x="1815" y="435"/>
                </a:moveTo>
                <a:lnTo>
                  <a:pt x="1817" y="435"/>
                </a:lnTo>
                <a:lnTo>
                  <a:pt x="1815" y="434"/>
                </a:lnTo>
                <a:lnTo>
                  <a:pt x="1815" y="435"/>
                </a:lnTo>
                <a:close/>
                <a:moveTo>
                  <a:pt x="1821" y="421"/>
                </a:moveTo>
                <a:lnTo>
                  <a:pt x="1816" y="417"/>
                </a:lnTo>
                <a:lnTo>
                  <a:pt x="1816" y="418"/>
                </a:lnTo>
                <a:lnTo>
                  <a:pt x="1818" y="421"/>
                </a:lnTo>
                <a:lnTo>
                  <a:pt x="1821" y="421"/>
                </a:lnTo>
                <a:close/>
                <a:moveTo>
                  <a:pt x="1852" y="467"/>
                </a:moveTo>
                <a:lnTo>
                  <a:pt x="1845" y="470"/>
                </a:lnTo>
                <a:lnTo>
                  <a:pt x="1845" y="469"/>
                </a:lnTo>
                <a:lnTo>
                  <a:pt x="1841" y="472"/>
                </a:lnTo>
                <a:lnTo>
                  <a:pt x="1846" y="471"/>
                </a:lnTo>
                <a:lnTo>
                  <a:pt x="1846" y="470"/>
                </a:lnTo>
                <a:lnTo>
                  <a:pt x="1856" y="467"/>
                </a:lnTo>
                <a:lnTo>
                  <a:pt x="1852" y="467"/>
                </a:lnTo>
                <a:close/>
                <a:moveTo>
                  <a:pt x="3381" y="395"/>
                </a:moveTo>
                <a:lnTo>
                  <a:pt x="3379" y="395"/>
                </a:lnTo>
                <a:lnTo>
                  <a:pt x="3376" y="390"/>
                </a:lnTo>
                <a:lnTo>
                  <a:pt x="3370" y="392"/>
                </a:lnTo>
                <a:lnTo>
                  <a:pt x="3376" y="395"/>
                </a:lnTo>
                <a:lnTo>
                  <a:pt x="3379" y="399"/>
                </a:lnTo>
                <a:lnTo>
                  <a:pt x="3381" y="403"/>
                </a:lnTo>
                <a:lnTo>
                  <a:pt x="3383" y="403"/>
                </a:lnTo>
                <a:lnTo>
                  <a:pt x="3379" y="399"/>
                </a:lnTo>
                <a:lnTo>
                  <a:pt x="3381" y="396"/>
                </a:lnTo>
                <a:lnTo>
                  <a:pt x="3381" y="395"/>
                </a:lnTo>
                <a:close/>
                <a:moveTo>
                  <a:pt x="3407" y="409"/>
                </a:moveTo>
                <a:lnTo>
                  <a:pt x="3403" y="407"/>
                </a:lnTo>
                <a:lnTo>
                  <a:pt x="3402" y="408"/>
                </a:lnTo>
                <a:lnTo>
                  <a:pt x="3407" y="409"/>
                </a:lnTo>
                <a:close/>
                <a:moveTo>
                  <a:pt x="1812" y="889"/>
                </a:moveTo>
                <a:lnTo>
                  <a:pt x="1808" y="898"/>
                </a:lnTo>
                <a:lnTo>
                  <a:pt x="1812" y="890"/>
                </a:lnTo>
                <a:lnTo>
                  <a:pt x="1816" y="894"/>
                </a:lnTo>
                <a:lnTo>
                  <a:pt x="1819" y="886"/>
                </a:lnTo>
                <a:lnTo>
                  <a:pt x="1819" y="889"/>
                </a:lnTo>
                <a:lnTo>
                  <a:pt x="1819" y="894"/>
                </a:lnTo>
                <a:lnTo>
                  <a:pt x="1823" y="893"/>
                </a:lnTo>
                <a:lnTo>
                  <a:pt x="1824" y="893"/>
                </a:lnTo>
                <a:lnTo>
                  <a:pt x="1827" y="891"/>
                </a:lnTo>
                <a:lnTo>
                  <a:pt x="1831" y="890"/>
                </a:lnTo>
                <a:lnTo>
                  <a:pt x="1835" y="894"/>
                </a:lnTo>
                <a:lnTo>
                  <a:pt x="1834" y="897"/>
                </a:lnTo>
                <a:lnTo>
                  <a:pt x="1831" y="897"/>
                </a:lnTo>
                <a:lnTo>
                  <a:pt x="1832" y="900"/>
                </a:lnTo>
                <a:lnTo>
                  <a:pt x="1826" y="905"/>
                </a:lnTo>
                <a:lnTo>
                  <a:pt x="1830" y="905"/>
                </a:lnTo>
                <a:lnTo>
                  <a:pt x="1831" y="905"/>
                </a:lnTo>
                <a:lnTo>
                  <a:pt x="1832" y="905"/>
                </a:lnTo>
                <a:lnTo>
                  <a:pt x="1833" y="904"/>
                </a:lnTo>
                <a:lnTo>
                  <a:pt x="1837" y="906"/>
                </a:lnTo>
                <a:lnTo>
                  <a:pt x="1839" y="903"/>
                </a:lnTo>
                <a:lnTo>
                  <a:pt x="1839" y="904"/>
                </a:lnTo>
                <a:lnTo>
                  <a:pt x="1839" y="913"/>
                </a:lnTo>
                <a:lnTo>
                  <a:pt x="1838" y="913"/>
                </a:lnTo>
                <a:lnTo>
                  <a:pt x="1832" y="913"/>
                </a:lnTo>
                <a:lnTo>
                  <a:pt x="1831" y="913"/>
                </a:lnTo>
                <a:lnTo>
                  <a:pt x="1831" y="915"/>
                </a:lnTo>
                <a:lnTo>
                  <a:pt x="1830" y="916"/>
                </a:lnTo>
                <a:lnTo>
                  <a:pt x="1832" y="917"/>
                </a:lnTo>
                <a:lnTo>
                  <a:pt x="1834" y="917"/>
                </a:lnTo>
                <a:lnTo>
                  <a:pt x="1830" y="921"/>
                </a:lnTo>
                <a:lnTo>
                  <a:pt x="1831" y="924"/>
                </a:lnTo>
                <a:lnTo>
                  <a:pt x="1834" y="926"/>
                </a:lnTo>
                <a:lnTo>
                  <a:pt x="1835" y="921"/>
                </a:lnTo>
                <a:lnTo>
                  <a:pt x="1839" y="917"/>
                </a:lnTo>
                <a:lnTo>
                  <a:pt x="1842" y="917"/>
                </a:lnTo>
                <a:lnTo>
                  <a:pt x="1843" y="913"/>
                </a:lnTo>
                <a:lnTo>
                  <a:pt x="1845" y="915"/>
                </a:lnTo>
                <a:lnTo>
                  <a:pt x="1843" y="917"/>
                </a:lnTo>
                <a:lnTo>
                  <a:pt x="1839" y="924"/>
                </a:lnTo>
                <a:lnTo>
                  <a:pt x="1840" y="928"/>
                </a:lnTo>
                <a:lnTo>
                  <a:pt x="1843" y="924"/>
                </a:lnTo>
                <a:lnTo>
                  <a:pt x="1845" y="920"/>
                </a:lnTo>
                <a:lnTo>
                  <a:pt x="1849" y="926"/>
                </a:lnTo>
                <a:lnTo>
                  <a:pt x="1845" y="929"/>
                </a:lnTo>
                <a:lnTo>
                  <a:pt x="1843" y="940"/>
                </a:lnTo>
                <a:lnTo>
                  <a:pt x="1840" y="942"/>
                </a:lnTo>
                <a:lnTo>
                  <a:pt x="1836" y="940"/>
                </a:lnTo>
                <a:lnTo>
                  <a:pt x="1831" y="942"/>
                </a:lnTo>
                <a:lnTo>
                  <a:pt x="1831" y="932"/>
                </a:lnTo>
                <a:lnTo>
                  <a:pt x="1827" y="941"/>
                </a:lnTo>
                <a:lnTo>
                  <a:pt x="1824" y="941"/>
                </a:lnTo>
                <a:lnTo>
                  <a:pt x="1826" y="936"/>
                </a:lnTo>
                <a:lnTo>
                  <a:pt x="1830" y="928"/>
                </a:lnTo>
                <a:lnTo>
                  <a:pt x="1827" y="921"/>
                </a:lnTo>
                <a:lnTo>
                  <a:pt x="1824" y="920"/>
                </a:lnTo>
                <a:lnTo>
                  <a:pt x="1820" y="928"/>
                </a:lnTo>
                <a:lnTo>
                  <a:pt x="1819" y="929"/>
                </a:lnTo>
                <a:lnTo>
                  <a:pt x="1820" y="925"/>
                </a:lnTo>
                <a:lnTo>
                  <a:pt x="1819" y="929"/>
                </a:lnTo>
                <a:lnTo>
                  <a:pt x="1816" y="929"/>
                </a:lnTo>
                <a:lnTo>
                  <a:pt x="1810" y="938"/>
                </a:lnTo>
                <a:lnTo>
                  <a:pt x="1804" y="940"/>
                </a:lnTo>
                <a:lnTo>
                  <a:pt x="1799" y="936"/>
                </a:lnTo>
                <a:lnTo>
                  <a:pt x="1800" y="935"/>
                </a:lnTo>
                <a:lnTo>
                  <a:pt x="1807" y="932"/>
                </a:lnTo>
                <a:lnTo>
                  <a:pt x="1810" y="928"/>
                </a:lnTo>
                <a:lnTo>
                  <a:pt x="1816" y="925"/>
                </a:lnTo>
                <a:lnTo>
                  <a:pt x="1813" y="925"/>
                </a:lnTo>
                <a:lnTo>
                  <a:pt x="1816" y="921"/>
                </a:lnTo>
                <a:lnTo>
                  <a:pt x="1812" y="924"/>
                </a:lnTo>
                <a:lnTo>
                  <a:pt x="1807" y="923"/>
                </a:lnTo>
                <a:lnTo>
                  <a:pt x="1807" y="926"/>
                </a:lnTo>
                <a:lnTo>
                  <a:pt x="1805" y="928"/>
                </a:lnTo>
                <a:lnTo>
                  <a:pt x="1804" y="926"/>
                </a:lnTo>
                <a:lnTo>
                  <a:pt x="1800" y="928"/>
                </a:lnTo>
                <a:lnTo>
                  <a:pt x="1802" y="926"/>
                </a:lnTo>
                <a:lnTo>
                  <a:pt x="1804" y="925"/>
                </a:lnTo>
                <a:lnTo>
                  <a:pt x="1802" y="925"/>
                </a:lnTo>
                <a:lnTo>
                  <a:pt x="1802" y="925"/>
                </a:lnTo>
                <a:lnTo>
                  <a:pt x="1802" y="925"/>
                </a:lnTo>
                <a:lnTo>
                  <a:pt x="1800" y="925"/>
                </a:lnTo>
                <a:lnTo>
                  <a:pt x="1802" y="918"/>
                </a:lnTo>
                <a:lnTo>
                  <a:pt x="1799" y="920"/>
                </a:lnTo>
                <a:lnTo>
                  <a:pt x="1795" y="923"/>
                </a:lnTo>
                <a:lnTo>
                  <a:pt x="1795" y="924"/>
                </a:lnTo>
                <a:lnTo>
                  <a:pt x="1786" y="926"/>
                </a:lnTo>
                <a:lnTo>
                  <a:pt x="1768" y="924"/>
                </a:lnTo>
                <a:lnTo>
                  <a:pt x="1753" y="925"/>
                </a:lnTo>
                <a:lnTo>
                  <a:pt x="1752" y="925"/>
                </a:lnTo>
                <a:lnTo>
                  <a:pt x="1750" y="920"/>
                </a:lnTo>
                <a:lnTo>
                  <a:pt x="1764" y="908"/>
                </a:lnTo>
                <a:lnTo>
                  <a:pt x="1760" y="906"/>
                </a:lnTo>
                <a:lnTo>
                  <a:pt x="1752" y="908"/>
                </a:lnTo>
                <a:lnTo>
                  <a:pt x="1759" y="901"/>
                </a:lnTo>
                <a:lnTo>
                  <a:pt x="1756" y="904"/>
                </a:lnTo>
                <a:lnTo>
                  <a:pt x="1759" y="906"/>
                </a:lnTo>
                <a:lnTo>
                  <a:pt x="1763" y="895"/>
                </a:lnTo>
                <a:lnTo>
                  <a:pt x="1763" y="897"/>
                </a:lnTo>
                <a:lnTo>
                  <a:pt x="1767" y="898"/>
                </a:lnTo>
                <a:lnTo>
                  <a:pt x="1767" y="897"/>
                </a:lnTo>
                <a:lnTo>
                  <a:pt x="1767" y="897"/>
                </a:lnTo>
                <a:lnTo>
                  <a:pt x="1767" y="890"/>
                </a:lnTo>
                <a:lnTo>
                  <a:pt x="1771" y="886"/>
                </a:lnTo>
                <a:lnTo>
                  <a:pt x="1774" y="889"/>
                </a:lnTo>
                <a:lnTo>
                  <a:pt x="1772" y="887"/>
                </a:lnTo>
                <a:lnTo>
                  <a:pt x="1771" y="886"/>
                </a:lnTo>
                <a:lnTo>
                  <a:pt x="1779" y="869"/>
                </a:lnTo>
                <a:lnTo>
                  <a:pt x="1779" y="869"/>
                </a:lnTo>
                <a:lnTo>
                  <a:pt x="1785" y="862"/>
                </a:lnTo>
                <a:lnTo>
                  <a:pt x="1786" y="860"/>
                </a:lnTo>
                <a:lnTo>
                  <a:pt x="1785" y="858"/>
                </a:lnTo>
                <a:lnTo>
                  <a:pt x="1787" y="856"/>
                </a:lnTo>
                <a:lnTo>
                  <a:pt x="1787" y="855"/>
                </a:lnTo>
                <a:lnTo>
                  <a:pt x="1789" y="852"/>
                </a:lnTo>
                <a:lnTo>
                  <a:pt x="1799" y="846"/>
                </a:lnTo>
                <a:lnTo>
                  <a:pt x="1799" y="853"/>
                </a:lnTo>
                <a:lnTo>
                  <a:pt x="1798" y="853"/>
                </a:lnTo>
                <a:lnTo>
                  <a:pt x="1797" y="856"/>
                </a:lnTo>
                <a:lnTo>
                  <a:pt x="1799" y="855"/>
                </a:lnTo>
                <a:lnTo>
                  <a:pt x="1799" y="858"/>
                </a:lnTo>
                <a:lnTo>
                  <a:pt x="1795" y="863"/>
                </a:lnTo>
                <a:lnTo>
                  <a:pt x="1795" y="867"/>
                </a:lnTo>
                <a:lnTo>
                  <a:pt x="1787" y="879"/>
                </a:lnTo>
                <a:lnTo>
                  <a:pt x="1787" y="882"/>
                </a:lnTo>
                <a:lnTo>
                  <a:pt x="1786" y="885"/>
                </a:lnTo>
                <a:lnTo>
                  <a:pt x="1787" y="885"/>
                </a:lnTo>
                <a:lnTo>
                  <a:pt x="1786" y="887"/>
                </a:lnTo>
                <a:lnTo>
                  <a:pt x="1798" y="875"/>
                </a:lnTo>
                <a:lnTo>
                  <a:pt x="1802" y="881"/>
                </a:lnTo>
                <a:lnTo>
                  <a:pt x="1807" y="879"/>
                </a:lnTo>
                <a:lnTo>
                  <a:pt x="1807" y="881"/>
                </a:lnTo>
                <a:lnTo>
                  <a:pt x="1798" y="889"/>
                </a:lnTo>
                <a:lnTo>
                  <a:pt x="1800" y="889"/>
                </a:lnTo>
                <a:lnTo>
                  <a:pt x="1800" y="889"/>
                </a:lnTo>
                <a:lnTo>
                  <a:pt x="1803" y="890"/>
                </a:lnTo>
                <a:lnTo>
                  <a:pt x="1803" y="890"/>
                </a:lnTo>
                <a:lnTo>
                  <a:pt x="1803" y="890"/>
                </a:lnTo>
                <a:lnTo>
                  <a:pt x="1803" y="890"/>
                </a:lnTo>
                <a:lnTo>
                  <a:pt x="1803" y="890"/>
                </a:lnTo>
                <a:lnTo>
                  <a:pt x="1807" y="889"/>
                </a:lnTo>
                <a:lnTo>
                  <a:pt x="1807" y="889"/>
                </a:lnTo>
                <a:lnTo>
                  <a:pt x="1812" y="889"/>
                </a:lnTo>
                <a:close/>
                <a:moveTo>
                  <a:pt x="1831" y="908"/>
                </a:moveTo>
                <a:lnTo>
                  <a:pt x="1832" y="906"/>
                </a:lnTo>
                <a:lnTo>
                  <a:pt x="1831" y="907"/>
                </a:lnTo>
                <a:lnTo>
                  <a:pt x="1831" y="908"/>
                </a:lnTo>
                <a:close/>
                <a:moveTo>
                  <a:pt x="1827" y="909"/>
                </a:moveTo>
                <a:lnTo>
                  <a:pt x="1830" y="908"/>
                </a:lnTo>
                <a:lnTo>
                  <a:pt x="1830" y="907"/>
                </a:lnTo>
                <a:lnTo>
                  <a:pt x="1827" y="909"/>
                </a:lnTo>
                <a:close/>
                <a:moveTo>
                  <a:pt x="1827" y="915"/>
                </a:moveTo>
                <a:lnTo>
                  <a:pt x="1828" y="915"/>
                </a:lnTo>
                <a:lnTo>
                  <a:pt x="1827" y="913"/>
                </a:lnTo>
                <a:lnTo>
                  <a:pt x="1827" y="915"/>
                </a:lnTo>
                <a:close/>
                <a:moveTo>
                  <a:pt x="1846" y="468"/>
                </a:moveTo>
                <a:lnTo>
                  <a:pt x="1848" y="469"/>
                </a:lnTo>
                <a:lnTo>
                  <a:pt x="1848" y="468"/>
                </a:lnTo>
                <a:lnTo>
                  <a:pt x="1846" y="468"/>
                </a:lnTo>
                <a:close/>
                <a:moveTo>
                  <a:pt x="1823" y="883"/>
                </a:moveTo>
                <a:lnTo>
                  <a:pt x="1823" y="886"/>
                </a:lnTo>
                <a:lnTo>
                  <a:pt x="1827" y="885"/>
                </a:lnTo>
                <a:lnTo>
                  <a:pt x="1826" y="883"/>
                </a:lnTo>
                <a:lnTo>
                  <a:pt x="1823" y="883"/>
                </a:lnTo>
                <a:close/>
                <a:moveTo>
                  <a:pt x="3478" y="439"/>
                </a:moveTo>
                <a:lnTo>
                  <a:pt x="3482" y="439"/>
                </a:lnTo>
                <a:lnTo>
                  <a:pt x="3492" y="433"/>
                </a:lnTo>
                <a:lnTo>
                  <a:pt x="3489" y="430"/>
                </a:lnTo>
                <a:lnTo>
                  <a:pt x="3471" y="415"/>
                </a:lnTo>
                <a:lnTo>
                  <a:pt x="3464" y="419"/>
                </a:lnTo>
                <a:lnTo>
                  <a:pt x="3468" y="422"/>
                </a:lnTo>
                <a:lnTo>
                  <a:pt x="3462" y="420"/>
                </a:lnTo>
                <a:lnTo>
                  <a:pt x="3462" y="422"/>
                </a:lnTo>
                <a:lnTo>
                  <a:pt x="3462" y="426"/>
                </a:lnTo>
                <a:lnTo>
                  <a:pt x="3469" y="430"/>
                </a:lnTo>
                <a:lnTo>
                  <a:pt x="3470" y="430"/>
                </a:lnTo>
                <a:lnTo>
                  <a:pt x="3470" y="430"/>
                </a:lnTo>
                <a:lnTo>
                  <a:pt x="3470" y="430"/>
                </a:lnTo>
                <a:lnTo>
                  <a:pt x="3474" y="430"/>
                </a:lnTo>
                <a:lnTo>
                  <a:pt x="3478" y="431"/>
                </a:lnTo>
                <a:lnTo>
                  <a:pt x="3477" y="435"/>
                </a:lnTo>
                <a:lnTo>
                  <a:pt x="3478" y="439"/>
                </a:lnTo>
                <a:close/>
                <a:moveTo>
                  <a:pt x="1726" y="1454"/>
                </a:moveTo>
                <a:lnTo>
                  <a:pt x="1727" y="1454"/>
                </a:lnTo>
                <a:lnTo>
                  <a:pt x="1726" y="1452"/>
                </a:lnTo>
                <a:lnTo>
                  <a:pt x="1723" y="1454"/>
                </a:lnTo>
                <a:lnTo>
                  <a:pt x="1726" y="1454"/>
                </a:lnTo>
                <a:close/>
                <a:moveTo>
                  <a:pt x="1701" y="1422"/>
                </a:moveTo>
                <a:lnTo>
                  <a:pt x="1700" y="1423"/>
                </a:lnTo>
                <a:lnTo>
                  <a:pt x="1701" y="1423"/>
                </a:lnTo>
                <a:lnTo>
                  <a:pt x="1701" y="1422"/>
                </a:lnTo>
                <a:close/>
                <a:moveTo>
                  <a:pt x="1727" y="1496"/>
                </a:moveTo>
                <a:lnTo>
                  <a:pt x="1727" y="1494"/>
                </a:lnTo>
                <a:lnTo>
                  <a:pt x="1721" y="1497"/>
                </a:lnTo>
                <a:lnTo>
                  <a:pt x="1727" y="1499"/>
                </a:lnTo>
                <a:lnTo>
                  <a:pt x="1727" y="1496"/>
                </a:lnTo>
                <a:close/>
                <a:moveTo>
                  <a:pt x="1731" y="1474"/>
                </a:moveTo>
                <a:lnTo>
                  <a:pt x="1729" y="1473"/>
                </a:lnTo>
                <a:lnTo>
                  <a:pt x="1723" y="1472"/>
                </a:lnTo>
                <a:lnTo>
                  <a:pt x="1721" y="1473"/>
                </a:lnTo>
                <a:lnTo>
                  <a:pt x="1727" y="1475"/>
                </a:lnTo>
                <a:lnTo>
                  <a:pt x="1731" y="1477"/>
                </a:lnTo>
                <a:lnTo>
                  <a:pt x="1731" y="1474"/>
                </a:lnTo>
                <a:close/>
                <a:moveTo>
                  <a:pt x="1672" y="1427"/>
                </a:moveTo>
                <a:lnTo>
                  <a:pt x="1677" y="1427"/>
                </a:lnTo>
                <a:lnTo>
                  <a:pt x="1672" y="1425"/>
                </a:lnTo>
                <a:lnTo>
                  <a:pt x="1672" y="1427"/>
                </a:lnTo>
                <a:close/>
                <a:moveTo>
                  <a:pt x="1681" y="1527"/>
                </a:moveTo>
                <a:lnTo>
                  <a:pt x="1680" y="1528"/>
                </a:lnTo>
                <a:lnTo>
                  <a:pt x="1680" y="1530"/>
                </a:lnTo>
                <a:lnTo>
                  <a:pt x="1682" y="1530"/>
                </a:lnTo>
                <a:lnTo>
                  <a:pt x="1683" y="1531"/>
                </a:lnTo>
                <a:lnTo>
                  <a:pt x="1687" y="1528"/>
                </a:lnTo>
                <a:lnTo>
                  <a:pt x="1686" y="1527"/>
                </a:lnTo>
                <a:lnTo>
                  <a:pt x="1683" y="1528"/>
                </a:lnTo>
                <a:lnTo>
                  <a:pt x="1681" y="1527"/>
                </a:lnTo>
                <a:close/>
                <a:moveTo>
                  <a:pt x="1647" y="1419"/>
                </a:moveTo>
                <a:lnTo>
                  <a:pt x="1652" y="1422"/>
                </a:lnTo>
                <a:lnTo>
                  <a:pt x="1656" y="1419"/>
                </a:lnTo>
                <a:lnTo>
                  <a:pt x="1661" y="1415"/>
                </a:lnTo>
                <a:lnTo>
                  <a:pt x="1660" y="1414"/>
                </a:lnTo>
                <a:lnTo>
                  <a:pt x="1657" y="1413"/>
                </a:lnTo>
                <a:lnTo>
                  <a:pt x="1639" y="1411"/>
                </a:lnTo>
                <a:lnTo>
                  <a:pt x="1634" y="1414"/>
                </a:lnTo>
                <a:lnTo>
                  <a:pt x="1634" y="1415"/>
                </a:lnTo>
                <a:lnTo>
                  <a:pt x="1634" y="1422"/>
                </a:lnTo>
                <a:lnTo>
                  <a:pt x="1647" y="1419"/>
                </a:lnTo>
                <a:close/>
                <a:moveTo>
                  <a:pt x="1720" y="1455"/>
                </a:moveTo>
                <a:lnTo>
                  <a:pt x="1719" y="1454"/>
                </a:lnTo>
                <a:lnTo>
                  <a:pt x="1719" y="1455"/>
                </a:lnTo>
                <a:lnTo>
                  <a:pt x="1720" y="1455"/>
                </a:lnTo>
                <a:close/>
                <a:moveTo>
                  <a:pt x="1713" y="1543"/>
                </a:moveTo>
                <a:lnTo>
                  <a:pt x="1723" y="1542"/>
                </a:lnTo>
                <a:lnTo>
                  <a:pt x="1723" y="1532"/>
                </a:lnTo>
                <a:lnTo>
                  <a:pt x="1727" y="1531"/>
                </a:lnTo>
                <a:lnTo>
                  <a:pt x="1726" y="1531"/>
                </a:lnTo>
                <a:lnTo>
                  <a:pt x="1717" y="1532"/>
                </a:lnTo>
                <a:lnTo>
                  <a:pt x="1719" y="1534"/>
                </a:lnTo>
                <a:lnTo>
                  <a:pt x="1719" y="1539"/>
                </a:lnTo>
                <a:lnTo>
                  <a:pt x="1713" y="1543"/>
                </a:lnTo>
                <a:close/>
                <a:moveTo>
                  <a:pt x="1723" y="1451"/>
                </a:moveTo>
                <a:lnTo>
                  <a:pt x="1723" y="1451"/>
                </a:lnTo>
                <a:lnTo>
                  <a:pt x="1727" y="1451"/>
                </a:lnTo>
                <a:lnTo>
                  <a:pt x="1723" y="1451"/>
                </a:lnTo>
                <a:close/>
                <a:moveTo>
                  <a:pt x="1718" y="1451"/>
                </a:moveTo>
                <a:lnTo>
                  <a:pt x="1719" y="1454"/>
                </a:lnTo>
                <a:lnTo>
                  <a:pt x="1719" y="1451"/>
                </a:lnTo>
                <a:lnTo>
                  <a:pt x="1718" y="1451"/>
                </a:lnTo>
                <a:close/>
                <a:moveTo>
                  <a:pt x="1719" y="1450"/>
                </a:moveTo>
                <a:lnTo>
                  <a:pt x="1723" y="1451"/>
                </a:lnTo>
                <a:lnTo>
                  <a:pt x="1719" y="1445"/>
                </a:lnTo>
                <a:lnTo>
                  <a:pt x="1719" y="1450"/>
                </a:lnTo>
                <a:close/>
                <a:moveTo>
                  <a:pt x="3472" y="430"/>
                </a:moveTo>
                <a:lnTo>
                  <a:pt x="3470" y="430"/>
                </a:lnTo>
                <a:lnTo>
                  <a:pt x="3471" y="430"/>
                </a:lnTo>
                <a:lnTo>
                  <a:pt x="3472" y="430"/>
                </a:lnTo>
                <a:close/>
                <a:moveTo>
                  <a:pt x="1574" y="1505"/>
                </a:moveTo>
                <a:lnTo>
                  <a:pt x="1574" y="1505"/>
                </a:lnTo>
                <a:lnTo>
                  <a:pt x="1573" y="1505"/>
                </a:lnTo>
                <a:lnTo>
                  <a:pt x="1574" y="1505"/>
                </a:lnTo>
                <a:close/>
                <a:moveTo>
                  <a:pt x="1653" y="980"/>
                </a:moveTo>
                <a:lnTo>
                  <a:pt x="1651" y="983"/>
                </a:lnTo>
                <a:lnTo>
                  <a:pt x="1655" y="980"/>
                </a:lnTo>
                <a:lnTo>
                  <a:pt x="1653" y="980"/>
                </a:lnTo>
                <a:close/>
                <a:moveTo>
                  <a:pt x="1543" y="1419"/>
                </a:moveTo>
                <a:lnTo>
                  <a:pt x="1549" y="1419"/>
                </a:lnTo>
                <a:lnTo>
                  <a:pt x="1546" y="1418"/>
                </a:lnTo>
                <a:lnTo>
                  <a:pt x="1543" y="1419"/>
                </a:lnTo>
                <a:close/>
                <a:moveTo>
                  <a:pt x="1382" y="1363"/>
                </a:moveTo>
                <a:lnTo>
                  <a:pt x="1383" y="1362"/>
                </a:lnTo>
                <a:lnTo>
                  <a:pt x="1381" y="1363"/>
                </a:lnTo>
                <a:lnTo>
                  <a:pt x="1382" y="1363"/>
                </a:lnTo>
                <a:close/>
                <a:moveTo>
                  <a:pt x="1383" y="1362"/>
                </a:moveTo>
                <a:lnTo>
                  <a:pt x="1385" y="1360"/>
                </a:lnTo>
                <a:lnTo>
                  <a:pt x="1385" y="1360"/>
                </a:lnTo>
                <a:lnTo>
                  <a:pt x="1383" y="1362"/>
                </a:lnTo>
                <a:close/>
                <a:moveTo>
                  <a:pt x="3361" y="371"/>
                </a:moveTo>
                <a:lnTo>
                  <a:pt x="3363" y="369"/>
                </a:lnTo>
                <a:lnTo>
                  <a:pt x="3369" y="371"/>
                </a:lnTo>
                <a:lnTo>
                  <a:pt x="3369" y="366"/>
                </a:lnTo>
                <a:lnTo>
                  <a:pt x="3377" y="363"/>
                </a:lnTo>
                <a:lnTo>
                  <a:pt x="3376" y="360"/>
                </a:lnTo>
                <a:lnTo>
                  <a:pt x="3383" y="359"/>
                </a:lnTo>
                <a:lnTo>
                  <a:pt x="3376" y="359"/>
                </a:lnTo>
                <a:lnTo>
                  <a:pt x="3379" y="354"/>
                </a:lnTo>
                <a:lnTo>
                  <a:pt x="3385" y="354"/>
                </a:lnTo>
                <a:lnTo>
                  <a:pt x="3373" y="351"/>
                </a:lnTo>
                <a:lnTo>
                  <a:pt x="3381" y="346"/>
                </a:lnTo>
                <a:lnTo>
                  <a:pt x="3384" y="347"/>
                </a:lnTo>
                <a:lnTo>
                  <a:pt x="3387" y="348"/>
                </a:lnTo>
                <a:lnTo>
                  <a:pt x="3383" y="346"/>
                </a:lnTo>
                <a:lnTo>
                  <a:pt x="3387" y="346"/>
                </a:lnTo>
                <a:lnTo>
                  <a:pt x="3383" y="342"/>
                </a:lnTo>
                <a:lnTo>
                  <a:pt x="3387" y="337"/>
                </a:lnTo>
                <a:lnTo>
                  <a:pt x="3390" y="336"/>
                </a:lnTo>
                <a:lnTo>
                  <a:pt x="3392" y="334"/>
                </a:lnTo>
                <a:lnTo>
                  <a:pt x="3399" y="335"/>
                </a:lnTo>
                <a:lnTo>
                  <a:pt x="3405" y="332"/>
                </a:lnTo>
                <a:lnTo>
                  <a:pt x="3399" y="334"/>
                </a:lnTo>
                <a:lnTo>
                  <a:pt x="3394" y="333"/>
                </a:lnTo>
                <a:lnTo>
                  <a:pt x="3396" y="332"/>
                </a:lnTo>
                <a:lnTo>
                  <a:pt x="3397" y="330"/>
                </a:lnTo>
                <a:lnTo>
                  <a:pt x="3397" y="330"/>
                </a:lnTo>
                <a:lnTo>
                  <a:pt x="3399" y="330"/>
                </a:lnTo>
                <a:lnTo>
                  <a:pt x="3401" y="327"/>
                </a:lnTo>
                <a:lnTo>
                  <a:pt x="3413" y="323"/>
                </a:lnTo>
                <a:lnTo>
                  <a:pt x="3395" y="326"/>
                </a:lnTo>
                <a:lnTo>
                  <a:pt x="3391" y="321"/>
                </a:lnTo>
                <a:lnTo>
                  <a:pt x="3407" y="315"/>
                </a:lnTo>
                <a:lnTo>
                  <a:pt x="3403" y="314"/>
                </a:lnTo>
                <a:lnTo>
                  <a:pt x="3407" y="312"/>
                </a:lnTo>
                <a:lnTo>
                  <a:pt x="3411" y="310"/>
                </a:lnTo>
                <a:lnTo>
                  <a:pt x="3424" y="313"/>
                </a:lnTo>
                <a:lnTo>
                  <a:pt x="3412" y="310"/>
                </a:lnTo>
                <a:lnTo>
                  <a:pt x="3421" y="310"/>
                </a:lnTo>
                <a:lnTo>
                  <a:pt x="3413" y="305"/>
                </a:lnTo>
                <a:lnTo>
                  <a:pt x="3414" y="301"/>
                </a:lnTo>
                <a:lnTo>
                  <a:pt x="3428" y="300"/>
                </a:lnTo>
                <a:lnTo>
                  <a:pt x="3417" y="298"/>
                </a:lnTo>
                <a:lnTo>
                  <a:pt x="3417" y="298"/>
                </a:lnTo>
                <a:lnTo>
                  <a:pt x="3434" y="298"/>
                </a:lnTo>
                <a:lnTo>
                  <a:pt x="3431" y="294"/>
                </a:lnTo>
                <a:lnTo>
                  <a:pt x="3424" y="294"/>
                </a:lnTo>
                <a:lnTo>
                  <a:pt x="3434" y="290"/>
                </a:lnTo>
                <a:lnTo>
                  <a:pt x="3429" y="290"/>
                </a:lnTo>
                <a:lnTo>
                  <a:pt x="3431" y="286"/>
                </a:lnTo>
                <a:lnTo>
                  <a:pt x="3425" y="286"/>
                </a:lnTo>
                <a:lnTo>
                  <a:pt x="3424" y="286"/>
                </a:lnTo>
                <a:lnTo>
                  <a:pt x="3424" y="286"/>
                </a:lnTo>
                <a:lnTo>
                  <a:pt x="3417" y="286"/>
                </a:lnTo>
                <a:lnTo>
                  <a:pt x="3417" y="281"/>
                </a:lnTo>
                <a:lnTo>
                  <a:pt x="3427" y="280"/>
                </a:lnTo>
                <a:lnTo>
                  <a:pt x="3431" y="284"/>
                </a:lnTo>
                <a:lnTo>
                  <a:pt x="3434" y="281"/>
                </a:lnTo>
                <a:lnTo>
                  <a:pt x="3437" y="279"/>
                </a:lnTo>
                <a:lnTo>
                  <a:pt x="3436" y="278"/>
                </a:lnTo>
                <a:lnTo>
                  <a:pt x="3437" y="278"/>
                </a:lnTo>
                <a:lnTo>
                  <a:pt x="3450" y="278"/>
                </a:lnTo>
                <a:lnTo>
                  <a:pt x="3447" y="271"/>
                </a:lnTo>
                <a:lnTo>
                  <a:pt x="3458" y="269"/>
                </a:lnTo>
                <a:lnTo>
                  <a:pt x="3454" y="267"/>
                </a:lnTo>
                <a:lnTo>
                  <a:pt x="3466" y="260"/>
                </a:lnTo>
                <a:lnTo>
                  <a:pt x="3489" y="255"/>
                </a:lnTo>
                <a:lnTo>
                  <a:pt x="3485" y="254"/>
                </a:lnTo>
                <a:lnTo>
                  <a:pt x="3488" y="254"/>
                </a:lnTo>
                <a:lnTo>
                  <a:pt x="3495" y="254"/>
                </a:lnTo>
                <a:lnTo>
                  <a:pt x="3491" y="258"/>
                </a:lnTo>
                <a:lnTo>
                  <a:pt x="3493" y="258"/>
                </a:lnTo>
                <a:lnTo>
                  <a:pt x="3500" y="254"/>
                </a:lnTo>
                <a:lnTo>
                  <a:pt x="3497" y="254"/>
                </a:lnTo>
                <a:lnTo>
                  <a:pt x="3499" y="248"/>
                </a:lnTo>
                <a:lnTo>
                  <a:pt x="3508" y="246"/>
                </a:lnTo>
                <a:lnTo>
                  <a:pt x="3519" y="249"/>
                </a:lnTo>
                <a:lnTo>
                  <a:pt x="3537" y="243"/>
                </a:lnTo>
                <a:lnTo>
                  <a:pt x="3544" y="246"/>
                </a:lnTo>
                <a:lnTo>
                  <a:pt x="3564" y="237"/>
                </a:lnTo>
                <a:lnTo>
                  <a:pt x="3570" y="239"/>
                </a:lnTo>
                <a:lnTo>
                  <a:pt x="3567" y="234"/>
                </a:lnTo>
                <a:lnTo>
                  <a:pt x="3592" y="224"/>
                </a:lnTo>
                <a:lnTo>
                  <a:pt x="3599" y="225"/>
                </a:lnTo>
                <a:lnTo>
                  <a:pt x="3607" y="226"/>
                </a:lnTo>
                <a:lnTo>
                  <a:pt x="3613" y="231"/>
                </a:lnTo>
                <a:lnTo>
                  <a:pt x="3610" y="237"/>
                </a:lnTo>
                <a:lnTo>
                  <a:pt x="3611" y="239"/>
                </a:lnTo>
                <a:lnTo>
                  <a:pt x="3603" y="246"/>
                </a:lnTo>
                <a:lnTo>
                  <a:pt x="3604" y="246"/>
                </a:lnTo>
                <a:lnTo>
                  <a:pt x="3558" y="260"/>
                </a:lnTo>
                <a:lnTo>
                  <a:pt x="3539" y="265"/>
                </a:lnTo>
                <a:lnTo>
                  <a:pt x="3536" y="264"/>
                </a:lnTo>
                <a:lnTo>
                  <a:pt x="3533" y="267"/>
                </a:lnTo>
                <a:lnTo>
                  <a:pt x="3508" y="273"/>
                </a:lnTo>
                <a:lnTo>
                  <a:pt x="3506" y="278"/>
                </a:lnTo>
                <a:lnTo>
                  <a:pt x="3506" y="278"/>
                </a:lnTo>
                <a:lnTo>
                  <a:pt x="3505" y="278"/>
                </a:lnTo>
                <a:lnTo>
                  <a:pt x="3502" y="275"/>
                </a:lnTo>
                <a:lnTo>
                  <a:pt x="3500" y="278"/>
                </a:lnTo>
                <a:lnTo>
                  <a:pt x="3493" y="281"/>
                </a:lnTo>
                <a:lnTo>
                  <a:pt x="3495" y="284"/>
                </a:lnTo>
                <a:lnTo>
                  <a:pt x="3493" y="285"/>
                </a:lnTo>
                <a:lnTo>
                  <a:pt x="3490" y="281"/>
                </a:lnTo>
                <a:lnTo>
                  <a:pt x="3490" y="286"/>
                </a:lnTo>
                <a:lnTo>
                  <a:pt x="3482" y="286"/>
                </a:lnTo>
                <a:lnTo>
                  <a:pt x="3493" y="287"/>
                </a:lnTo>
                <a:lnTo>
                  <a:pt x="3486" y="290"/>
                </a:lnTo>
                <a:lnTo>
                  <a:pt x="3489" y="292"/>
                </a:lnTo>
                <a:lnTo>
                  <a:pt x="3488" y="294"/>
                </a:lnTo>
                <a:lnTo>
                  <a:pt x="3482" y="294"/>
                </a:lnTo>
                <a:lnTo>
                  <a:pt x="3477" y="292"/>
                </a:lnTo>
                <a:lnTo>
                  <a:pt x="3481" y="295"/>
                </a:lnTo>
                <a:lnTo>
                  <a:pt x="3480" y="298"/>
                </a:lnTo>
                <a:lnTo>
                  <a:pt x="3471" y="292"/>
                </a:lnTo>
                <a:lnTo>
                  <a:pt x="3473" y="296"/>
                </a:lnTo>
                <a:lnTo>
                  <a:pt x="3471" y="298"/>
                </a:lnTo>
                <a:lnTo>
                  <a:pt x="3471" y="301"/>
                </a:lnTo>
                <a:lnTo>
                  <a:pt x="3458" y="298"/>
                </a:lnTo>
                <a:lnTo>
                  <a:pt x="3464" y="301"/>
                </a:lnTo>
                <a:lnTo>
                  <a:pt x="3466" y="307"/>
                </a:lnTo>
                <a:lnTo>
                  <a:pt x="3462" y="310"/>
                </a:lnTo>
                <a:lnTo>
                  <a:pt x="3459" y="309"/>
                </a:lnTo>
                <a:lnTo>
                  <a:pt x="3460" y="314"/>
                </a:lnTo>
                <a:lnTo>
                  <a:pt x="3458" y="314"/>
                </a:lnTo>
                <a:lnTo>
                  <a:pt x="3458" y="314"/>
                </a:lnTo>
                <a:lnTo>
                  <a:pt x="3450" y="313"/>
                </a:lnTo>
                <a:lnTo>
                  <a:pt x="3447" y="310"/>
                </a:lnTo>
                <a:lnTo>
                  <a:pt x="3446" y="310"/>
                </a:lnTo>
                <a:lnTo>
                  <a:pt x="3446" y="312"/>
                </a:lnTo>
                <a:lnTo>
                  <a:pt x="3447" y="314"/>
                </a:lnTo>
                <a:lnTo>
                  <a:pt x="3444" y="314"/>
                </a:lnTo>
                <a:lnTo>
                  <a:pt x="3451" y="319"/>
                </a:lnTo>
                <a:lnTo>
                  <a:pt x="3454" y="321"/>
                </a:lnTo>
                <a:lnTo>
                  <a:pt x="3450" y="323"/>
                </a:lnTo>
                <a:lnTo>
                  <a:pt x="3446" y="319"/>
                </a:lnTo>
                <a:lnTo>
                  <a:pt x="3432" y="318"/>
                </a:lnTo>
                <a:lnTo>
                  <a:pt x="3443" y="319"/>
                </a:lnTo>
                <a:lnTo>
                  <a:pt x="3447" y="324"/>
                </a:lnTo>
                <a:lnTo>
                  <a:pt x="3442" y="327"/>
                </a:lnTo>
                <a:lnTo>
                  <a:pt x="3433" y="324"/>
                </a:lnTo>
                <a:lnTo>
                  <a:pt x="3433" y="326"/>
                </a:lnTo>
                <a:lnTo>
                  <a:pt x="3440" y="329"/>
                </a:lnTo>
                <a:lnTo>
                  <a:pt x="3436" y="334"/>
                </a:lnTo>
                <a:lnTo>
                  <a:pt x="3433" y="333"/>
                </a:lnTo>
                <a:lnTo>
                  <a:pt x="3433" y="338"/>
                </a:lnTo>
                <a:lnTo>
                  <a:pt x="3432" y="338"/>
                </a:lnTo>
                <a:lnTo>
                  <a:pt x="3432" y="339"/>
                </a:lnTo>
                <a:lnTo>
                  <a:pt x="3421" y="342"/>
                </a:lnTo>
                <a:lnTo>
                  <a:pt x="3431" y="342"/>
                </a:lnTo>
                <a:lnTo>
                  <a:pt x="3429" y="346"/>
                </a:lnTo>
                <a:lnTo>
                  <a:pt x="3428" y="346"/>
                </a:lnTo>
                <a:lnTo>
                  <a:pt x="3426" y="350"/>
                </a:lnTo>
                <a:lnTo>
                  <a:pt x="3417" y="350"/>
                </a:lnTo>
                <a:lnTo>
                  <a:pt x="3425" y="353"/>
                </a:lnTo>
                <a:lnTo>
                  <a:pt x="3421" y="354"/>
                </a:lnTo>
                <a:lnTo>
                  <a:pt x="3420" y="359"/>
                </a:lnTo>
                <a:lnTo>
                  <a:pt x="3413" y="358"/>
                </a:lnTo>
                <a:lnTo>
                  <a:pt x="3418" y="360"/>
                </a:lnTo>
                <a:lnTo>
                  <a:pt x="3412" y="363"/>
                </a:lnTo>
                <a:lnTo>
                  <a:pt x="3417" y="363"/>
                </a:lnTo>
                <a:lnTo>
                  <a:pt x="3417" y="365"/>
                </a:lnTo>
                <a:lnTo>
                  <a:pt x="3418" y="369"/>
                </a:lnTo>
                <a:lnTo>
                  <a:pt x="3413" y="374"/>
                </a:lnTo>
                <a:lnTo>
                  <a:pt x="3418" y="376"/>
                </a:lnTo>
                <a:lnTo>
                  <a:pt x="3420" y="383"/>
                </a:lnTo>
                <a:lnTo>
                  <a:pt x="3428" y="394"/>
                </a:lnTo>
                <a:lnTo>
                  <a:pt x="3434" y="399"/>
                </a:lnTo>
                <a:lnTo>
                  <a:pt x="3440" y="404"/>
                </a:lnTo>
                <a:lnTo>
                  <a:pt x="3448" y="408"/>
                </a:lnTo>
                <a:lnTo>
                  <a:pt x="3446" y="411"/>
                </a:lnTo>
                <a:lnTo>
                  <a:pt x="3436" y="409"/>
                </a:lnTo>
                <a:lnTo>
                  <a:pt x="3444" y="412"/>
                </a:lnTo>
                <a:lnTo>
                  <a:pt x="3440" y="411"/>
                </a:lnTo>
                <a:lnTo>
                  <a:pt x="3442" y="412"/>
                </a:lnTo>
                <a:lnTo>
                  <a:pt x="3440" y="414"/>
                </a:lnTo>
                <a:lnTo>
                  <a:pt x="3436" y="411"/>
                </a:lnTo>
                <a:lnTo>
                  <a:pt x="3433" y="411"/>
                </a:lnTo>
                <a:lnTo>
                  <a:pt x="3429" y="409"/>
                </a:lnTo>
                <a:lnTo>
                  <a:pt x="3429" y="408"/>
                </a:lnTo>
                <a:lnTo>
                  <a:pt x="3428" y="411"/>
                </a:lnTo>
                <a:lnTo>
                  <a:pt x="3431" y="411"/>
                </a:lnTo>
                <a:lnTo>
                  <a:pt x="3434" y="415"/>
                </a:lnTo>
                <a:lnTo>
                  <a:pt x="3432" y="415"/>
                </a:lnTo>
                <a:lnTo>
                  <a:pt x="3424" y="412"/>
                </a:lnTo>
                <a:lnTo>
                  <a:pt x="3426" y="415"/>
                </a:lnTo>
                <a:lnTo>
                  <a:pt x="3424" y="415"/>
                </a:lnTo>
                <a:lnTo>
                  <a:pt x="3420" y="412"/>
                </a:lnTo>
                <a:lnTo>
                  <a:pt x="3421" y="409"/>
                </a:lnTo>
                <a:lnTo>
                  <a:pt x="3419" y="408"/>
                </a:lnTo>
                <a:lnTo>
                  <a:pt x="3417" y="408"/>
                </a:lnTo>
                <a:lnTo>
                  <a:pt x="3412" y="412"/>
                </a:lnTo>
                <a:lnTo>
                  <a:pt x="3402" y="406"/>
                </a:lnTo>
                <a:lnTo>
                  <a:pt x="3401" y="406"/>
                </a:lnTo>
                <a:lnTo>
                  <a:pt x="3401" y="407"/>
                </a:lnTo>
                <a:lnTo>
                  <a:pt x="3392" y="407"/>
                </a:lnTo>
                <a:lnTo>
                  <a:pt x="3392" y="405"/>
                </a:lnTo>
                <a:lnTo>
                  <a:pt x="3392" y="403"/>
                </a:lnTo>
                <a:lnTo>
                  <a:pt x="3387" y="397"/>
                </a:lnTo>
                <a:lnTo>
                  <a:pt x="3398" y="396"/>
                </a:lnTo>
                <a:lnTo>
                  <a:pt x="3385" y="394"/>
                </a:lnTo>
                <a:lnTo>
                  <a:pt x="3385" y="392"/>
                </a:lnTo>
                <a:lnTo>
                  <a:pt x="3385" y="392"/>
                </a:lnTo>
                <a:lnTo>
                  <a:pt x="3383" y="391"/>
                </a:lnTo>
                <a:lnTo>
                  <a:pt x="3385" y="391"/>
                </a:lnTo>
                <a:lnTo>
                  <a:pt x="3383" y="388"/>
                </a:lnTo>
                <a:lnTo>
                  <a:pt x="3388" y="386"/>
                </a:lnTo>
                <a:lnTo>
                  <a:pt x="3387" y="385"/>
                </a:lnTo>
                <a:lnTo>
                  <a:pt x="3386" y="385"/>
                </a:lnTo>
                <a:lnTo>
                  <a:pt x="3379" y="389"/>
                </a:lnTo>
                <a:lnTo>
                  <a:pt x="3373" y="386"/>
                </a:lnTo>
                <a:lnTo>
                  <a:pt x="3373" y="385"/>
                </a:lnTo>
                <a:lnTo>
                  <a:pt x="3371" y="388"/>
                </a:lnTo>
                <a:lnTo>
                  <a:pt x="3370" y="385"/>
                </a:lnTo>
                <a:lnTo>
                  <a:pt x="3369" y="386"/>
                </a:lnTo>
                <a:lnTo>
                  <a:pt x="3369" y="387"/>
                </a:lnTo>
                <a:lnTo>
                  <a:pt x="3370" y="387"/>
                </a:lnTo>
                <a:lnTo>
                  <a:pt x="3365" y="388"/>
                </a:lnTo>
                <a:lnTo>
                  <a:pt x="3361" y="385"/>
                </a:lnTo>
                <a:lnTo>
                  <a:pt x="3358" y="376"/>
                </a:lnTo>
                <a:lnTo>
                  <a:pt x="3361" y="371"/>
                </a:lnTo>
                <a:close/>
                <a:moveTo>
                  <a:pt x="3410" y="331"/>
                </a:moveTo>
                <a:lnTo>
                  <a:pt x="3425" y="335"/>
                </a:lnTo>
                <a:lnTo>
                  <a:pt x="3425" y="334"/>
                </a:lnTo>
                <a:lnTo>
                  <a:pt x="3418" y="332"/>
                </a:lnTo>
                <a:lnTo>
                  <a:pt x="3411" y="330"/>
                </a:lnTo>
                <a:lnTo>
                  <a:pt x="3410" y="331"/>
                </a:lnTo>
                <a:close/>
                <a:moveTo>
                  <a:pt x="1578" y="1416"/>
                </a:moveTo>
                <a:lnTo>
                  <a:pt x="1580" y="1417"/>
                </a:lnTo>
                <a:lnTo>
                  <a:pt x="1585" y="1415"/>
                </a:lnTo>
                <a:lnTo>
                  <a:pt x="1586" y="1415"/>
                </a:lnTo>
                <a:lnTo>
                  <a:pt x="1588" y="1419"/>
                </a:lnTo>
                <a:lnTo>
                  <a:pt x="1593" y="1419"/>
                </a:lnTo>
                <a:lnTo>
                  <a:pt x="1598" y="1415"/>
                </a:lnTo>
                <a:lnTo>
                  <a:pt x="1613" y="1415"/>
                </a:lnTo>
                <a:lnTo>
                  <a:pt x="1615" y="1419"/>
                </a:lnTo>
                <a:lnTo>
                  <a:pt x="1616" y="1419"/>
                </a:lnTo>
                <a:lnTo>
                  <a:pt x="1620" y="1419"/>
                </a:lnTo>
                <a:lnTo>
                  <a:pt x="1620" y="1414"/>
                </a:lnTo>
                <a:lnTo>
                  <a:pt x="1610" y="1408"/>
                </a:lnTo>
                <a:lnTo>
                  <a:pt x="1604" y="1407"/>
                </a:lnTo>
                <a:lnTo>
                  <a:pt x="1606" y="1407"/>
                </a:lnTo>
                <a:lnTo>
                  <a:pt x="1606" y="1402"/>
                </a:lnTo>
                <a:lnTo>
                  <a:pt x="1606" y="1401"/>
                </a:lnTo>
                <a:lnTo>
                  <a:pt x="1598" y="1402"/>
                </a:lnTo>
                <a:lnTo>
                  <a:pt x="1596" y="1397"/>
                </a:lnTo>
                <a:lnTo>
                  <a:pt x="1592" y="1399"/>
                </a:lnTo>
                <a:lnTo>
                  <a:pt x="1588" y="1395"/>
                </a:lnTo>
                <a:lnTo>
                  <a:pt x="1586" y="1397"/>
                </a:lnTo>
                <a:lnTo>
                  <a:pt x="1581" y="1394"/>
                </a:lnTo>
                <a:lnTo>
                  <a:pt x="1577" y="1395"/>
                </a:lnTo>
                <a:lnTo>
                  <a:pt x="1570" y="1394"/>
                </a:lnTo>
                <a:lnTo>
                  <a:pt x="1570" y="1395"/>
                </a:lnTo>
                <a:lnTo>
                  <a:pt x="1563" y="1395"/>
                </a:lnTo>
                <a:lnTo>
                  <a:pt x="1554" y="1392"/>
                </a:lnTo>
                <a:lnTo>
                  <a:pt x="1546" y="1393"/>
                </a:lnTo>
                <a:lnTo>
                  <a:pt x="1546" y="1399"/>
                </a:lnTo>
                <a:lnTo>
                  <a:pt x="1550" y="1399"/>
                </a:lnTo>
                <a:lnTo>
                  <a:pt x="1557" y="1401"/>
                </a:lnTo>
                <a:lnTo>
                  <a:pt x="1554" y="1405"/>
                </a:lnTo>
                <a:lnTo>
                  <a:pt x="1558" y="1412"/>
                </a:lnTo>
                <a:lnTo>
                  <a:pt x="1558" y="1415"/>
                </a:lnTo>
                <a:lnTo>
                  <a:pt x="1559" y="1415"/>
                </a:lnTo>
                <a:lnTo>
                  <a:pt x="1557" y="1419"/>
                </a:lnTo>
                <a:lnTo>
                  <a:pt x="1549" y="1419"/>
                </a:lnTo>
                <a:lnTo>
                  <a:pt x="1554" y="1420"/>
                </a:lnTo>
                <a:lnTo>
                  <a:pt x="1565" y="1418"/>
                </a:lnTo>
                <a:lnTo>
                  <a:pt x="1570" y="1422"/>
                </a:lnTo>
                <a:lnTo>
                  <a:pt x="1570" y="1420"/>
                </a:lnTo>
                <a:lnTo>
                  <a:pt x="1573" y="1426"/>
                </a:lnTo>
                <a:lnTo>
                  <a:pt x="1578" y="1419"/>
                </a:lnTo>
                <a:lnTo>
                  <a:pt x="1578" y="1416"/>
                </a:lnTo>
                <a:close/>
                <a:moveTo>
                  <a:pt x="1627" y="1418"/>
                </a:moveTo>
                <a:lnTo>
                  <a:pt x="1626" y="1418"/>
                </a:lnTo>
                <a:lnTo>
                  <a:pt x="1627" y="1419"/>
                </a:lnTo>
                <a:lnTo>
                  <a:pt x="1627" y="1418"/>
                </a:lnTo>
                <a:close/>
                <a:moveTo>
                  <a:pt x="2586" y="663"/>
                </a:moveTo>
                <a:lnTo>
                  <a:pt x="2591" y="660"/>
                </a:lnTo>
                <a:lnTo>
                  <a:pt x="2594" y="660"/>
                </a:lnTo>
                <a:lnTo>
                  <a:pt x="2597" y="660"/>
                </a:lnTo>
                <a:lnTo>
                  <a:pt x="2593" y="664"/>
                </a:lnTo>
                <a:lnTo>
                  <a:pt x="2594" y="666"/>
                </a:lnTo>
                <a:lnTo>
                  <a:pt x="2593" y="667"/>
                </a:lnTo>
                <a:lnTo>
                  <a:pt x="2593" y="667"/>
                </a:lnTo>
                <a:lnTo>
                  <a:pt x="2592" y="672"/>
                </a:lnTo>
                <a:lnTo>
                  <a:pt x="2590" y="672"/>
                </a:lnTo>
                <a:lnTo>
                  <a:pt x="2592" y="668"/>
                </a:lnTo>
                <a:lnTo>
                  <a:pt x="2590" y="668"/>
                </a:lnTo>
                <a:lnTo>
                  <a:pt x="2586" y="663"/>
                </a:lnTo>
                <a:close/>
                <a:moveTo>
                  <a:pt x="2590" y="664"/>
                </a:moveTo>
                <a:lnTo>
                  <a:pt x="2592" y="668"/>
                </a:lnTo>
                <a:lnTo>
                  <a:pt x="2593" y="667"/>
                </a:lnTo>
                <a:lnTo>
                  <a:pt x="2592" y="664"/>
                </a:lnTo>
                <a:lnTo>
                  <a:pt x="2590" y="664"/>
                </a:lnTo>
                <a:close/>
                <a:moveTo>
                  <a:pt x="1729" y="1482"/>
                </a:moveTo>
                <a:lnTo>
                  <a:pt x="1727" y="1487"/>
                </a:lnTo>
                <a:lnTo>
                  <a:pt x="1729" y="1488"/>
                </a:lnTo>
                <a:lnTo>
                  <a:pt x="1732" y="1485"/>
                </a:lnTo>
                <a:lnTo>
                  <a:pt x="1729" y="1482"/>
                </a:lnTo>
                <a:close/>
                <a:moveTo>
                  <a:pt x="1540" y="1423"/>
                </a:moveTo>
                <a:lnTo>
                  <a:pt x="1538" y="1421"/>
                </a:lnTo>
                <a:lnTo>
                  <a:pt x="1538" y="1423"/>
                </a:lnTo>
                <a:lnTo>
                  <a:pt x="1540" y="1423"/>
                </a:lnTo>
                <a:close/>
                <a:moveTo>
                  <a:pt x="1542" y="1415"/>
                </a:moveTo>
                <a:lnTo>
                  <a:pt x="1542" y="1415"/>
                </a:lnTo>
                <a:lnTo>
                  <a:pt x="1536" y="1415"/>
                </a:lnTo>
                <a:lnTo>
                  <a:pt x="1530" y="1415"/>
                </a:lnTo>
                <a:lnTo>
                  <a:pt x="1530" y="1415"/>
                </a:lnTo>
                <a:lnTo>
                  <a:pt x="1530" y="1416"/>
                </a:lnTo>
                <a:lnTo>
                  <a:pt x="1537" y="1419"/>
                </a:lnTo>
                <a:lnTo>
                  <a:pt x="1538" y="1421"/>
                </a:lnTo>
                <a:lnTo>
                  <a:pt x="1538" y="1420"/>
                </a:lnTo>
                <a:lnTo>
                  <a:pt x="1543" y="1419"/>
                </a:lnTo>
                <a:lnTo>
                  <a:pt x="1542" y="1419"/>
                </a:lnTo>
                <a:lnTo>
                  <a:pt x="1542" y="1415"/>
                </a:lnTo>
                <a:close/>
                <a:moveTo>
                  <a:pt x="2726" y="599"/>
                </a:moveTo>
                <a:lnTo>
                  <a:pt x="2728" y="599"/>
                </a:lnTo>
                <a:lnTo>
                  <a:pt x="2729" y="599"/>
                </a:lnTo>
                <a:lnTo>
                  <a:pt x="2728" y="596"/>
                </a:lnTo>
                <a:lnTo>
                  <a:pt x="2726" y="599"/>
                </a:lnTo>
                <a:close/>
                <a:moveTo>
                  <a:pt x="2695" y="617"/>
                </a:moveTo>
                <a:lnTo>
                  <a:pt x="2695" y="621"/>
                </a:lnTo>
                <a:lnTo>
                  <a:pt x="2699" y="619"/>
                </a:lnTo>
                <a:lnTo>
                  <a:pt x="2695" y="617"/>
                </a:lnTo>
                <a:close/>
                <a:moveTo>
                  <a:pt x="2709" y="608"/>
                </a:moveTo>
                <a:lnTo>
                  <a:pt x="2709" y="611"/>
                </a:lnTo>
                <a:lnTo>
                  <a:pt x="2712" y="611"/>
                </a:lnTo>
                <a:lnTo>
                  <a:pt x="2709" y="608"/>
                </a:lnTo>
                <a:close/>
                <a:moveTo>
                  <a:pt x="1800" y="923"/>
                </a:moveTo>
                <a:lnTo>
                  <a:pt x="1798" y="923"/>
                </a:lnTo>
                <a:lnTo>
                  <a:pt x="1800" y="924"/>
                </a:lnTo>
                <a:lnTo>
                  <a:pt x="1800" y="923"/>
                </a:lnTo>
                <a:close/>
                <a:moveTo>
                  <a:pt x="2600" y="650"/>
                </a:moveTo>
                <a:lnTo>
                  <a:pt x="2598" y="650"/>
                </a:lnTo>
                <a:lnTo>
                  <a:pt x="2597" y="653"/>
                </a:lnTo>
                <a:lnTo>
                  <a:pt x="2598" y="653"/>
                </a:lnTo>
                <a:lnTo>
                  <a:pt x="2600" y="650"/>
                </a:lnTo>
                <a:close/>
                <a:moveTo>
                  <a:pt x="801" y="879"/>
                </a:moveTo>
                <a:lnTo>
                  <a:pt x="800" y="878"/>
                </a:lnTo>
                <a:lnTo>
                  <a:pt x="800" y="878"/>
                </a:lnTo>
                <a:lnTo>
                  <a:pt x="801" y="879"/>
                </a:lnTo>
                <a:lnTo>
                  <a:pt x="801" y="879"/>
                </a:lnTo>
                <a:lnTo>
                  <a:pt x="801" y="879"/>
                </a:lnTo>
                <a:lnTo>
                  <a:pt x="801" y="879"/>
                </a:lnTo>
                <a:close/>
                <a:moveTo>
                  <a:pt x="1804" y="861"/>
                </a:moveTo>
                <a:lnTo>
                  <a:pt x="1805" y="861"/>
                </a:lnTo>
                <a:lnTo>
                  <a:pt x="1805" y="860"/>
                </a:lnTo>
                <a:lnTo>
                  <a:pt x="1804" y="861"/>
                </a:lnTo>
                <a:close/>
                <a:moveTo>
                  <a:pt x="2597" y="657"/>
                </a:moveTo>
                <a:lnTo>
                  <a:pt x="2597" y="653"/>
                </a:lnTo>
                <a:lnTo>
                  <a:pt x="2597" y="651"/>
                </a:lnTo>
                <a:lnTo>
                  <a:pt x="2593" y="655"/>
                </a:lnTo>
                <a:lnTo>
                  <a:pt x="2594" y="658"/>
                </a:lnTo>
                <a:lnTo>
                  <a:pt x="2597" y="657"/>
                </a:lnTo>
                <a:close/>
                <a:moveTo>
                  <a:pt x="2731" y="599"/>
                </a:moveTo>
                <a:lnTo>
                  <a:pt x="2732" y="599"/>
                </a:lnTo>
                <a:lnTo>
                  <a:pt x="2731" y="598"/>
                </a:lnTo>
                <a:lnTo>
                  <a:pt x="2731" y="598"/>
                </a:lnTo>
                <a:lnTo>
                  <a:pt x="2729" y="596"/>
                </a:lnTo>
                <a:lnTo>
                  <a:pt x="2731" y="599"/>
                </a:lnTo>
                <a:close/>
                <a:moveTo>
                  <a:pt x="836" y="913"/>
                </a:moveTo>
                <a:lnTo>
                  <a:pt x="835" y="913"/>
                </a:lnTo>
                <a:lnTo>
                  <a:pt x="835" y="914"/>
                </a:lnTo>
                <a:lnTo>
                  <a:pt x="836" y="914"/>
                </a:lnTo>
                <a:lnTo>
                  <a:pt x="836" y="914"/>
                </a:lnTo>
                <a:lnTo>
                  <a:pt x="836" y="913"/>
                </a:lnTo>
                <a:lnTo>
                  <a:pt x="836" y="913"/>
                </a:lnTo>
                <a:close/>
                <a:moveTo>
                  <a:pt x="2726" y="600"/>
                </a:moveTo>
                <a:lnTo>
                  <a:pt x="2723" y="603"/>
                </a:lnTo>
                <a:lnTo>
                  <a:pt x="2724" y="603"/>
                </a:lnTo>
                <a:lnTo>
                  <a:pt x="2726" y="600"/>
                </a:lnTo>
                <a:close/>
                <a:moveTo>
                  <a:pt x="829" y="929"/>
                </a:moveTo>
                <a:lnTo>
                  <a:pt x="828" y="930"/>
                </a:lnTo>
                <a:lnTo>
                  <a:pt x="831" y="929"/>
                </a:lnTo>
                <a:lnTo>
                  <a:pt x="829" y="929"/>
                </a:lnTo>
                <a:close/>
                <a:moveTo>
                  <a:pt x="1730" y="1557"/>
                </a:moveTo>
                <a:lnTo>
                  <a:pt x="1730" y="1555"/>
                </a:lnTo>
                <a:lnTo>
                  <a:pt x="1728" y="1557"/>
                </a:lnTo>
                <a:lnTo>
                  <a:pt x="1730" y="1557"/>
                </a:lnTo>
                <a:close/>
                <a:moveTo>
                  <a:pt x="2729" y="593"/>
                </a:moveTo>
                <a:lnTo>
                  <a:pt x="2728" y="591"/>
                </a:lnTo>
                <a:lnTo>
                  <a:pt x="2724" y="593"/>
                </a:lnTo>
                <a:lnTo>
                  <a:pt x="2728" y="595"/>
                </a:lnTo>
                <a:lnTo>
                  <a:pt x="2729" y="593"/>
                </a:lnTo>
                <a:close/>
                <a:moveTo>
                  <a:pt x="1674" y="920"/>
                </a:moveTo>
                <a:lnTo>
                  <a:pt x="1675" y="920"/>
                </a:lnTo>
                <a:lnTo>
                  <a:pt x="1676" y="918"/>
                </a:lnTo>
                <a:lnTo>
                  <a:pt x="1674" y="920"/>
                </a:lnTo>
                <a:lnTo>
                  <a:pt x="1674" y="920"/>
                </a:lnTo>
                <a:close/>
                <a:moveTo>
                  <a:pt x="1696" y="894"/>
                </a:moveTo>
                <a:lnTo>
                  <a:pt x="1710" y="897"/>
                </a:lnTo>
                <a:lnTo>
                  <a:pt x="1716" y="895"/>
                </a:lnTo>
                <a:lnTo>
                  <a:pt x="1713" y="892"/>
                </a:lnTo>
                <a:lnTo>
                  <a:pt x="1708" y="890"/>
                </a:lnTo>
                <a:lnTo>
                  <a:pt x="1704" y="886"/>
                </a:lnTo>
                <a:lnTo>
                  <a:pt x="1691" y="882"/>
                </a:lnTo>
                <a:lnTo>
                  <a:pt x="1680" y="879"/>
                </a:lnTo>
                <a:lnTo>
                  <a:pt x="1676" y="882"/>
                </a:lnTo>
                <a:lnTo>
                  <a:pt x="1685" y="885"/>
                </a:lnTo>
                <a:lnTo>
                  <a:pt x="1689" y="890"/>
                </a:lnTo>
                <a:lnTo>
                  <a:pt x="1696" y="894"/>
                </a:lnTo>
                <a:close/>
                <a:moveTo>
                  <a:pt x="1805" y="886"/>
                </a:moveTo>
                <a:lnTo>
                  <a:pt x="1804" y="885"/>
                </a:lnTo>
                <a:lnTo>
                  <a:pt x="1802" y="886"/>
                </a:lnTo>
                <a:lnTo>
                  <a:pt x="1805" y="886"/>
                </a:lnTo>
                <a:close/>
                <a:moveTo>
                  <a:pt x="1675" y="918"/>
                </a:moveTo>
                <a:lnTo>
                  <a:pt x="1676" y="918"/>
                </a:lnTo>
                <a:lnTo>
                  <a:pt x="1676" y="917"/>
                </a:lnTo>
                <a:lnTo>
                  <a:pt x="1675" y="918"/>
                </a:lnTo>
                <a:close/>
                <a:moveTo>
                  <a:pt x="1719" y="927"/>
                </a:moveTo>
                <a:lnTo>
                  <a:pt x="1721" y="924"/>
                </a:lnTo>
                <a:lnTo>
                  <a:pt x="1713" y="929"/>
                </a:lnTo>
                <a:lnTo>
                  <a:pt x="1712" y="933"/>
                </a:lnTo>
                <a:lnTo>
                  <a:pt x="1713" y="933"/>
                </a:lnTo>
                <a:lnTo>
                  <a:pt x="1719" y="927"/>
                </a:lnTo>
                <a:close/>
                <a:moveTo>
                  <a:pt x="1732" y="1521"/>
                </a:moveTo>
                <a:lnTo>
                  <a:pt x="1729" y="1525"/>
                </a:lnTo>
                <a:lnTo>
                  <a:pt x="1732" y="1523"/>
                </a:lnTo>
                <a:lnTo>
                  <a:pt x="1732" y="1521"/>
                </a:lnTo>
                <a:close/>
                <a:moveTo>
                  <a:pt x="1804" y="853"/>
                </a:moveTo>
                <a:lnTo>
                  <a:pt x="1805" y="853"/>
                </a:lnTo>
                <a:lnTo>
                  <a:pt x="1807" y="849"/>
                </a:lnTo>
                <a:lnTo>
                  <a:pt x="1802" y="849"/>
                </a:lnTo>
                <a:lnTo>
                  <a:pt x="1804" y="853"/>
                </a:lnTo>
                <a:close/>
                <a:moveTo>
                  <a:pt x="2590" y="655"/>
                </a:moveTo>
                <a:lnTo>
                  <a:pt x="2585" y="658"/>
                </a:lnTo>
                <a:lnTo>
                  <a:pt x="2590" y="659"/>
                </a:lnTo>
                <a:lnTo>
                  <a:pt x="2590" y="655"/>
                </a:lnTo>
                <a:close/>
                <a:moveTo>
                  <a:pt x="1743" y="993"/>
                </a:moveTo>
                <a:lnTo>
                  <a:pt x="1745" y="992"/>
                </a:lnTo>
                <a:lnTo>
                  <a:pt x="1740" y="992"/>
                </a:lnTo>
                <a:lnTo>
                  <a:pt x="1743" y="993"/>
                </a:lnTo>
                <a:close/>
                <a:moveTo>
                  <a:pt x="1699" y="952"/>
                </a:moveTo>
                <a:lnTo>
                  <a:pt x="1699" y="955"/>
                </a:lnTo>
                <a:lnTo>
                  <a:pt x="1703" y="954"/>
                </a:lnTo>
                <a:lnTo>
                  <a:pt x="1703" y="952"/>
                </a:lnTo>
                <a:lnTo>
                  <a:pt x="1703" y="951"/>
                </a:lnTo>
                <a:lnTo>
                  <a:pt x="1708" y="947"/>
                </a:lnTo>
                <a:lnTo>
                  <a:pt x="1713" y="946"/>
                </a:lnTo>
                <a:lnTo>
                  <a:pt x="1694" y="947"/>
                </a:lnTo>
                <a:lnTo>
                  <a:pt x="1687" y="943"/>
                </a:lnTo>
                <a:lnTo>
                  <a:pt x="1687" y="949"/>
                </a:lnTo>
                <a:lnTo>
                  <a:pt x="1683" y="949"/>
                </a:lnTo>
                <a:lnTo>
                  <a:pt x="1683" y="949"/>
                </a:lnTo>
                <a:lnTo>
                  <a:pt x="1686" y="951"/>
                </a:lnTo>
                <a:lnTo>
                  <a:pt x="1693" y="952"/>
                </a:lnTo>
                <a:lnTo>
                  <a:pt x="1698" y="949"/>
                </a:lnTo>
                <a:lnTo>
                  <a:pt x="1696" y="951"/>
                </a:lnTo>
                <a:lnTo>
                  <a:pt x="1699" y="952"/>
                </a:lnTo>
                <a:close/>
                <a:moveTo>
                  <a:pt x="1678" y="940"/>
                </a:moveTo>
                <a:lnTo>
                  <a:pt x="1679" y="938"/>
                </a:lnTo>
                <a:lnTo>
                  <a:pt x="1679" y="935"/>
                </a:lnTo>
                <a:lnTo>
                  <a:pt x="1674" y="942"/>
                </a:lnTo>
                <a:lnTo>
                  <a:pt x="1679" y="945"/>
                </a:lnTo>
                <a:lnTo>
                  <a:pt x="1679" y="945"/>
                </a:lnTo>
                <a:lnTo>
                  <a:pt x="1679" y="949"/>
                </a:lnTo>
                <a:lnTo>
                  <a:pt x="1683" y="949"/>
                </a:lnTo>
                <a:lnTo>
                  <a:pt x="1683" y="942"/>
                </a:lnTo>
                <a:lnTo>
                  <a:pt x="1678" y="940"/>
                </a:lnTo>
                <a:close/>
                <a:moveTo>
                  <a:pt x="3352" y="88"/>
                </a:moveTo>
                <a:lnTo>
                  <a:pt x="3346" y="85"/>
                </a:lnTo>
                <a:lnTo>
                  <a:pt x="3343" y="88"/>
                </a:lnTo>
                <a:lnTo>
                  <a:pt x="3345" y="89"/>
                </a:lnTo>
                <a:lnTo>
                  <a:pt x="3348" y="88"/>
                </a:lnTo>
                <a:lnTo>
                  <a:pt x="3352" y="88"/>
                </a:lnTo>
                <a:close/>
                <a:moveTo>
                  <a:pt x="2964" y="400"/>
                </a:moveTo>
                <a:lnTo>
                  <a:pt x="2959" y="400"/>
                </a:lnTo>
                <a:lnTo>
                  <a:pt x="2961" y="401"/>
                </a:lnTo>
                <a:lnTo>
                  <a:pt x="2962" y="402"/>
                </a:lnTo>
                <a:lnTo>
                  <a:pt x="2964" y="400"/>
                </a:lnTo>
                <a:close/>
                <a:moveTo>
                  <a:pt x="222" y="650"/>
                </a:moveTo>
                <a:lnTo>
                  <a:pt x="223" y="650"/>
                </a:lnTo>
                <a:lnTo>
                  <a:pt x="221" y="650"/>
                </a:lnTo>
                <a:lnTo>
                  <a:pt x="221" y="651"/>
                </a:lnTo>
                <a:lnTo>
                  <a:pt x="221" y="651"/>
                </a:lnTo>
                <a:lnTo>
                  <a:pt x="222" y="650"/>
                </a:lnTo>
                <a:close/>
                <a:moveTo>
                  <a:pt x="2959" y="407"/>
                </a:moveTo>
                <a:lnTo>
                  <a:pt x="2956" y="408"/>
                </a:lnTo>
                <a:lnTo>
                  <a:pt x="2957" y="411"/>
                </a:lnTo>
                <a:lnTo>
                  <a:pt x="2959" y="413"/>
                </a:lnTo>
                <a:lnTo>
                  <a:pt x="2961" y="411"/>
                </a:lnTo>
                <a:lnTo>
                  <a:pt x="2962" y="410"/>
                </a:lnTo>
                <a:lnTo>
                  <a:pt x="2961" y="408"/>
                </a:lnTo>
                <a:lnTo>
                  <a:pt x="2959" y="407"/>
                </a:lnTo>
                <a:close/>
                <a:moveTo>
                  <a:pt x="2784" y="537"/>
                </a:moveTo>
                <a:lnTo>
                  <a:pt x="2782" y="538"/>
                </a:lnTo>
                <a:lnTo>
                  <a:pt x="2783" y="541"/>
                </a:lnTo>
                <a:lnTo>
                  <a:pt x="2784" y="537"/>
                </a:lnTo>
                <a:close/>
                <a:moveTo>
                  <a:pt x="3002" y="173"/>
                </a:moveTo>
                <a:lnTo>
                  <a:pt x="3006" y="171"/>
                </a:lnTo>
                <a:lnTo>
                  <a:pt x="3001" y="166"/>
                </a:lnTo>
                <a:lnTo>
                  <a:pt x="2998" y="168"/>
                </a:lnTo>
                <a:lnTo>
                  <a:pt x="3002" y="173"/>
                </a:lnTo>
                <a:close/>
                <a:moveTo>
                  <a:pt x="2975" y="202"/>
                </a:moveTo>
                <a:lnTo>
                  <a:pt x="2967" y="198"/>
                </a:lnTo>
                <a:lnTo>
                  <a:pt x="2958" y="198"/>
                </a:lnTo>
                <a:lnTo>
                  <a:pt x="2948" y="193"/>
                </a:lnTo>
                <a:lnTo>
                  <a:pt x="2948" y="191"/>
                </a:lnTo>
                <a:lnTo>
                  <a:pt x="2953" y="187"/>
                </a:lnTo>
                <a:lnTo>
                  <a:pt x="2947" y="186"/>
                </a:lnTo>
                <a:lnTo>
                  <a:pt x="2916" y="191"/>
                </a:lnTo>
                <a:lnTo>
                  <a:pt x="2926" y="196"/>
                </a:lnTo>
                <a:lnTo>
                  <a:pt x="2919" y="202"/>
                </a:lnTo>
                <a:lnTo>
                  <a:pt x="2919" y="206"/>
                </a:lnTo>
                <a:lnTo>
                  <a:pt x="2915" y="208"/>
                </a:lnTo>
                <a:lnTo>
                  <a:pt x="2915" y="210"/>
                </a:lnTo>
                <a:lnTo>
                  <a:pt x="2945" y="208"/>
                </a:lnTo>
                <a:lnTo>
                  <a:pt x="2938" y="212"/>
                </a:lnTo>
                <a:lnTo>
                  <a:pt x="2939" y="213"/>
                </a:lnTo>
                <a:lnTo>
                  <a:pt x="2935" y="215"/>
                </a:lnTo>
                <a:lnTo>
                  <a:pt x="2935" y="218"/>
                </a:lnTo>
                <a:lnTo>
                  <a:pt x="2943" y="218"/>
                </a:lnTo>
                <a:lnTo>
                  <a:pt x="2959" y="210"/>
                </a:lnTo>
                <a:lnTo>
                  <a:pt x="2965" y="204"/>
                </a:lnTo>
                <a:lnTo>
                  <a:pt x="2975" y="202"/>
                </a:lnTo>
                <a:close/>
                <a:moveTo>
                  <a:pt x="2773" y="558"/>
                </a:moveTo>
                <a:lnTo>
                  <a:pt x="2774" y="557"/>
                </a:lnTo>
                <a:lnTo>
                  <a:pt x="2773" y="556"/>
                </a:lnTo>
                <a:lnTo>
                  <a:pt x="2768" y="558"/>
                </a:lnTo>
                <a:lnTo>
                  <a:pt x="2773" y="558"/>
                </a:lnTo>
                <a:close/>
                <a:moveTo>
                  <a:pt x="2886" y="127"/>
                </a:moveTo>
                <a:lnTo>
                  <a:pt x="2872" y="124"/>
                </a:lnTo>
                <a:lnTo>
                  <a:pt x="2885" y="120"/>
                </a:lnTo>
                <a:lnTo>
                  <a:pt x="2894" y="124"/>
                </a:lnTo>
                <a:lnTo>
                  <a:pt x="2898" y="121"/>
                </a:lnTo>
                <a:lnTo>
                  <a:pt x="2893" y="120"/>
                </a:lnTo>
                <a:lnTo>
                  <a:pt x="2888" y="115"/>
                </a:lnTo>
                <a:lnTo>
                  <a:pt x="2899" y="120"/>
                </a:lnTo>
                <a:lnTo>
                  <a:pt x="2899" y="116"/>
                </a:lnTo>
                <a:lnTo>
                  <a:pt x="2901" y="113"/>
                </a:lnTo>
                <a:lnTo>
                  <a:pt x="2896" y="113"/>
                </a:lnTo>
                <a:lnTo>
                  <a:pt x="2900" y="109"/>
                </a:lnTo>
                <a:lnTo>
                  <a:pt x="2911" y="114"/>
                </a:lnTo>
                <a:lnTo>
                  <a:pt x="2912" y="118"/>
                </a:lnTo>
                <a:lnTo>
                  <a:pt x="2911" y="118"/>
                </a:lnTo>
                <a:lnTo>
                  <a:pt x="2911" y="118"/>
                </a:lnTo>
                <a:lnTo>
                  <a:pt x="2911" y="120"/>
                </a:lnTo>
                <a:lnTo>
                  <a:pt x="2931" y="118"/>
                </a:lnTo>
                <a:lnTo>
                  <a:pt x="2931" y="120"/>
                </a:lnTo>
                <a:lnTo>
                  <a:pt x="2926" y="124"/>
                </a:lnTo>
                <a:lnTo>
                  <a:pt x="2931" y="121"/>
                </a:lnTo>
                <a:lnTo>
                  <a:pt x="2935" y="129"/>
                </a:lnTo>
                <a:lnTo>
                  <a:pt x="2937" y="127"/>
                </a:lnTo>
                <a:lnTo>
                  <a:pt x="2938" y="118"/>
                </a:lnTo>
                <a:lnTo>
                  <a:pt x="2939" y="117"/>
                </a:lnTo>
                <a:lnTo>
                  <a:pt x="2939" y="118"/>
                </a:lnTo>
                <a:lnTo>
                  <a:pt x="2945" y="118"/>
                </a:lnTo>
                <a:lnTo>
                  <a:pt x="2946" y="110"/>
                </a:lnTo>
                <a:lnTo>
                  <a:pt x="2953" y="112"/>
                </a:lnTo>
                <a:lnTo>
                  <a:pt x="2949" y="113"/>
                </a:lnTo>
                <a:lnTo>
                  <a:pt x="2953" y="115"/>
                </a:lnTo>
                <a:lnTo>
                  <a:pt x="2949" y="118"/>
                </a:lnTo>
                <a:lnTo>
                  <a:pt x="2947" y="121"/>
                </a:lnTo>
                <a:lnTo>
                  <a:pt x="2949" y="124"/>
                </a:lnTo>
                <a:lnTo>
                  <a:pt x="2953" y="120"/>
                </a:lnTo>
                <a:lnTo>
                  <a:pt x="2956" y="121"/>
                </a:lnTo>
                <a:lnTo>
                  <a:pt x="2956" y="120"/>
                </a:lnTo>
                <a:lnTo>
                  <a:pt x="2956" y="118"/>
                </a:lnTo>
                <a:lnTo>
                  <a:pt x="2968" y="118"/>
                </a:lnTo>
                <a:lnTo>
                  <a:pt x="2965" y="116"/>
                </a:lnTo>
                <a:lnTo>
                  <a:pt x="2971" y="118"/>
                </a:lnTo>
                <a:lnTo>
                  <a:pt x="2972" y="115"/>
                </a:lnTo>
                <a:lnTo>
                  <a:pt x="2972" y="116"/>
                </a:lnTo>
                <a:lnTo>
                  <a:pt x="2972" y="118"/>
                </a:lnTo>
                <a:lnTo>
                  <a:pt x="2977" y="117"/>
                </a:lnTo>
                <a:lnTo>
                  <a:pt x="2981" y="116"/>
                </a:lnTo>
                <a:lnTo>
                  <a:pt x="2980" y="117"/>
                </a:lnTo>
                <a:lnTo>
                  <a:pt x="2980" y="118"/>
                </a:lnTo>
                <a:lnTo>
                  <a:pt x="3008" y="124"/>
                </a:lnTo>
                <a:lnTo>
                  <a:pt x="3006" y="129"/>
                </a:lnTo>
                <a:lnTo>
                  <a:pt x="3010" y="130"/>
                </a:lnTo>
                <a:lnTo>
                  <a:pt x="2989" y="140"/>
                </a:lnTo>
                <a:lnTo>
                  <a:pt x="2991" y="143"/>
                </a:lnTo>
                <a:lnTo>
                  <a:pt x="2987" y="147"/>
                </a:lnTo>
                <a:lnTo>
                  <a:pt x="2983" y="149"/>
                </a:lnTo>
                <a:lnTo>
                  <a:pt x="2980" y="151"/>
                </a:lnTo>
                <a:lnTo>
                  <a:pt x="2973" y="149"/>
                </a:lnTo>
                <a:lnTo>
                  <a:pt x="2967" y="152"/>
                </a:lnTo>
                <a:lnTo>
                  <a:pt x="2964" y="158"/>
                </a:lnTo>
                <a:lnTo>
                  <a:pt x="2956" y="158"/>
                </a:lnTo>
                <a:lnTo>
                  <a:pt x="2942" y="152"/>
                </a:lnTo>
                <a:lnTo>
                  <a:pt x="2944" y="147"/>
                </a:lnTo>
                <a:lnTo>
                  <a:pt x="2911" y="148"/>
                </a:lnTo>
                <a:lnTo>
                  <a:pt x="2911" y="146"/>
                </a:lnTo>
                <a:lnTo>
                  <a:pt x="2907" y="146"/>
                </a:lnTo>
                <a:lnTo>
                  <a:pt x="2898" y="142"/>
                </a:lnTo>
                <a:lnTo>
                  <a:pt x="2907" y="142"/>
                </a:lnTo>
                <a:lnTo>
                  <a:pt x="2920" y="142"/>
                </a:lnTo>
                <a:lnTo>
                  <a:pt x="2911" y="138"/>
                </a:lnTo>
                <a:lnTo>
                  <a:pt x="2931" y="136"/>
                </a:lnTo>
                <a:lnTo>
                  <a:pt x="2938" y="132"/>
                </a:lnTo>
                <a:lnTo>
                  <a:pt x="2886" y="136"/>
                </a:lnTo>
                <a:lnTo>
                  <a:pt x="2876" y="130"/>
                </a:lnTo>
                <a:lnTo>
                  <a:pt x="2886" y="127"/>
                </a:lnTo>
                <a:close/>
                <a:moveTo>
                  <a:pt x="2968" y="122"/>
                </a:moveTo>
                <a:lnTo>
                  <a:pt x="2969" y="122"/>
                </a:lnTo>
                <a:lnTo>
                  <a:pt x="2970" y="120"/>
                </a:lnTo>
                <a:lnTo>
                  <a:pt x="2968" y="122"/>
                </a:lnTo>
                <a:close/>
                <a:moveTo>
                  <a:pt x="2914" y="426"/>
                </a:moveTo>
                <a:lnTo>
                  <a:pt x="2915" y="429"/>
                </a:lnTo>
                <a:lnTo>
                  <a:pt x="2917" y="426"/>
                </a:lnTo>
                <a:lnTo>
                  <a:pt x="2914" y="426"/>
                </a:lnTo>
                <a:close/>
                <a:moveTo>
                  <a:pt x="2952" y="405"/>
                </a:moveTo>
                <a:lnTo>
                  <a:pt x="2952" y="403"/>
                </a:lnTo>
                <a:lnTo>
                  <a:pt x="2951" y="403"/>
                </a:lnTo>
                <a:lnTo>
                  <a:pt x="2948" y="403"/>
                </a:lnTo>
                <a:lnTo>
                  <a:pt x="2948" y="407"/>
                </a:lnTo>
                <a:lnTo>
                  <a:pt x="2949" y="407"/>
                </a:lnTo>
                <a:lnTo>
                  <a:pt x="2948" y="407"/>
                </a:lnTo>
                <a:lnTo>
                  <a:pt x="2944" y="408"/>
                </a:lnTo>
                <a:lnTo>
                  <a:pt x="2939" y="407"/>
                </a:lnTo>
                <a:lnTo>
                  <a:pt x="2939" y="408"/>
                </a:lnTo>
                <a:lnTo>
                  <a:pt x="2939" y="407"/>
                </a:lnTo>
                <a:lnTo>
                  <a:pt x="2930" y="408"/>
                </a:lnTo>
                <a:lnTo>
                  <a:pt x="2931" y="410"/>
                </a:lnTo>
                <a:lnTo>
                  <a:pt x="2931" y="413"/>
                </a:lnTo>
                <a:lnTo>
                  <a:pt x="2947" y="411"/>
                </a:lnTo>
                <a:lnTo>
                  <a:pt x="2952" y="405"/>
                </a:lnTo>
                <a:close/>
                <a:moveTo>
                  <a:pt x="2915" y="423"/>
                </a:moveTo>
                <a:lnTo>
                  <a:pt x="2914" y="423"/>
                </a:lnTo>
                <a:lnTo>
                  <a:pt x="2915" y="425"/>
                </a:lnTo>
                <a:lnTo>
                  <a:pt x="2915" y="423"/>
                </a:lnTo>
                <a:close/>
                <a:moveTo>
                  <a:pt x="2929" y="417"/>
                </a:moveTo>
                <a:lnTo>
                  <a:pt x="2926" y="417"/>
                </a:lnTo>
                <a:lnTo>
                  <a:pt x="2928" y="419"/>
                </a:lnTo>
                <a:lnTo>
                  <a:pt x="2929" y="417"/>
                </a:lnTo>
                <a:close/>
                <a:moveTo>
                  <a:pt x="2940" y="417"/>
                </a:moveTo>
                <a:lnTo>
                  <a:pt x="2936" y="418"/>
                </a:lnTo>
                <a:lnTo>
                  <a:pt x="2946" y="419"/>
                </a:lnTo>
                <a:lnTo>
                  <a:pt x="2940" y="417"/>
                </a:lnTo>
                <a:close/>
                <a:moveTo>
                  <a:pt x="3020" y="166"/>
                </a:moveTo>
                <a:lnTo>
                  <a:pt x="3031" y="163"/>
                </a:lnTo>
                <a:lnTo>
                  <a:pt x="3032" y="163"/>
                </a:lnTo>
                <a:lnTo>
                  <a:pt x="3033" y="163"/>
                </a:lnTo>
                <a:lnTo>
                  <a:pt x="3032" y="163"/>
                </a:lnTo>
                <a:lnTo>
                  <a:pt x="3032" y="163"/>
                </a:lnTo>
                <a:lnTo>
                  <a:pt x="3031" y="163"/>
                </a:lnTo>
                <a:lnTo>
                  <a:pt x="3025" y="163"/>
                </a:lnTo>
                <a:lnTo>
                  <a:pt x="3020" y="164"/>
                </a:lnTo>
                <a:lnTo>
                  <a:pt x="3020" y="166"/>
                </a:lnTo>
                <a:close/>
                <a:moveTo>
                  <a:pt x="2964" y="115"/>
                </a:moveTo>
                <a:lnTo>
                  <a:pt x="2964" y="116"/>
                </a:lnTo>
                <a:lnTo>
                  <a:pt x="2965" y="116"/>
                </a:lnTo>
                <a:lnTo>
                  <a:pt x="2964" y="115"/>
                </a:lnTo>
                <a:lnTo>
                  <a:pt x="2964" y="115"/>
                </a:lnTo>
                <a:close/>
                <a:moveTo>
                  <a:pt x="3018" y="121"/>
                </a:moveTo>
                <a:lnTo>
                  <a:pt x="3017" y="122"/>
                </a:lnTo>
                <a:lnTo>
                  <a:pt x="3017" y="124"/>
                </a:lnTo>
                <a:lnTo>
                  <a:pt x="3021" y="121"/>
                </a:lnTo>
                <a:lnTo>
                  <a:pt x="3018" y="121"/>
                </a:lnTo>
                <a:close/>
                <a:moveTo>
                  <a:pt x="2919" y="101"/>
                </a:moveTo>
                <a:lnTo>
                  <a:pt x="2912" y="100"/>
                </a:lnTo>
                <a:lnTo>
                  <a:pt x="2915" y="103"/>
                </a:lnTo>
                <a:lnTo>
                  <a:pt x="2919" y="101"/>
                </a:lnTo>
                <a:close/>
                <a:moveTo>
                  <a:pt x="2968" y="113"/>
                </a:moveTo>
                <a:lnTo>
                  <a:pt x="2965" y="112"/>
                </a:lnTo>
                <a:lnTo>
                  <a:pt x="2965" y="113"/>
                </a:lnTo>
                <a:lnTo>
                  <a:pt x="2964" y="113"/>
                </a:lnTo>
                <a:lnTo>
                  <a:pt x="2967" y="113"/>
                </a:lnTo>
                <a:lnTo>
                  <a:pt x="2968" y="113"/>
                </a:lnTo>
                <a:close/>
                <a:moveTo>
                  <a:pt x="2914" y="423"/>
                </a:moveTo>
                <a:lnTo>
                  <a:pt x="2914" y="421"/>
                </a:lnTo>
                <a:lnTo>
                  <a:pt x="2910" y="419"/>
                </a:lnTo>
                <a:lnTo>
                  <a:pt x="2909" y="421"/>
                </a:lnTo>
                <a:lnTo>
                  <a:pt x="2907" y="425"/>
                </a:lnTo>
                <a:lnTo>
                  <a:pt x="2910" y="425"/>
                </a:lnTo>
                <a:lnTo>
                  <a:pt x="2914" y="425"/>
                </a:lnTo>
                <a:lnTo>
                  <a:pt x="2914" y="423"/>
                </a:lnTo>
                <a:close/>
                <a:moveTo>
                  <a:pt x="3039" y="166"/>
                </a:moveTo>
                <a:lnTo>
                  <a:pt x="3045" y="164"/>
                </a:lnTo>
                <a:lnTo>
                  <a:pt x="3033" y="163"/>
                </a:lnTo>
                <a:lnTo>
                  <a:pt x="3036" y="165"/>
                </a:lnTo>
                <a:lnTo>
                  <a:pt x="3039" y="166"/>
                </a:lnTo>
                <a:close/>
                <a:moveTo>
                  <a:pt x="2920" y="104"/>
                </a:moveTo>
                <a:lnTo>
                  <a:pt x="2923" y="103"/>
                </a:lnTo>
                <a:lnTo>
                  <a:pt x="2919" y="103"/>
                </a:lnTo>
                <a:lnTo>
                  <a:pt x="2920" y="104"/>
                </a:lnTo>
                <a:close/>
                <a:moveTo>
                  <a:pt x="2935" y="113"/>
                </a:moveTo>
                <a:lnTo>
                  <a:pt x="2935" y="115"/>
                </a:lnTo>
                <a:lnTo>
                  <a:pt x="2939" y="116"/>
                </a:lnTo>
                <a:lnTo>
                  <a:pt x="2939" y="112"/>
                </a:lnTo>
                <a:lnTo>
                  <a:pt x="2935" y="113"/>
                </a:lnTo>
                <a:close/>
                <a:moveTo>
                  <a:pt x="2915" y="104"/>
                </a:moveTo>
                <a:lnTo>
                  <a:pt x="2911" y="103"/>
                </a:lnTo>
                <a:lnTo>
                  <a:pt x="2913" y="104"/>
                </a:lnTo>
                <a:lnTo>
                  <a:pt x="2915" y="104"/>
                </a:lnTo>
                <a:close/>
                <a:moveTo>
                  <a:pt x="2782" y="552"/>
                </a:moveTo>
                <a:lnTo>
                  <a:pt x="2779" y="552"/>
                </a:lnTo>
                <a:lnTo>
                  <a:pt x="2779" y="553"/>
                </a:lnTo>
                <a:lnTo>
                  <a:pt x="2782" y="552"/>
                </a:lnTo>
                <a:close/>
                <a:moveTo>
                  <a:pt x="2939" y="116"/>
                </a:moveTo>
                <a:lnTo>
                  <a:pt x="2939" y="117"/>
                </a:lnTo>
                <a:lnTo>
                  <a:pt x="2939" y="116"/>
                </a:lnTo>
                <a:lnTo>
                  <a:pt x="2939" y="116"/>
                </a:lnTo>
                <a:close/>
                <a:moveTo>
                  <a:pt x="2886" y="116"/>
                </a:moveTo>
                <a:lnTo>
                  <a:pt x="2880" y="115"/>
                </a:lnTo>
                <a:lnTo>
                  <a:pt x="2876" y="116"/>
                </a:lnTo>
                <a:lnTo>
                  <a:pt x="2882" y="118"/>
                </a:lnTo>
                <a:lnTo>
                  <a:pt x="2886" y="116"/>
                </a:lnTo>
                <a:close/>
                <a:moveTo>
                  <a:pt x="2905" y="108"/>
                </a:moveTo>
                <a:lnTo>
                  <a:pt x="2901" y="109"/>
                </a:lnTo>
                <a:lnTo>
                  <a:pt x="2904" y="109"/>
                </a:lnTo>
                <a:lnTo>
                  <a:pt x="2905" y="108"/>
                </a:lnTo>
                <a:close/>
                <a:moveTo>
                  <a:pt x="2915" y="430"/>
                </a:moveTo>
                <a:lnTo>
                  <a:pt x="2917" y="429"/>
                </a:lnTo>
                <a:lnTo>
                  <a:pt x="2915" y="429"/>
                </a:lnTo>
                <a:lnTo>
                  <a:pt x="2915" y="430"/>
                </a:lnTo>
                <a:close/>
                <a:moveTo>
                  <a:pt x="2903" y="423"/>
                </a:moveTo>
                <a:lnTo>
                  <a:pt x="2897" y="418"/>
                </a:lnTo>
                <a:lnTo>
                  <a:pt x="2896" y="419"/>
                </a:lnTo>
                <a:lnTo>
                  <a:pt x="2898" y="425"/>
                </a:lnTo>
                <a:lnTo>
                  <a:pt x="2900" y="425"/>
                </a:lnTo>
                <a:lnTo>
                  <a:pt x="2903" y="423"/>
                </a:lnTo>
                <a:close/>
                <a:moveTo>
                  <a:pt x="2910" y="430"/>
                </a:moveTo>
                <a:lnTo>
                  <a:pt x="2914" y="430"/>
                </a:lnTo>
                <a:lnTo>
                  <a:pt x="2914" y="429"/>
                </a:lnTo>
                <a:lnTo>
                  <a:pt x="2910" y="429"/>
                </a:lnTo>
                <a:lnTo>
                  <a:pt x="2910" y="430"/>
                </a:lnTo>
                <a:close/>
                <a:moveTo>
                  <a:pt x="2900" y="429"/>
                </a:moveTo>
                <a:lnTo>
                  <a:pt x="2898" y="426"/>
                </a:lnTo>
                <a:lnTo>
                  <a:pt x="2895" y="430"/>
                </a:lnTo>
                <a:lnTo>
                  <a:pt x="2898" y="429"/>
                </a:lnTo>
                <a:lnTo>
                  <a:pt x="2900" y="429"/>
                </a:lnTo>
                <a:close/>
                <a:moveTo>
                  <a:pt x="2796" y="484"/>
                </a:moveTo>
                <a:lnTo>
                  <a:pt x="2801" y="481"/>
                </a:lnTo>
                <a:lnTo>
                  <a:pt x="2802" y="477"/>
                </a:lnTo>
                <a:lnTo>
                  <a:pt x="2801" y="476"/>
                </a:lnTo>
                <a:lnTo>
                  <a:pt x="2796" y="484"/>
                </a:lnTo>
                <a:close/>
                <a:moveTo>
                  <a:pt x="2889" y="306"/>
                </a:moveTo>
                <a:lnTo>
                  <a:pt x="2893" y="302"/>
                </a:lnTo>
                <a:lnTo>
                  <a:pt x="2886" y="302"/>
                </a:lnTo>
                <a:lnTo>
                  <a:pt x="2889" y="306"/>
                </a:lnTo>
                <a:close/>
                <a:moveTo>
                  <a:pt x="2895" y="421"/>
                </a:moveTo>
                <a:lnTo>
                  <a:pt x="2892" y="423"/>
                </a:lnTo>
                <a:lnTo>
                  <a:pt x="2896" y="423"/>
                </a:lnTo>
                <a:lnTo>
                  <a:pt x="2895" y="421"/>
                </a:lnTo>
                <a:close/>
                <a:moveTo>
                  <a:pt x="2806" y="476"/>
                </a:moveTo>
                <a:lnTo>
                  <a:pt x="2805" y="476"/>
                </a:lnTo>
                <a:lnTo>
                  <a:pt x="2802" y="477"/>
                </a:lnTo>
                <a:lnTo>
                  <a:pt x="2802" y="479"/>
                </a:lnTo>
                <a:lnTo>
                  <a:pt x="2806" y="476"/>
                </a:lnTo>
                <a:close/>
                <a:moveTo>
                  <a:pt x="2852" y="454"/>
                </a:moveTo>
                <a:lnTo>
                  <a:pt x="2847" y="454"/>
                </a:lnTo>
                <a:lnTo>
                  <a:pt x="2851" y="456"/>
                </a:lnTo>
                <a:lnTo>
                  <a:pt x="2852" y="454"/>
                </a:lnTo>
                <a:close/>
                <a:moveTo>
                  <a:pt x="2818" y="471"/>
                </a:moveTo>
                <a:lnTo>
                  <a:pt x="2816" y="471"/>
                </a:lnTo>
                <a:lnTo>
                  <a:pt x="2818" y="472"/>
                </a:lnTo>
                <a:lnTo>
                  <a:pt x="2818" y="471"/>
                </a:lnTo>
                <a:close/>
                <a:moveTo>
                  <a:pt x="2832" y="460"/>
                </a:moveTo>
                <a:lnTo>
                  <a:pt x="2831" y="460"/>
                </a:lnTo>
                <a:lnTo>
                  <a:pt x="2831" y="460"/>
                </a:lnTo>
                <a:lnTo>
                  <a:pt x="2832" y="460"/>
                </a:lnTo>
                <a:close/>
                <a:moveTo>
                  <a:pt x="2831" y="457"/>
                </a:moveTo>
                <a:lnTo>
                  <a:pt x="2831" y="457"/>
                </a:lnTo>
                <a:lnTo>
                  <a:pt x="2828" y="456"/>
                </a:lnTo>
                <a:lnTo>
                  <a:pt x="2827" y="460"/>
                </a:lnTo>
                <a:lnTo>
                  <a:pt x="2821" y="457"/>
                </a:lnTo>
                <a:lnTo>
                  <a:pt x="2820" y="461"/>
                </a:lnTo>
                <a:lnTo>
                  <a:pt x="2821" y="463"/>
                </a:lnTo>
                <a:lnTo>
                  <a:pt x="2831" y="460"/>
                </a:lnTo>
                <a:lnTo>
                  <a:pt x="2831" y="460"/>
                </a:lnTo>
                <a:lnTo>
                  <a:pt x="2831" y="457"/>
                </a:lnTo>
                <a:close/>
                <a:moveTo>
                  <a:pt x="2827" y="454"/>
                </a:moveTo>
                <a:lnTo>
                  <a:pt x="2827" y="454"/>
                </a:lnTo>
                <a:lnTo>
                  <a:pt x="2828" y="456"/>
                </a:lnTo>
                <a:lnTo>
                  <a:pt x="2828" y="455"/>
                </a:lnTo>
                <a:lnTo>
                  <a:pt x="2831" y="457"/>
                </a:lnTo>
                <a:lnTo>
                  <a:pt x="2828" y="452"/>
                </a:lnTo>
                <a:lnTo>
                  <a:pt x="2827" y="454"/>
                </a:lnTo>
                <a:close/>
                <a:moveTo>
                  <a:pt x="2831" y="457"/>
                </a:moveTo>
                <a:lnTo>
                  <a:pt x="2831" y="457"/>
                </a:lnTo>
                <a:lnTo>
                  <a:pt x="2831" y="457"/>
                </a:lnTo>
                <a:lnTo>
                  <a:pt x="2831" y="457"/>
                </a:lnTo>
                <a:close/>
                <a:moveTo>
                  <a:pt x="2883" y="426"/>
                </a:moveTo>
                <a:lnTo>
                  <a:pt x="2888" y="425"/>
                </a:lnTo>
                <a:lnTo>
                  <a:pt x="2883" y="423"/>
                </a:lnTo>
                <a:lnTo>
                  <a:pt x="2883" y="426"/>
                </a:lnTo>
                <a:close/>
                <a:moveTo>
                  <a:pt x="2774" y="178"/>
                </a:moveTo>
                <a:lnTo>
                  <a:pt x="2787" y="187"/>
                </a:lnTo>
                <a:lnTo>
                  <a:pt x="2787" y="185"/>
                </a:lnTo>
                <a:lnTo>
                  <a:pt x="2783" y="179"/>
                </a:lnTo>
                <a:lnTo>
                  <a:pt x="2775" y="176"/>
                </a:lnTo>
                <a:lnTo>
                  <a:pt x="2775" y="170"/>
                </a:lnTo>
                <a:lnTo>
                  <a:pt x="2776" y="170"/>
                </a:lnTo>
                <a:lnTo>
                  <a:pt x="2774" y="166"/>
                </a:lnTo>
                <a:lnTo>
                  <a:pt x="2765" y="164"/>
                </a:lnTo>
                <a:lnTo>
                  <a:pt x="2767" y="168"/>
                </a:lnTo>
                <a:lnTo>
                  <a:pt x="2774" y="178"/>
                </a:lnTo>
                <a:close/>
                <a:moveTo>
                  <a:pt x="2905" y="151"/>
                </a:moveTo>
                <a:lnTo>
                  <a:pt x="2904" y="151"/>
                </a:lnTo>
                <a:lnTo>
                  <a:pt x="2902" y="152"/>
                </a:lnTo>
                <a:lnTo>
                  <a:pt x="2905" y="151"/>
                </a:lnTo>
                <a:close/>
                <a:moveTo>
                  <a:pt x="2884" y="434"/>
                </a:moveTo>
                <a:lnTo>
                  <a:pt x="2888" y="433"/>
                </a:lnTo>
                <a:lnTo>
                  <a:pt x="2883" y="429"/>
                </a:lnTo>
                <a:lnTo>
                  <a:pt x="2884" y="434"/>
                </a:lnTo>
                <a:close/>
                <a:moveTo>
                  <a:pt x="2775" y="138"/>
                </a:moveTo>
                <a:lnTo>
                  <a:pt x="2768" y="136"/>
                </a:lnTo>
                <a:lnTo>
                  <a:pt x="2770" y="138"/>
                </a:lnTo>
                <a:lnTo>
                  <a:pt x="2775" y="138"/>
                </a:lnTo>
                <a:close/>
                <a:moveTo>
                  <a:pt x="2971" y="397"/>
                </a:moveTo>
                <a:lnTo>
                  <a:pt x="2972" y="398"/>
                </a:lnTo>
                <a:lnTo>
                  <a:pt x="2974" y="396"/>
                </a:lnTo>
                <a:lnTo>
                  <a:pt x="2971" y="396"/>
                </a:lnTo>
                <a:lnTo>
                  <a:pt x="2971" y="397"/>
                </a:lnTo>
                <a:close/>
                <a:moveTo>
                  <a:pt x="2985" y="234"/>
                </a:moveTo>
                <a:lnTo>
                  <a:pt x="2972" y="242"/>
                </a:lnTo>
                <a:lnTo>
                  <a:pt x="2972" y="243"/>
                </a:lnTo>
                <a:lnTo>
                  <a:pt x="2985" y="234"/>
                </a:lnTo>
                <a:lnTo>
                  <a:pt x="2985" y="234"/>
                </a:lnTo>
                <a:close/>
                <a:moveTo>
                  <a:pt x="2788" y="541"/>
                </a:moveTo>
                <a:lnTo>
                  <a:pt x="2787" y="548"/>
                </a:lnTo>
                <a:lnTo>
                  <a:pt x="2794" y="546"/>
                </a:lnTo>
                <a:lnTo>
                  <a:pt x="2788" y="541"/>
                </a:lnTo>
                <a:close/>
                <a:moveTo>
                  <a:pt x="2771" y="148"/>
                </a:moveTo>
                <a:lnTo>
                  <a:pt x="2775" y="152"/>
                </a:lnTo>
                <a:lnTo>
                  <a:pt x="2776" y="158"/>
                </a:lnTo>
                <a:lnTo>
                  <a:pt x="2784" y="154"/>
                </a:lnTo>
                <a:lnTo>
                  <a:pt x="2782" y="151"/>
                </a:lnTo>
                <a:lnTo>
                  <a:pt x="2783" y="151"/>
                </a:lnTo>
                <a:lnTo>
                  <a:pt x="2786" y="152"/>
                </a:lnTo>
                <a:lnTo>
                  <a:pt x="2789" y="151"/>
                </a:lnTo>
                <a:lnTo>
                  <a:pt x="2785" y="158"/>
                </a:lnTo>
                <a:lnTo>
                  <a:pt x="2787" y="162"/>
                </a:lnTo>
                <a:lnTo>
                  <a:pt x="2794" y="162"/>
                </a:lnTo>
                <a:lnTo>
                  <a:pt x="2796" y="163"/>
                </a:lnTo>
                <a:lnTo>
                  <a:pt x="2779" y="162"/>
                </a:lnTo>
                <a:lnTo>
                  <a:pt x="2786" y="166"/>
                </a:lnTo>
                <a:lnTo>
                  <a:pt x="2783" y="170"/>
                </a:lnTo>
                <a:lnTo>
                  <a:pt x="2786" y="173"/>
                </a:lnTo>
                <a:lnTo>
                  <a:pt x="2805" y="175"/>
                </a:lnTo>
                <a:lnTo>
                  <a:pt x="2793" y="178"/>
                </a:lnTo>
                <a:lnTo>
                  <a:pt x="2801" y="182"/>
                </a:lnTo>
                <a:lnTo>
                  <a:pt x="2802" y="186"/>
                </a:lnTo>
                <a:lnTo>
                  <a:pt x="2812" y="187"/>
                </a:lnTo>
                <a:lnTo>
                  <a:pt x="2821" y="182"/>
                </a:lnTo>
                <a:lnTo>
                  <a:pt x="2823" y="182"/>
                </a:lnTo>
                <a:lnTo>
                  <a:pt x="2827" y="182"/>
                </a:lnTo>
                <a:lnTo>
                  <a:pt x="2822" y="179"/>
                </a:lnTo>
                <a:lnTo>
                  <a:pt x="2823" y="174"/>
                </a:lnTo>
                <a:lnTo>
                  <a:pt x="2823" y="171"/>
                </a:lnTo>
                <a:lnTo>
                  <a:pt x="2827" y="170"/>
                </a:lnTo>
                <a:lnTo>
                  <a:pt x="2827" y="173"/>
                </a:lnTo>
                <a:lnTo>
                  <a:pt x="2831" y="174"/>
                </a:lnTo>
                <a:lnTo>
                  <a:pt x="2836" y="166"/>
                </a:lnTo>
                <a:lnTo>
                  <a:pt x="2838" y="168"/>
                </a:lnTo>
                <a:lnTo>
                  <a:pt x="2837" y="173"/>
                </a:lnTo>
                <a:lnTo>
                  <a:pt x="2834" y="174"/>
                </a:lnTo>
                <a:lnTo>
                  <a:pt x="2839" y="179"/>
                </a:lnTo>
                <a:lnTo>
                  <a:pt x="2846" y="178"/>
                </a:lnTo>
                <a:lnTo>
                  <a:pt x="2853" y="170"/>
                </a:lnTo>
                <a:lnTo>
                  <a:pt x="2858" y="172"/>
                </a:lnTo>
                <a:lnTo>
                  <a:pt x="2849" y="182"/>
                </a:lnTo>
                <a:lnTo>
                  <a:pt x="2842" y="182"/>
                </a:lnTo>
                <a:lnTo>
                  <a:pt x="2841" y="185"/>
                </a:lnTo>
                <a:lnTo>
                  <a:pt x="2842" y="186"/>
                </a:lnTo>
                <a:lnTo>
                  <a:pt x="2835" y="186"/>
                </a:lnTo>
                <a:lnTo>
                  <a:pt x="2831" y="190"/>
                </a:lnTo>
                <a:lnTo>
                  <a:pt x="2820" y="191"/>
                </a:lnTo>
                <a:lnTo>
                  <a:pt x="2821" y="193"/>
                </a:lnTo>
                <a:lnTo>
                  <a:pt x="2815" y="191"/>
                </a:lnTo>
                <a:lnTo>
                  <a:pt x="2811" y="192"/>
                </a:lnTo>
                <a:lnTo>
                  <a:pt x="2811" y="197"/>
                </a:lnTo>
                <a:lnTo>
                  <a:pt x="2814" y="198"/>
                </a:lnTo>
                <a:lnTo>
                  <a:pt x="2813" y="201"/>
                </a:lnTo>
                <a:lnTo>
                  <a:pt x="2816" y="202"/>
                </a:lnTo>
                <a:lnTo>
                  <a:pt x="2861" y="196"/>
                </a:lnTo>
                <a:lnTo>
                  <a:pt x="2858" y="198"/>
                </a:lnTo>
                <a:lnTo>
                  <a:pt x="2827" y="204"/>
                </a:lnTo>
                <a:lnTo>
                  <a:pt x="2849" y="210"/>
                </a:lnTo>
                <a:lnTo>
                  <a:pt x="2848" y="213"/>
                </a:lnTo>
                <a:lnTo>
                  <a:pt x="2842" y="210"/>
                </a:lnTo>
                <a:lnTo>
                  <a:pt x="2825" y="210"/>
                </a:lnTo>
                <a:lnTo>
                  <a:pt x="2821" y="210"/>
                </a:lnTo>
                <a:lnTo>
                  <a:pt x="2815" y="210"/>
                </a:lnTo>
                <a:lnTo>
                  <a:pt x="2820" y="217"/>
                </a:lnTo>
                <a:lnTo>
                  <a:pt x="2824" y="222"/>
                </a:lnTo>
                <a:lnTo>
                  <a:pt x="2832" y="222"/>
                </a:lnTo>
                <a:lnTo>
                  <a:pt x="2837" y="226"/>
                </a:lnTo>
                <a:lnTo>
                  <a:pt x="2846" y="222"/>
                </a:lnTo>
                <a:lnTo>
                  <a:pt x="2853" y="225"/>
                </a:lnTo>
                <a:lnTo>
                  <a:pt x="2839" y="229"/>
                </a:lnTo>
                <a:lnTo>
                  <a:pt x="2858" y="239"/>
                </a:lnTo>
                <a:lnTo>
                  <a:pt x="2863" y="235"/>
                </a:lnTo>
                <a:lnTo>
                  <a:pt x="2860" y="232"/>
                </a:lnTo>
                <a:lnTo>
                  <a:pt x="2863" y="226"/>
                </a:lnTo>
                <a:lnTo>
                  <a:pt x="2865" y="226"/>
                </a:lnTo>
                <a:lnTo>
                  <a:pt x="2871" y="214"/>
                </a:lnTo>
                <a:lnTo>
                  <a:pt x="2879" y="209"/>
                </a:lnTo>
                <a:lnTo>
                  <a:pt x="2881" y="201"/>
                </a:lnTo>
                <a:lnTo>
                  <a:pt x="2879" y="197"/>
                </a:lnTo>
                <a:lnTo>
                  <a:pt x="2879" y="192"/>
                </a:lnTo>
                <a:lnTo>
                  <a:pt x="2890" y="191"/>
                </a:lnTo>
                <a:lnTo>
                  <a:pt x="2887" y="185"/>
                </a:lnTo>
                <a:lnTo>
                  <a:pt x="2887" y="181"/>
                </a:lnTo>
                <a:lnTo>
                  <a:pt x="2887" y="182"/>
                </a:lnTo>
                <a:lnTo>
                  <a:pt x="2900" y="182"/>
                </a:lnTo>
                <a:lnTo>
                  <a:pt x="2898" y="177"/>
                </a:lnTo>
                <a:lnTo>
                  <a:pt x="2900" y="174"/>
                </a:lnTo>
                <a:lnTo>
                  <a:pt x="2919" y="174"/>
                </a:lnTo>
                <a:lnTo>
                  <a:pt x="2905" y="178"/>
                </a:lnTo>
                <a:lnTo>
                  <a:pt x="2913" y="181"/>
                </a:lnTo>
                <a:lnTo>
                  <a:pt x="2911" y="182"/>
                </a:lnTo>
                <a:lnTo>
                  <a:pt x="2915" y="185"/>
                </a:lnTo>
                <a:lnTo>
                  <a:pt x="2911" y="187"/>
                </a:lnTo>
                <a:lnTo>
                  <a:pt x="2931" y="185"/>
                </a:lnTo>
                <a:lnTo>
                  <a:pt x="2931" y="178"/>
                </a:lnTo>
                <a:lnTo>
                  <a:pt x="2931" y="174"/>
                </a:lnTo>
                <a:lnTo>
                  <a:pt x="2924" y="174"/>
                </a:lnTo>
                <a:lnTo>
                  <a:pt x="2926" y="166"/>
                </a:lnTo>
                <a:lnTo>
                  <a:pt x="2909" y="161"/>
                </a:lnTo>
                <a:lnTo>
                  <a:pt x="2915" y="158"/>
                </a:lnTo>
                <a:lnTo>
                  <a:pt x="2907" y="156"/>
                </a:lnTo>
                <a:lnTo>
                  <a:pt x="2904" y="159"/>
                </a:lnTo>
                <a:lnTo>
                  <a:pt x="2906" y="160"/>
                </a:lnTo>
                <a:lnTo>
                  <a:pt x="2902" y="159"/>
                </a:lnTo>
                <a:lnTo>
                  <a:pt x="2900" y="156"/>
                </a:lnTo>
                <a:lnTo>
                  <a:pt x="2887" y="154"/>
                </a:lnTo>
                <a:lnTo>
                  <a:pt x="2886" y="145"/>
                </a:lnTo>
                <a:lnTo>
                  <a:pt x="2880" y="140"/>
                </a:lnTo>
                <a:lnTo>
                  <a:pt x="2872" y="145"/>
                </a:lnTo>
                <a:lnTo>
                  <a:pt x="2871" y="143"/>
                </a:lnTo>
                <a:lnTo>
                  <a:pt x="2872" y="140"/>
                </a:lnTo>
                <a:lnTo>
                  <a:pt x="2876" y="136"/>
                </a:lnTo>
                <a:lnTo>
                  <a:pt x="2863" y="130"/>
                </a:lnTo>
                <a:lnTo>
                  <a:pt x="2860" y="129"/>
                </a:lnTo>
                <a:lnTo>
                  <a:pt x="2858" y="132"/>
                </a:lnTo>
                <a:lnTo>
                  <a:pt x="2854" y="126"/>
                </a:lnTo>
                <a:lnTo>
                  <a:pt x="2849" y="126"/>
                </a:lnTo>
                <a:lnTo>
                  <a:pt x="2845" y="129"/>
                </a:lnTo>
                <a:lnTo>
                  <a:pt x="2848" y="132"/>
                </a:lnTo>
                <a:lnTo>
                  <a:pt x="2841" y="133"/>
                </a:lnTo>
                <a:lnTo>
                  <a:pt x="2845" y="151"/>
                </a:lnTo>
                <a:lnTo>
                  <a:pt x="2853" y="164"/>
                </a:lnTo>
                <a:lnTo>
                  <a:pt x="2843" y="154"/>
                </a:lnTo>
                <a:lnTo>
                  <a:pt x="2842" y="156"/>
                </a:lnTo>
                <a:lnTo>
                  <a:pt x="2843" y="152"/>
                </a:lnTo>
                <a:lnTo>
                  <a:pt x="2839" y="151"/>
                </a:lnTo>
                <a:lnTo>
                  <a:pt x="2835" y="140"/>
                </a:lnTo>
                <a:lnTo>
                  <a:pt x="2826" y="132"/>
                </a:lnTo>
                <a:lnTo>
                  <a:pt x="2815" y="143"/>
                </a:lnTo>
                <a:lnTo>
                  <a:pt x="2820" y="151"/>
                </a:lnTo>
                <a:lnTo>
                  <a:pt x="2819" y="152"/>
                </a:lnTo>
                <a:lnTo>
                  <a:pt x="2812" y="146"/>
                </a:lnTo>
                <a:lnTo>
                  <a:pt x="2807" y="146"/>
                </a:lnTo>
                <a:lnTo>
                  <a:pt x="2809" y="142"/>
                </a:lnTo>
                <a:lnTo>
                  <a:pt x="2794" y="142"/>
                </a:lnTo>
                <a:lnTo>
                  <a:pt x="2816" y="136"/>
                </a:lnTo>
                <a:lnTo>
                  <a:pt x="2815" y="132"/>
                </a:lnTo>
                <a:lnTo>
                  <a:pt x="2797" y="135"/>
                </a:lnTo>
                <a:lnTo>
                  <a:pt x="2789" y="132"/>
                </a:lnTo>
                <a:lnTo>
                  <a:pt x="2791" y="136"/>
                </a:lnTo>
                <a:lnTo>
                  <a:pt x="2791" y="138"/>
                </a:lnTo>
                <a:lnTo>
                  <a:pt x="2782" y="132"/>
                </a:lnTo>
                <a:lnTo>
                  <a:pt x="2775" y="135"/>
                </a:lnTo>
                <a:lnTo>
                  <a:pt x="2779" y="141"/>
                </a:lnTo>
                <a:lnTo>
                  <a:pt x="2771" y="142"/>
                </a:lnTo>
                <a:lnTo>
                  <a:pt x="2768" y="142"/>
                </a:lnTo>
                <a:lnTo>
                  <a:pt x="2771" y="145"/>
                </a:lnTo>
                <a:lnTo>
                  <a:pt x="2771" y="148"/>
                </a:lnTo>
                <a:close/>
                <a:moveTo>
                  <a:pt x="2816" y="475"/>
                </a:moveTo>
                <a:lnTo>
                  <a:pt x="2814" y="475"/>
                </a:lnTo>
                <a:lnTo>
                  <a:pt x="2807" y="475"/>
                </a:lnTo>
                <a:lnTo>
                  <a:pt x="2806" y="479"/>
                </a:lnTo>
                <a:lnTo>
                  <a:pt x="2807" y="479"/>
                </a:lnTo>
                <a:lnTo>
                  <a:pt x="2816" y="475"/>
                </a:lnTo>
                <a:close/>
                <a:moveTo>
                  <a:pt x="2897" y="426"/>
                </a:moveTo>
                <a:lnTo>
                  <a:pt x="2896" y="425"/>
                </a:lnTo>
                <a:lnTo>
                  <a:pt x="2892" y="426"/>
                </a:lnTo>
                <a:lnTo>
                  <a:pt x="2891" y="423"/>
                </a:lnTo>
                <a:lnTo>
                  <a:pt x="2883" y="429"/>
                </a:lnTo>
                <a:lnTo>
                  <a:pt x="2889" y="430"/>
                </a:lnTo>
                <a:lnTo>
                  <a:pt x="2897" y="426"/>
                </a:lnTo>
                <a:close/>
                <a:moveTo>
                  <a:pt x="2888" y="421"/>
                </a:moveTo>
                <a:lnTo>
                  <a:pt x="2889" y="423"/>
                </a:lnTo>
                <a:lnTo>
                  <a:pt x="2891" y="423"/>
                </a:lnTo>
                <a:lnTo>
                  <a:pt x="2891" y="419"/>
                </a:lnTo>
                <a:lnTo>
                  <a:pt x="2888" y="421"/>
                </a:lnTo>
                <a:close/>
                <a:moveTo>
                  <a:pt x="2795" y="527"/>
                </a:moveTo>
                <a:lnTo>
                  <a:pt x="2794" y="524"/>
                </a:lnTo>
                <a:lnTo>
                  <a:pt x="2790" y="529"/>
                </a:lnTo>
                <a:lnTo>
                  <a:pt x="2795" y="527"/>
                </a:lnTo>
                <a:close/>
                <a:moveTo>
                  <a:pt x="2814" y="471"/>
                </a:moveTo>
                <a:lnTo>
                  <a:pt x="2813" y="471"/>
                </a:lnTo>
                <a:lnTo>
                  <a:pt x="2814" y="472"/>
                </a:lnTo>
                <a:lnTo>
                  <a:pt x="2814" y="471"/>
                </a:lnTo>
                <a:close/>
                <a:moveTo>
                  <a:pt x="1045" y="488"/>
                </a:moveTo>
                <a:lnTo>
                  <a:pt x="1043" y="488"/>
                </a:lnTo>
                <a:lnTo>
                  <a:pt x="1043" y="493"/>
                </a:lnTo>
                <a:lnTo>
                  <a:pt x="1046" y="492"/>
                </a:lnTo>
                <a:lnTo>
                  <a:pt x="1045" y="488"/>
                </a:lnTo>
                <a:close/>
                <a:moveTo>
                  <a:pt x="1807" y="335"/>
                </a:moveTo>
                <a:lnTo>
                  <a:pt x="1802" y="334"/>
                </a:lnTo>
                <a:lnTo>
                  <a:pt x="1806" y="335"/>
                </a:lnTo>
                <a:lnTo>
                  <a:pt x="1807" y="335"/>
                </a:lnTo>
                <a:close/>
                <a:moveTo>
                  <a:pt x="1807" y="354"/>
                </a:moveTo>
                <a:lnTo>
                  <a:pt x="1803" y="359"/>
                </a:lnTo>
                <a:lnTo>
                  <a:pt x="1810" y="359"/>
                </a:lnTo>
                <a:lnTo>
                  <a:pt x="1816" y="353"/>
                </a:lnTo>
                <a:lnTo>
                  <a:pt x="1813" y="350"/>
                </a:lnTo>
                <a:lnTo>
                  <a:pt x="1807" y="354"/>
                </a:lnTo>
                <a:close/>
                <a:moveTo>
                  <a:pt x="1804" y="336"/>
                </a:moveTo>
                <a:lnTo>
                  <a:pt x="1803" y="337"/>
                </a:lnTo>
                <a:lnTo>
                  <a:pt x="1807" y="337"/>
                </a:lnTo>
                <a:lnTo>
                  <a:pt x="1806" y="337"/>
                </a:lnTo>
                <a:lnTo>
                  <a:pt x="1810" y="336"/>
                </a:lnTo>
                <a:lnTo>
                  <a:pt x="1806" y="335"/>
                </a:lnTo>
                <a:lnTo>
                  <a:pt x="1805" y="336"/>
                </a:lnTo>
                <a:lnTo>
                  <a:pt x="1804" y="336"/>
                </a:lnTo>
                <a:close/>
                <a:moveTo>
                  <a:pt x="1802" y="334"/>
                </a:moveTo>
                <a:lnTo>
                  <a:pt x="1802" y="334"/>
                </a:lnTo>
                <a:lnTo>
                  <a:pt x="1802" y="334"/>
                </a:lnTo>
                <a:lnTo>
                  <a:pt x="1804" y="334"/>
                </a:lnTo>
                <a:lnTo>
                  <a:pt x="1801" y="333"/>
                </a:lnTo>
                <a:lnTo>
                  <a:pt x="1801" y="334"/>
                </a:lnTo>
                <a:lnTo>
                  <a:pt x="1800" y="334"/>
                </a:lnTo>
                <a:lnTo>
                  <a:pt x="1801" y="334"/>
                </a:lnTo>
                <a:lnTo>
                  <a:pt x="1800" y="334"/>
                </a:lnTo>
                <a:lnTo>
                  <a:pt x="1802" y="334"/>
                </a:lnTo>
                <a:close/>
                <a:moveTo>
                  <a:pt x="1810" y="359"/>
                </a:moveTo>
                <a:lnTo>
                  <a:pt x="1810" y="359"/>
                </a:lnTo>
                <a:lnTo>
                  <a:pt x="1808" y="360"/>
                </a:lnTo>
                <a:lnTo>
                  <a:pt x="1810" y="359"/>
                </a:lnTo>
                <a:close/>
                <a:moveTo>
                  <a:pt x="1780" y="788"/>
                </a:moveTo>
                <a:lnTo>
                  <a:pt x="1781" y="788"/>
                </a:lnTo>
                <a:lnTo>
                  <a:pt x="1780" y="786"/>
                </a:lnTo>
                <a:lnTo>
                  <a:pt x="1780" y="788"/>
                </a:lnTo>
                <a:close/>
                <a:moveTo>
                  <a:pt x="1801" y="323"/>
                </a:moveTo>
                <a:lnTo>
                  <a:pt x="1790" y="321"/>
                </a:lnTo>
                <a:lnTo>
                  <a:pt x="1796" y="325"/>
                </a:lnTo>
                <a:lnTo>
                  <a:pt x="1801" y="323"/>
                </a:lnTo>
                <a:close/>
                <a:moveTo>
                  <a:pt x="1222" y="348"/>
                </a:moveTo>
                <a:lnTo>
                  <a:pt x="1224" y="348"/>
                </a:lnTo>
                <a:lnTo>
                  <a:pt x="1222" y="347"/>
                </a:lnTo>
                <a:lnTo>
                  <a:pt x="1222" y="348"/>
                </a:lnTo>
                <a:close/>
                <a:moveTo>
                  <a:pt x="1095" y="479"/>
                </a:moveTo>
                <a:lnTo>
                  <a:pt x="1097" y="476"/>
                </a:lnTo>
                <a:lnTo>
                  <a:pt x="1094" y="477"/>
                </a:lnTo>
                <a:lnTo>
                  <a:pt x="1095" y="479"/>
                </a:lnTo>
                <a:close/>
                <a:moveTo>
                  <a:pt x="1046" y="499"/>
                </a:moveTo>
                <a:lnTo>
                  <a:pt x="1046" y="493"/>
                </a:lnTo>
                <a:lnTo>
                  <a:pt x="1043" y="496"/>
                </a:lnTo>
                <a:lnTo>
                  <a:pt x="1046" y="499"/>
                </a:lnTo>
                <a:close/>
                <a:moveTo>
                  <a:pt x="1719" y="729"/>
                </a:moveTo>
                <a:lnTo>
                  <a:pt x="1716" y="728"/>
                </a:lnTo>
                <a:lnTo>
                  <a:pt x="1715" y="729"/>
                </a:lnTo>
                <a:lnTo>
                  <a:pt x="1719" y="729"/>
                </a:lnTo>
                <a:close/>
                <a:moveTo>
                  <a:pt x="1456" y="839"/>
                </a:moveTo>
                <a:lnTo>
                  <a:pt x="1456" y="840"/>
                </a:lnTo>
                <a:lnTo>
                  <a:pt x="1460" y="840"/>
                </a:lnTo>
                <a:lnTo>
                  <a:pt x="1461" y="837"/>
                </a:lnTo>
                <a:lnTo>
                  <a:pt x="1456" y="839"/>
                </a:lnTo>
                <a:close/>
                <a:moveTo>
                  <a:pt x="1284" y="435"/>
                </a:moveTo>
                <a:lnTo>
                  <a:pt x="1284" y="431"/>
                </a:lnTo>
                <a:lnTo>
                  <a:pt x="1281" y="433"/>
                </a:lnTo>
                <a:lnTo>
                  <a:pt x="1284" y="435"/>
                </a:lnTo>
                <a:close/>
                <a:moveTo>
                  <a:pt x="1802" y="925"/>
                </a:moveTo>
                <a:lnTo>
                  <a:pt x="1797" y="927"/>
                </a:lnTo>
                <a:lnTo>
                  <a:pt x="1802" y="926"/>
                </a:lnTo>
                <a:lnTo>
                  <a:pt x="1802" y="925"/>
                </a:lnTo>
                <a:lnTo>
                  <a:pt x="1802" y="925"/>
                </a:lnTo>
                <a:close/>
                <a:moveTo>
                  <a:pt x="1799" y="342"/>
                </a:moveTo>
                <a:lnTo>
                  <a:pt x="1799" y="341"/>
                </a:lnTo>
                <a:lnTo>
                  <a:pt x="1796" y="342"/>
                </a:lnTo>
                <a:lnTo>
                  <a:pt x="1799" y="342"/>
                </a:lnTo>
                <a:close/>
                <a:moveTo>
                  <a:pt x="3354" y="124"/>
                </a:moveTo>
                <a:lnTo>
                  <a:pt x="3346" y="130"/>
                </a:lnTo>
                <a:lnTo>
                  <a:pt x="3339" y="130"/>
                </a:lnTo>
                <a:lnTo>
                  <a:pt x="3359" y="130"/>
                </a:lnTo>
                <a:lnTo>
                  <a:pt x="3354" y="124"/>
                </a:lnTo>
                <a:close/>
                <a:moveTo>
                  <a:pt x="1799" y="809"/>
                </a:moveTo>
                <a:lnTo>
                  <a:pt x="1802" y="811"/>
                </a:lnTo>
                <a:lnTo>
                  <a:pt x="1802" y="809"/>
                </a:lnTo>
                <a:lnTo>
                  <a:pt x="1800" y="809"/>
                </a:lnTo>
                <a:lnTo>
                  <a:pt x="1799" y="809"/>
                </a:lnTo>
                <a:close/>
                <a:moveTo>
                  <a:pt x="2743" y="590"/>
                </a:moveTo>
                <a:lnTo>
                  <a:pt x="2740" y="590"/>
                </a:lnTo>
                <a:lnTo>
                  <a:pt x="2731" y="595"/>
                </a:lnTo>
                <a:lnTo>
                  <a:pt x="2735" y="595"/>
                </a:lnTo>
                <a:lnTo>
                  <a:pt x="2743" y="590"/>
                </a:lnTo>
                <a:close/>
                <a:moveTo>
                  <a:pt x="1813" y="355"/>
                </a:moveTo>
                <a:lnTo>
                  <a:pt x="1813" y="360"/>
                </a:lnTo>
                <a:lnTo>
                  <a:pt x="1816" y="358"/>
                </a:lnTo>
                <a:lnTo>
                  <a:pt x="1816" y="355"/>
                </a:lnTo>
                <a:lnTo>
                  <a:pt x="1819" y="355"/>
                </a:lnTo>
                <a:lnTo>
                  <a:pt x="1816" y="353"/>
                </a:lnTo>
                <a:lnTo>
                  <a:pt x="1815" y="355"/>
                </a:lnTo>
                <a:lnTo>
                  <a:pt x="1813" y="355"/>
                </a:lnTo>
                <a:close/>
                <a:moveTo>
                  <a:pt x="1803" y="890"/>
                </a:moveTo>
                <a:lnTo>
                  <a:pt x="1803" y="889"/>
                </a:lnTo>
                <a:lnTo>
                  <a:pt x="1803" y="890"/>
                </a:lnTo>
                <a:lnTo>
                  <a:pt x="1803" y="890"/>
                </a:lnTo>
                <a:lnTo>
                  <a:pt x="1803" y="890"/>
                </a:lnTo>
                <a:close/>
                <a:moveTo>
                  <a:pt x="3102" y="120"/>
                </a:moveTo>
                <a:lnTo>
                  <a:pt x="3070" y="124"/>
                </a:lnTo>
                <a:lnTo>
                  <a:pt x="3072" y="125"/>
                </a:lnTo>
                <a:lnTo>
                  <a:pt x="3102" y="120"/>
                </a:lnTo>
                <a:close/>
                <a:moveTo>
                  <a:pt x="1807" y="348"/>
                </a:moveTo>
                <a:lnTo>
                  <a:pt x="1812" y="349"/>
                </a:lnTo>
                <a:lnTo>
                  <a:pt x="1815" y="348"/>
                </a:lnTo>
                <a:lnTo>
                  <a:pt x="1808" y="346"/>
                </a:lnTo>
                <a:lnTo>
                  <a:pt x="1807" y="348"/>
                </a:lnTo>
                <a:close/>
                <a:moveTo>
                  <a:pt x="1803" y="336"/>
                </a:moveTo>
                <a:lnTo>
                  <a:pt x="1801" y="336"/>
                </a:lnTo>
                <a:lnTo>
                  <a:pt x="1800" y="337"/>
                </a:lnTo>
                <a:lnTo>
                  <a:pt x="1803" y="336"/>
                </a:lnTo>
                <a:close/>
                <a:moveTo>
                  <a:pt x="1808" y="352"/>
                </a:moveTo>
                <a:lnTo>
                  <a:pt x="1812" y="350"/>
                </a:lnTo>
                <a:lnTo>
                  <a:pt x="1808" y="350"/>
                </a:lnTo>
                <a:lnTo>
                  <a:pt x="1808" y="352"/>
                </a:lnTo>
                <a:close/>
                <a:moveTo>
                  <a:pt x="1801" y="358"/>
                </a:moveTo>
                <a:lnTo>
                  <a:pt x="1807" y="353"/>
                </a:lnTo>
                <a:lnTo>
                  <a:pt x="1799" y="355"/>
                </a:lnTo>
                <a:lnTo>
                  <a:pt x="1801" y="358"/>
                </a:lnTo>
                <a:close/>
                <a:moveTo>
                  <a:pt x="2828" y="465"/>
                </a:moveTo>
                <a:lnTo>
                  <a:pt x="2831" y="461"/>
                </a:lnTo>
                <a:lnTo>
                  <a:pt x="2831" y="460"/>
                </a:lnTo>
                <a:lnTo>
                  <a:pt x="2827" y="463"/>
                </a:lnTo>
                <a:lnTo>
                  <a:pt x="2828" y="465"/>
                </a:lnTo>
                <a:close/>
                <a:moveTo>
                  <a:pt x="1803" y="339"/>
                </a:moveTo>
                <a:lnTo>
                  <a:pt x="1801" y="341"/>
                </a:lnTo>
                <a:lnTo>
                  <a:pt x="1800" y="344"/>
                </a:lnTo>
                <a:lnTo>
                  <a:pt x="1803" y="339"/>
                </a:lnTo>
                <a:close/>
                <a:moveTo>
                  <a:pt x="3336" y="117"/>
                </a:moveTo>
                <a:lnTo>
                  <a:pt x="3331" y="120"/>
                </a:lnTo>
                <a:lnTo>
                  <a:pt x="3335" y="124"/>
                </a:lnTo>
                <a:lnTo>
                  <a:pt x="3343" y="120"/>
                </a:lnTo>
                <a:lnTo>
                  <a:pt x="3336" y="117"/>
                </a:lnTo>
                <a:close/>
                <a:moveTo>
                  <a:pt x="3280" y="105"/>
                </a:moveTo>
                <a:lnTo>
                  <a:pt x="3281" y="112"/>
                </a:lnTo>
                <a:lnTo>
                  <a:pt x="3298" y="104"/>
                </a:lnTo>
                <a:lnTo>
                  <a:pt x="3301" y="105"/>
                </a:lnTo>
                <a:lnTo>
                  <a:pt x="3299" y="102"/>
                </a:lnTo>
                <a:lnTo>
                  <a:pt x="3306" y="99"/>
                </a:lnTo>
                <a:lnTo>
                  <a:pt x="3310" y="102"/>
                </a:lnTo>
                <a:lnTo>
                  <a:pt x="3320" y="104"/>
                </a:lnTo>
                <a:lnTo>
                  <a:pt x="3315" y="101"/>
                </a:lnTo>
                <a:lnTo>
                  <a:pt x="3318" y="101"/>
                </a:lnTo>
                <a:lnTo>
                  <a:pt x="3317" y="101"/>
                </a:lnTo>
                <a:lnTo>
                  <a:pt x="3302" y="96"/>
                </a:lnTo>
                <a:lnTo>
                  <a:pt x="3295" y="100"/>
                </a:lnTo>
                <a:lnTo>
                  <a:pt x="3264" y="104"/>
                </a:lnTo>
                <a:lnTo>
                  <a:pt x="3274" y="107"/>
                </a:lnTo>
                <a:lnTo>
                  <a:pt x="3280" y="105"/>
                </a:lnTo>
                <a:close/>
                <a:moveTo>
                  <a:pt x="819" y="898"/>
                </a:moveTo>
                <a:lnTo>
                  <a:pt x="823" y="901"/>
                </a:lnTo>
                <a:lnTo>
                  <a:pt x="818" y="897"/>
                </a:lnTo>
                <a:lnTo>
                  <a:pt x="819" y="898"/>
                </a:lnTo>
                <a:close/>
                <a:moveTo>
                  <a:pt x="820" y="889"/>
                </a:moveTo>
                <a:lnTo>
                  <a:pt x="820" y="890"/>
                </a:lnTo>
                <a:lnTo>
                  <a:pt x="822" y="889"/>
                </a:lnTo>
                <a:lnTo>
                  <a:pt x="822" y="889"/>
                </a:lnTo>
                <a:lnTo>
                  <a:pt x="820" y="889"/>
                </a:lnTo>
                <a:close/>
                <a:moveTo>
                  <a:pt x="2739" y="584"/>
                </a:moveTo>
                <a:lnTo>
                  <a:pt x="2732" y="587"/>
                </a:lnTo>
                <a:lnTo>
                  <a:pt x="2739" y="585"/>
                </a:lnTo>
                <a:lnTo>
                  <a:pt x="2739" y="584"/>
                </a:lnTo>
                <a:close/>
                <a:moveTo>
                  <a:pt x="3346" y="89"/>
                </a:moveTo>
                <a:lnTo>
                  <a:pt x="3345" y="89"/>
                </a:lnTo>
                <a:lnTo>
                  <a:pt x="3343" y="89"/>
                </a:lnTo>
                <a:lnTo>
                  <a:pt x="3346" y="89"/>
                </a:lnTo>
                <a:close/>
                <a:moveTo>
                  <a:pt x="831" y="908"/>
                </a:moveTo>
                <a:lnTo>
                  <a:pt x="831" y="905"/>
                </a:lnTo>
                <a:lnTo>
                  <a:pt x="829" y="908"/>
                </a:lnTo>
                <a:lnTo>
                  <a:pt x="831" y="908"/>
                </a:lnTo>
                <a:close/>
                <a:moveTo>
                  <a:pt x="3333" y="105"/>
                </a:moveTo>
                <a:lnTo>
                  <a:pt x="3328" y="105"/>
                </a:lnTo>
                <a:lnTo>
                  <a:pt x="3328" y="105"/>
                </a:lnTo>
                <a:lnTo>
                  <a:pt x="3329" y="105"/>
                </a:lnTo>
                <a:lnTo>
                  <a:pt x="3326" y="107"/>
                </a:lnTo>
                <a:lnTo>
                  <a:pt x="3315" y="105"/>
                </a:lnTo>
                <a:lnTo>
                  <a:pt x="3301" y="112"/>
                </a:lnTo>
                <a:lnTo>
                  <a:pt x="3310" y="108"/>
                </a:lnTo>
                <a:lnTo>
                  <a:pt x="3314" y="112"/>
                </a:lnTo>
                <a:lnTo>
                  <a:pt x="3303" y="113"/>
                </a:lnTo>
                <a:lnTo>
                  <a:pt x="3313" y="115"/>
                </a:lnTo>
                <a:lnTo>
                  <a:pt x="3295" y="113"/>
                </a:lnTo>
                <a:lnTo>
                  <a:pt x="3293" y="115"/>
                </a:lnTo>
                <a:lnTo>
                  <a:pt x="3290" y="116"/>
                </a:lnTo>
                <a:lnTo>
                  <a:pt x="3293" y="118"/>
                </a:lnTo>
                <a:lnTo>
                  <a:pt x="3295" y="120"/>
                </a:lnTo>
                <a:lnTo>
                  <a:pt x="3302" y="117"/>
                </a:lnTo>
                <a:lnTo>
                  <a:pt x="3306" y="118"/>
                </a:lnTo>
                <a:lnTo>
                  <a:pt x="3310" y="119"/>
                </a:lnTo>
                <a:lnTo>
                  <a:pt x="3305" y="120"/>
                </a:lnTo>
                <a:lnTo>
                  <a:pt x="3301" y="123"/>
                </a:lnTo>
                <a:lnTo>
                  <a:pt x="3301" y="124"/>
                </a:lnTo>
                <a:lnTo>
                  <a:pt x="3312" y="123"/>
                </a:lnTo>
                <a:lnTo>
                  <a:pt x="3313" y="120"/>
                </a:lnTo>
                <a:lnTo>
                  <a:pt x="3313" y="122"/>
                </a:lnTo>
                <a:lnTo>
                  <a:pt x="3325" y="122"/>
                </a:lnTo>
                <a:lnTo>
                  <a:pt x="3320" y="118"/>
                </a:lnTo>
                <a:lnTo>
                  <a:pt x="3317" y="118"/>
                </a:lnTo>
                <a:lnTo>
                  <a:pt x="3319" y="116"/>
                </a:lnTo>
                <a:lnTo>
                  <a:pt x="3321" y="114"/>
                </a:lnTo>
                <a:lnTo>
                  <a:pt x="3335" y="114"/>
                </a:lnTo>
                <a:lnTo>
                  <a:pt x="3335" y="110"/>
                </a:lnTo>
                <a:lnTo>
                  <a:pt x="3335" y="108"/>
                </a:lnTo>
                <a:lnTo>
                  <a:pt x="3352" y="107"/>
                </a:lnTo>
                <a:lnTo>
                  <a:pt x="3362" y="100"/>
                </a:lnTo>
                <a:lnTo>
                  <a:pt x="3359" y="100"/>
                </a:lnTo>
                <a:lnTo>
                  <a:pt x="3356" y="99"/>
                </a:lnTo>
                <a:lnTo>
                  <a:pt x="3349" y="100"/>
                </a:lnTo>
                <a:lnTo>
                  <a:pt x="3342" y="100"/>
                </a:lnTo>
                <a:lnTo>
                  <a:pt x="3354" y="96"/>
                </a:lnTo>
                <a:lnTo>
                  <a:pt x="3350" y="94"/>
                </a:lnTo>
                <a:lnTo>
                  <a:pt x="3340" y="97"/>
                </a:lnTo>
                <a:lnTo>
                  <a:pt x="3323" y="101"/>
                </a:lnTo>
                <a:lnTo>
                  <a:pt x="3335" y="101"/>
                </a:lnTo>
                <a:lnTo>
                  <a:pt x="3333" y="105"/>
                </a:lnTo>
                <a:close/>
                <a:moveTo>
                  <a:pt x="3231" y="510"/>
                </a:moveTo>
                <a:lnTo>
                  <a:pt x="3229" y="510"/>
                </a:lnTo>
                <a:lnTo>
                  <a:pt x="3232" y="511"/>
                </a:lnTo>
                <a:lnTo>
                  <a:pt x="3231" y="510"/>
                </a:lnTo>
                <a:close/>
                <a:moveTo>
                  <a:pt x="3109" y="443"/>
                </a:moveTo>
                <a:lnTo>
                  <a:pt x="3105" y="443"/>
                </a:lnTo>
                <a:lnTo>
                  <a:pt x="3112" y="445"/>
                </a:lnTo>
                <a:lnTo>
                  <a:pt x="3109" y="443"/>
                </a:lnTo>
                <a:close/>
                <a:moveTo>
                  <a:pt x="1367" y="1528"/>
                </a:moveTo>
                <a:lnTo>
                  <a:pt x="1356" y="1516"/>
                </a:lnTo>
                <a:lnTo>
                  <a:pt x="1350" y="1509"/>
                </a:lnTo>
                <a:lnTo>
                  <a:pt x="1337" y="1499"/>
                </a:lnTo>
                <a:lnTo>
                  <a:pt x="1338" y="1496"/>
                </a:lnTo>
                <a:lnTo>
                  <a:pt x="1341" y="1499"/>
                </a:lnTo>
                <a:lnTo>
                  <a:pt x="1341" y="1499"/>
                </a:lnTo>
                <a:lnTo>
                  <a:pt x="1343" y="1499"/>
                </a:lnTo>
                <a:lnTo>
                  <a:pt x="1341" y="1497"/>
                </a:lnTo>
                <a:lnTo>
                  <a:pt x="1340" y="1495"/>
                </a:lnTo>
                <a:lnTo>
                  <a:pt x="1338" y="1495"/>
                </a:lnTo>
                <a:lnTo>
                  <a:pt x="1340" y="1491"/>
                </a:lnTo>
                <a:lnTo>
                  <a:pt x="1338" y="1491"/>
                </a:lnTo>
                <a:lnTo>
                  <a:pt x="1340" y="1486"/>
                </a:lnTo>
                <a:lnTo>
                  <a:pt x="1338" y="1485"/>
                </a:lnTo>
                <a:lnTo>
                  <a:pt x="1337" y="1486"/>
                </a:lnTo>
                <a:lnTo>
                  <a:pt x="1336" y="1491"/>
                </a:lnTo>
                <a:lnTo>
                  <a:pt x="1335" y="1491"/>
                </a:lnTo>
                <a:lnTo>
                  <a:pt x="1336" y="1492"/>
                </a:lnTo>
                <a:lnTo>
                  <a:pt x="1335" y="1494"/>
                </a:lnTo>
                <a:lnTo>
                  <a:pt x="1324" y="1492"/>
                </a:lnTo>
                <a:lnTo>
                  <a:pt x="1325" y="1495"/>
                </a:lnTo>
                <a:lnTo>
                  <a:pt x="1315" y="1491"/>
                </a:lnTo>
                <a:lnTo>
                  <a:pt x="1309" y="1491"/>
                </a:lnTo>
                <a:lnTo>
                  <a:pt x="1306" y="1487"/>
                </a:lnTo>
                <a:lnTo>
                  <a:pt x="1305" y="1487"/>
                </a:lnTo>
                <a:lnTo>
                  <a:pt x="1303" y="1489"/>
                </a:lnTo>
                <a:lnTo>
                  <a:pt x="1295" y="1487"/>
                </a:lnTo>
                <a:lnTo>
                  <a:pt x="1283" y="1487"/>
                </a:lnTo>
                <a:lnTo>
                  <a:pt x="1270" y="1476"/>
                </a:lnTo>
                <a:lnTo>
                  <a:pt x="1272" y="1470"/>
                </a:lnTo>
                <a:lnTo>
                  <a:pt x="1265" y="1465"/>
                </a:lnTo>
                <a:lnTo>
                  <a:pt x="1265" y="1463"/>
                </a:lnTo>
                <a:lnTo>
                  <a:pt x="1262" y="1461"/>
                </a:lnTo>
                <a:lnTo>
                  <a:pt x="1248" y="1449"/>
                </a:lnTo>
                <a:lnTo>
                  <a:pt x="1241" y="1446"/>
                </a:lnTo>
                <a:lnTo>
                  <a:pt x="1241" y="1448"/>
                </a:lnTo>
                <a:lnTo>
                  <a:pt x="1248" y="1450"/>
                </a:lnTo>
                <a:lnTo>
                  <a:pt x="1239" y="1448"/>
                </a:lnTo>
                <a:lnTo>
                  <a:pt x="1241" y="1447"/>
                </a:lnTo>
                <a:lnTo>
                  <a:pt x="1239" y="1447"/>
                </a:lnTo>
                <a:lnTo>
                  <a:pt x="1237" y="1448"/>
                </a:lnTo>
                <a:lnTo>
                  <a:pt x="1237" y="1444"/>
                </a:lnTo>
                <a:lnTo>
                  <a:pt x="1234" y="1447"/>
                </a:lnTo>
                <a:lnTo>
                  <a:pt x="1238" y="1451"/>
                </a:lnTo>
                <a:lnTo>
                  <a:pt x="1231" y="1451"/>
                </a:lnTo>
                <a:lnTo>
                  <a:pt x="1230" y="1451"/>
                </a:lnTo>
                <a:lnTo>
                  <a:pt x="1214" y="1455"/>
                </a:lnTo>
                <a:lnTo>
                  <a:pt x="1203" y="1453"/>
                </a:lnTo>
                <a:lnTo>
                  <a:pt x="1194" y="1450"/>
                </a:lnTo>
                <a:lnTo>
                  <a:pt x="1189" y="1448"/>
                </a:lnTo>
                <a:lnTo>
                  <a:pt x="1183" y="1446"/>
                </a:lnTo>
                <a:lnTo>
                  <a:pt x="1181" y="1442"/>
                </a:lnTo>
                <a:lnTo>
                  <a:pt x="1167" y="1438"/>
                </a:lnTo>
                <a:lnTo>
                  <a:pt x="1164" y="1437"/>
                </a:lnTo>
                <a:lnTo>
                  <a:pt x="1147" y="1431"/>
                </a:lnTo>
                <a:lnTo>
                  <a:pt x="1137" y="1425"/>
                </a:lnTo>
                <a:lnTo>
                  <a:pt x="1133" y="1419"/>
                </a:lnTo>
                <a:lnTo>
                  <a:pt x="1129" y="1422"/>
                </a:lnTo>
                <a:lnTo>
                  <a:pt x="1112" y="1415"/>
                </a:lnTo>
                <a:lnTo>
                  <a:pt x="1104" y="1407"/>
                </a:lnTo>
                <a:lnTo>
                  <a:pt x="1090" y="1400"/>
                </a:lnTo>
                <a:lnTo>
                  <a:pt x="1081" y="1392"/>
                </a:lnTo>
                <a:lnTo>
                  <a:pt x="1079" y="1384"/>
                </a:lnTo>
                <a:lnTo>
                  <a:pt x="1085" y="1382"/>
                </a:lnTo>
                <a:lnTo>
                  <a:pt x="1084" y="1379"/>
                </a:lnTo>
                <a:lnTo>
                  <a:pt x="1080" y="1379"/>
                </a:lnTo>
                <a:lnTo>
                  <a:pt x="1084" y="1374"/>
                </a:lnTo>
                <a:lnTo>
                  <a:pt x="1086" y="1369"/>
                </a:lnTo>
                <a:lnTo>
                  <a:pt x="1079" y="1365"/>
                </a:lnTo>
                <a:lnTo>
                  <a:pt x="1076" y="1359"/>
                </a:lnTo>
                <a:lnTo>
                  <a:pt x="1076" y="1354"/>
                </a:lnTo>
                <a:lnTo>
                  <a:pt x="1075" y="1349"/>
                </a:lnTo>
                <a:lnTo>
                  <a:pt x="1068" y="1341"/>
                </a:lnTo>
                <a:lnTo>
                  <a:pt x="1059" y="1330"/>
                </a:lnTo>
                <a:lnTo>
                  <a:pt x="1049" y="1322"/>
                </a:lnTo>
                <a:lnTo>
                  <a:pt x="1048" y="1322"/>
                </a:lnTo>
                <a:lnTo>
                  <a:pt x="1048" y="1319"/>
                </a:lnTo>
                <a:lnTo>
                  <a:pt x="1048" y="1320"/>
                </a:lnTo>
                <a:lnTo>
                  <a:pt x="1046" y="1317"/>
                </a:lnTo>
                <a:lnTo>
                  <a:pt x="1047" y="1319"/>
                </a:lnTo>
                <a:lnTo>
                  <a:pt x="1044" y="1317"/>
                </a:lnTo>
                <a:lnTo>
                  <a:pt x="1044" y="1314"/>
                </a:lnTo>
                <a:lnTo>
                  <a:pt x="1043" y="1314"/>
                </a:lnTo>
                <a:lnTo>
                  <a:pt x="1041" y="1310"/>
                </a:lnTo>
                <a:lnTo>
                  <a:pt x="1044" y="1313"/>
                </a:lnTo>
                <a:lnTo>
                  <a:pt x="1044" y="1310"/>
                </a:lnTo>
                <a:lnTo>
                  <a:pt x="1039" y="1309"/>
                </a:lnTo>
                <a:lnTo>
                  <a:pt x="1039" y="1309"/>
                </a:lnTo>
                <a:lnTo>
                  <a:pt x="1035" y="1308"/>
                </a:lnTo>
                <a:lnTo>
                  <a:pt x="1034" y="1306"/>
                </a:lnTo>
                <a:lnTo>
                  <a:pt x="1032" y="1306"/>
                </a:lnTo>
                <a:lnTo>
                  <a:pt x="1032" y="1305"/>
                </a:lnTo>
                <a:lnTo>
                  <a:pt x="1031" y="1305"/>
                </a:lnTo>
                <a:lnTo>
                  <a:pt x="1034" y="1301"/>
                </a:lnTo>
                <a:lnTo>
                  <a:pt x="1028" y="1302"/>
                </a:lnTo>
                <a:lnTo>
                  <a:pt x="1025" y="1299"/>
                </a:lnTo>
                <a:lnTo>
                  <a:pt x="1024" y="1296"/>
                </a:lnTo>
                <a:lnTo>
                  <a:pt x="1027" y="1291"/>
                </a:lnTo>
                <a:lnTo>
                  <a:pt x="1028" y="1294"/>
                </a:lnTo>
                <a:lnTo>
                  <a:pt x="1028" y="1291"/>
                </a:lnTo>
                <a:lnTo>
                  <a:pt x="1023" y="1285"/>
                </a:lnTo>
                <a:lnTo>
                  <a:pt x="1023" y="1284"/>
                </a:lnTo>
                <a:lnTo>
                  <a:pt x="1020" y="1287"/>
                </a:lnTo>
                <a:lnTo>
                  <a:pt x="1016" y="1282"/>
                </a:lnTo>
                <a:lnTo>
                  <a:pt x="1011" y="1282"/>
                </a:lnTo>
                <a:lnTo>
                  <a:pt x="1008" y="1277"/>
                </a:lnTo>
                <a:lnTo>
                  <a:pt x="1006" y="1271"/>
                </a:lnTo>
                <a:lnTo>
                  <a:pt x="1008" y="1267"/>
                </a:lnTo>
                <a:lnTo>
                  <a:pt x="1005" y="1265"/>
                </a:lnTo>
                <a:lnTo>
                  <a:pt x="1003" y="1267"/>
                </a:lnTo>
                <a:lnTo>
                  <a:pt x="1001" y="1265"/>
                </a:lnTo>
                <a:lnTo>
                  <a:pt x="995" y="1259"/>
                </a:lnTo>
                <a:lnTo>
                  <a:pt x="990" y="1257"/>
                </a:lnTo>
                <a:lnTo>
                  <a:pt x="988" y="1252"/>
                </a:lnTo>
                <a:lnTo>
                  <a:pt x="983" y="1251"/>
                </a:lnTo>
                <a:lnTo>
                  <a:pt x="984" y="1250"/>
                </a:lnTo>
                <a:lnTo>
                  <a:pt x="983" y="1245"/>
                </a:lnTo>
                <a:lnTo>
                  <a:pt x="980" y="1246"/>
                </a:lnTo>
                <a:lnTo>
                  <a:pt x="980" y="1242"/>
                </a:lnTo>
                <a:lnTo>
                  <a:pt x="978" y="1241"/>
                </a:lnTo>
                <a:lnTo>
                  <a:pt x="976" y="1234"/>
                </a:lnTo>
                <a:lnTo>
                  <a:pt x="976" y="1229"/>
                </a:lnTo>
                <a:lnTo>
                  <a:pt x="968" y="1222"/>
                </a:lnTo>
                <a:lnTo>
                  <a:pt x="968" y="1212"/>
                </a:lnTo>
                <a:lnTo>
                  <a:pt x="960" y="1211"/>
                </a:lnTo>
                <a:lnTo>
                  <a:pt x="960" y="1208"/>
                </a:lnTo>
                <a:lnTo>
                  <a:pt x="956" y="1206"/>
                </a:lnTo>
                <a:lnTo>
                  <a:pt x="957" y="1209"/>
                </a:lnTo>
                <a:lnTo>
                  <a:pt x="954" y="1208"/>
                </a:lnTo>
                <a:lnTo>
                  <a:pt x="942" y="1201"/>
                </a:lnTo>
                <a:lnTo>
                  <a:pt x="947" y="1206"/>
                </a:lnTo>
                <a:lnTo>
                  <a:pt x="946" y="1215"/>
                </a:lnTo>
                <a:lnTo>
                  <a:pt x="947" y="1217"/>
                </a:lnTo>
                <a:lnTo>
                  <a:pt x="948" y="1230"/>
                </a:lnTo>
                <a:lnTo>
                  <a:pt x="950" y="1234"/>
                </a:lnTo>
                <a:lnTo>
                  <a:pt x="964" y="1245"/>
                </a:lnTo>
                <a:lnTo>
                  <a:pt x="965" y="1252"/>
                </a:lnTo>
                <a:lnTo>
                  <a:pt x="966" y="1251"/>
                </a:lnTo>
                <a:lnTo>
                  <a:pt x="967" y="1254"/>
                </a:lnTo>
                <a:lnTo>
                  <a:pt x="969" y="1254"/>
                </a:lnTo>
                <a:lnTo>
                  <a:pt x="971" y="1258"/>
                </a:lnTo>
                <a:lnTo>
                  <a:pt x="972" y="1258"/>
                </a:lnTo>
                <a:lnTo>
                  <a:pt x="972" y="1260"/>
                </a:lnTo>
                <a:lnTo>
                  <a:pt x="976" y="1264"/>
                </a:lnTo>
                <a:lnTo>
                  <a:pt x="976" y="1267"/>
                </a:lnTo>
                <a:lnTo>
                  <a:pt x="979" y="1271"/>
                </a:lnTo>
                <a:lnTo>
                  <a:pt x="983" y="1272"/>
                </a:lnTo>
                <a:lnTo>
                  <a:pt x="988" y="1283"/>
                </a:lnTo>
                <a:lnTo>
                  <a:pt x="988" y="1282"/>
                </a:lnTo>
                <a:lnTo>
                  <a:pt x="992" y="1285"/>
                </a:lnTo>
                <a:lnTo>
                  <a:pt x="992" y="1287"/>
                </a:lnTo>
                <a:lnTo>
                  <a:pt x="994" y="1291"/>
                </a:lnTo>
                <a:lnTo>
                  <a:pt x="997" y="1299"/>
                </a:lnTo>
                <a:lnTo>
                  <a:pt x="998" y="1302"/>
                </a:lnTo>
                <a:lnTo>
                  <a:pt x="1002" y="1305"/>
                </a:lnTo>
                <a:lnTo>
                  <a:pt x="1003" y="1309"/>
                </a:lnTo>
                <a:lnTo>
                  <a:pt x="1006" y="1314"/>
                </a:lnTo>
                <a:lnTo>
                  <a:pt x="1005" y="1320"/>
                </a:lnTo>
                <a:lnTo>
                  <a:pt x="1006" y="1322"/>
                </a:lnTo>
                <a:lnTo>
                  <a:pt x="1011" y="1326"/>
                </a:lnTo>
                <a:lnTo>
                  <a:pt x="1009" y="1326"/>
                </a:lnTo>
                <a:lnTo>
                  <a:pt x="1011" y="1326"/>
                </a:lnTo>
                <a:lnTo>
                  <a:pt x="1013" y="1324"/>
                </a:lnTo>
                <a:lnTo>
                  <a:pt x="1011" y="1322"/>
                </a:lnTo>
                <a:lnTo>
                  <a:pt x="1013" y="1322"/>
                </a:lnTo>
                <a:lnTo>
                  <a:pt x="1020" y="1327"/>
                </a:lnTo>
                <a:lnTo>
                  <a:pt x="1021" y="1332"/>
                </a:lnTo>
                <a:lnTo>
                  <a:pt x="1024" y="1337"/>
                </a:lnTo>
                <a:lnTo>
                  <a:pt x="1023" y="1344"/>
                </a:lnTo>
                <a:lnTo>
                  <a:pt x="1017" y="1347"/>
                </a:lnTo>
                <a:lnTo>
                  <a:pt x="1016" y="1347"/>
                </a:lnTo>
                <a:lnTo>
                  <a:pt x="1011" y="1334"/>
                </a:lnTo>
                <a:lnTo>
                  <a:pt x="995" y="1323"/>
                </a:lnTo>
                <a:lnTo>
                  <a:pt x="991" y="1322"/>
                </a:lnTo>
                <a:lnTo>
                  <a:pt x="990" y="1322"/>
                </a:lnTo>
                <a:lnTo>
                  <a:pt x="989" y="1320"/>
                </a:lnTo>
                <a:lnTo>
                  <a:pt x="990" y="1321"/>
                </a:lnTo>
                <a:lnTo>
                  <a:pt x="989" y="1318"/>
                </a:lnTo>
                <a:lnTo>
                  <a:pt x="988" y="1318"/>
                </a:lnTo>
                <a:lnTo>
                  <a:pt x="987" y="1318"/>
                </a:lnTo>
                <a:lnTo>
                  <a:pt x="984" y="1318"/>
                </a:lnTo>
                <a:lnTo>
                  <a:pt x="984" y="1310"/>
                </a:lnTo>
                <a:lnTo>
                  <a:pt x="982" y="1313"/>
                </a:lnTo>
                <a:lnTo>
                  <a:pt x="984" y="1302"/>
                </a:lnTo>
                <a:lnTo>
                  <a:pt x="984" y="1299"/>
                </a:lnTo>
                <a:lnTo>
                  <a:pt x="980" y="1294"/>
                </a:lnTo>
                <a:lnTo>
                  <a:pt x="977" y="1294"/>
                </a:lnTo>
                <a:lnTo>
                  <a:pt x="969" y="1287"/>
                </a:lnTo>
                <a:lnTo>
                  <a:pt x="971" y="1284"/>
                </a:lnTo>
                <a:lnTo>
                  <a:pt x="967" y="1286"/>
                </a:lnTo>
                <a:lnTo>
                  <a:pt x="966" y="1286"/>
                </a:lnTo>
                <a:lnTo>
                  <a:pt x="964" y="1288"/>
                </a:lnTo>
                <a:lnTo>
                  <a:pt x="960" y="1282"/>
                </a:lnTo>
                <a:lnTo>
                  <a:pt x="958" y="1282"/>
                </a:lnTo>
                <a:lnTo>
                  <a:pt x="953" y="1280"/>
                </a:lnTo>
                <a:lnTo>
                  <a:pt x="948" y="1276"/>
                </a:lnTo>
                <a:lnTo>
                  <a:pt x="948" y="1274"/>
                </a:lnTo>
                <a:lnTo>
                  <a:pt x="942" y="1269"/>
                </a:lnTo>
                <a:lnTo>
                  <a:pt x="942" y="1267"/>
                </a:lnTo>
                <a:lnTo>
                  <a:pt x="954" y="1268"/>
                </a:lnTo>
                <a:lnTo>
                  <a:pt x="953" y="1267"/>
                </a:lnTo>
                <a:lnTo>
                  <a:pt x="954" y="1264"/>
                </a:lnTo>
                <a:lnTo>
                  <a:pt x="957" y="1256"/>
                </a:lnTo>
                <a:lnTo>
                  <a:pt x="944" y="1242"/>
                </a:lnTo>
                <a:lnTo>
                  <a:pt x="941" y="1241"/>
                </a:lnTo>
                <a:lnTo>
                  <a:pt x="932" y="1236"/>
                </a:lnTo>
                <a:lnTo>
                  <a:pt x="931" y="1227"/>
                </a:lnTo>
                <a:lnTo>
                  <a:pt x="928" y="1226"/>
                </a:lnTo>
                <a:lnTo>
                  <a:pt x="928" y="1227"/>
                </a:lnTo>
                <a:lnTo>
                  <a:pt x="924" y="1226"/>
                </a:lnTo>
                <a:lnTo>
                  <a:pt x="924" y="1220"/>
                </a:lnTo>
                <a:lnTo>
                  <a:pt x="923" y="1217"/>
                </a:lnTo>
                <a:lnTo>
                  <a:pt x="923" y="1212"/>
                </a:lnTo>
                <a:lnTo>
                  <a:pt x="919" y="1208"/>
                </a:lnTo>
                <a:lnTo>
                  <a:pt x="920" y="1203"/>
                </a:lnTo>
                <a:lnTo>
                  <a:pt x="916" y="1201"/>
                </a:lnTo>
                <a:lnTo>
                  <a:pt x="912" y="1192"/>
                </a:lnTo>
                <a:lnTo>
                  <a:pt x="914" y="1192"/>
                </a:lnTo>
                <a:lnTo>
                  <a:pt x="913" y="1190"/>
                </a:lnTo>
                <a:lnTo>
                  <a:pt x="912" y="1190"/>
                </a:lnTo>
                <a:lnTo>
                  <a:pt x="912" y="1188"/>
                </a:lnTo>
                <a:lnTo>
                  <a:pt x="912" y="1184"/>
                </a:lnTo>
                <a:lnTo>
                  <a:pt x="909" y="1179"/>
                </a:lnTo>
                <a:lnTo>
                  <a:pt x="900" y="1174"/>
                </a:lnTo>
                <a:lnTo>
                  <a:pt x="896" y="1174"/>
                </a:lnTo>
                <a:lnTo>
                  <a:pt x="893" y="1168"/>
                </a:lnTo>
                <a:lnTo>
                  <a:pt x="885" y="1166"/>
                </a:lnTo>
                <a:lnTo>
                  <a:pt x="877" y="1162"/>
                </a:lnTo>
                <a:lnTo>
                  <a:pt x="866" y="1162"/>
                </a:lnTo>
                <a:lnTo>
                  <a:pt x="862" y="1157"/>
                </a:lnTo>
                <a:lnTo>
                  <a:pt x="864" y="1149"/>
                </a:lnTo>
                <a:lnTo>
                  <a:pt x="859" y="1147"/>
                </a:lnTo>
                <a:lnTo>
                  <a:pt x="859" y="1142"/>
                </a:lnTo>
                <a:lnTo>
                  <a:pt x="844" y="1129"/>
                </a:lnTo>
                <a:lnTo>
                  <a:pt x="843" y="1126"/>
                </a:lnTo>
                <a:lnTo>
                  <a:pt x="843" y="1126"/>
                </a:lnTo>
                <a:lnTo>
                  <a:pt x="843" y="1118"/>
                </a:lnTo>
                <a:lnTo>
                  <a:pt x="840" y="1118"/>
                </a:lnTo>
                <a:lnTo>
                  <a:pt x="835" y="1112"/>
                </a:lnTo>
                <a:lnTo>
                  <a:pt x="835" y="1109"/>
                </a:lnTo>
                <a:lnTo>
                  <a:pt x="835" y="1108"/>
                </a:lnTo>
                <a:lnTo>
                  <a:pt x="835" y="1106"/>
                </a:lnTo>
                <a:lnTo>
                  <a:pt x="836" y="1106"/>
                </a:lnTo>
                <a:lnTo>
                  <a:pt x="839" y="1107"/>
                </a:lnTo>
                <a:lnTo>
                  <a:pt x="843" y="1108"/>
                </a:lnTo>
                <a:lnTo>
                  <a:pt x="836" y="1099"/>
                </a:lnTo>
                <a:lnTo>
                  <a:pt x="835" y="1098"/>
                </a:lnTo>
                <a:lnTo>
                  <a:pt x="835" y="1099"/>
                </a:lnTo>
                <a:lnTo>
                  <a:pt x="835" y="1100"/>
                </a:lnTo>
                <a:lnTo>
                  <a:pt x="834" y="1103"/>
                </a:lnTo>
                <a:lnTo>
                  <a:pt x="830" y="1098"/>
                </a:lnTo>
                <a:lnTo>
                  <a:pt x="827" y="1099"/>
                </a:lnTo>
                <a:lnTo>
                  <a:pt x="827" y="1094"/>
                </a:lnTo>
                <a:lnTo>
                  <a:pt x="831" y="1098"/>
                </a:lnTo>
                <a:lnTo>
                  <a:pt x="827" y="1092"/>
                </a:lnTo>
                <a:lnTo>
                  <a:pt x="815" y="1081"/>
                </a:lnTo>
                <a:lnTo>
                  <a:pt x="815" y="1068"/>
                </a:lnTo>
                <a:lnTo>
                  <a:pt x="812" y="1060"/>
                </a:lnTo>
                <a:lnTo>
                  <a:pt x="810" y="1058"/>
                </a:lnTo>
                <a:lnTo>
                  <a:pt x="808" y="1057"/>
                </a:lnTo>
                <a:lnTo>
                  <a:pt x="810" y="1049"/>
                </a:lnTo>
                <a:lnTo>
                  <a:pt x="812" y="1038"/>
                </a:lnTo>
                <a:lnTo>
                  <a:pt x="807" y="1031"/>
                </a:lnTo>
                <a:lnTo>
                  <a:pt x="807" y="1027"/>
                </a:lnTo>
                <a:lnTo>
                  <a:pt x="807" y="1022"/>
                </a:lnTo>
                <a:lnTo>
                  <a:pt x="807" y="1016"/>
                </a:lnTo>
                <a:lnTo>
                  <a:pt x="806" y="1012"/>
                </a:lnTo>
                <a:lnTo>
                  <a:pt x="809" y="1005"/>
                </a:lnTo>
                <a:lnTo>
                  <a:pt x="809" y="1005"/>
                </a:lnTo>
                <a:lnTo>
                  <a:pt x="810" y="1005"/>
                </a:lnTo>
                <a:lnTo>
                  <a:pt x="811" y="997"/>
                </a:lnTo>
                <a:lnTo>
                  <a:pt x="811" y="975"/>
                </a:lnTo>
                <a:lnTo>
                  <a:pt x="811" y="970"/>
                </a:lnTo>
                <a:lnTo>
                  <a:pt x="811" y="965"/>
                </a:lnTo>
                <a:lnTo>
                  <a:pt x="816" y="965"/>
                </a:lnTo>
                <a:lnTo>
                  <a:pt x="815" y="952"/>
                </a:lnTo>
                <a:lnTo>
                  <a:pt x="819" y="950"/>
                </a:lnTo>
                <a:lnTo>
                  <a:pt x="815" y="949"/>
                </a:lnTo>
                <a:lnTo>
                  <a:pt x="814" y="942"/>
                </a:lnTo>
                <a:lnTo>
                  <a:pt x="815" y="947"/>
                </a:lnTo>
                <a:lnTo>
                  <a:pt x="816" y="943"/>
                </a:lnTo>
                <a:lnTo>
                  <a:pt x="815" y="943"/>
                </a:lnTo>
                <a:lnTo>
                  <a:pt x="817" y="941"/>
                </a:lnTo>
                <a:lnTo>
                  <a:pt x="811" y="941"/>
                </a:lnTo>
                <a:lnTo>
                  <a:pt x="811" y="939"/>
                </a:lnTo>
                <a:lnTo>
                  <a:pt x="816" y="936"/>
                </a:lnTo>
                <a:lnTo>
                  <a:pt x="814" y="935"/>
                </a:lnTo>
                <a:lnTo>
                  <a:pt x="811" y="938"/>
                </a:lnTo>
                <a:lnTo>
                  <a:pt x="809" y="923"/>
                </a:lnTo>
                <a:lnTo>
                  <a:pt x="805" y="916"/>
                </a:lnTo>
                <a:lnTo>
                  <a:pt x="803" y="909"/>
                </a:lnTo>
                <a:lnTo>
                  <a:pt x="814" y="913"/>
                </a:lnTo>
                <a:lnTo>
                  <a:pt x="824" y="915"/>
                </a:lnTo>
                <a:lnTo>
                  <a:pt x="827" y="913"/>
                </a:lnTo>
                <a:lnTo>
                  <a:pt x="830" y="915"/>
                </a:lnTo>
                <a:lnTo>
                  <a:pt x="831" y="913"/>
                </a:lnTo>
                <a:lnTo>
                  <a:pt x="831" y="915"/>
                </a:lnTo>
                <a:lnTo>
                  <a:pt x="833" y="917"/>
                </a:lnTo>
                <a:lnTo>
                  <a:pt x="833" y="921"/>
                </a:lnTo>
                <a:lnTo>
                  <a:pt x="831" y="920"/>
                </a:lnTo>
                <a:lnTo>
                  <a:pt x="826" y="930"/>
                </a:lnTo>
                <a:lnTo>
                  <a:pt x="828" y="930"/>
                </a:lnTo>
                <a:lnTo>
                  <a:pt x="825" y="932"/>
                </a:lnTo>
                <a:lnTo>
                  <a:pt x="827" y="935"/>
                </a:lnTo>
                <a:lnTo>
                  <a:pt x="827" y="932"/>
                </a:lnTo>
                <a:lnTo>
                  <a:pt x="831" y="935"/>
                </a:lnTo>
                <a:lnTo>
                  <a:pt x="835" y="931"/>
                </a:lnTo>
                <a:lnTo>
                  <a:pt x="831" y="929"/>
                </a:lnTo>
                <a:lnTo>
                  <a:pt x="831" y="927"/>
                </a:lnTo>
                <a:lnTo>
                  <a:pt x="829" y="929"/>
                </a:lnTo>
                <a:lnTo>
                  <a:pt x="828" y="929"/>
                </a:lnTo>
                <a:lnTo>
                  <a:pt x="831" y="924"/>
                </a:lnTo>
                <a:lnTo>
                  <a:pt x="831" y="924"/>
                </a:lnTo>
                <a:lnTo>
                  <a:pt x="831" y="926"/>
                </a:lnTo>
                <a:lnTo>
                  <a:pt x="835" y="924"/>
                </a:lnTo>
                <a:lnTo>
                  <a:pt x="835" y="929"/>
                </a:lnTo>
                <a:lnTo>
                  <a:pt x="835" y="931"/>
                </a:lnTo>
                <a:lnTo>
                  <a:pt x="839" y="927"/>
                </a:lnTo>
                <a:lnTo>
                  <a:pt x="836" y="923"/>
                </a:lnTo>
                <a:lnTo>
                  <a:pt x="839" y="917"/>
                </a:lnTo>
                <a:lnTo>
                  <a:pt x="839" y="916"/>
                </a:lnTo>
                <a:lnTo>
                  <a:pt x="836" y="914"/>
                </a:lnTo>
                <a:lnTo>
                  <a:pt x="836" y="913"/>
                </a:lnTo>
                <a:lnTo>
                  <a:pt x="836" y="913"/>
                </a:lnTo>
                <a:lnTo>
                  <a:pt x="835" y="913"/>
                </a:lnTo>
                <a:lnTo>
                  <a:pt x="836" y="911"/>
                </a:lnTo>
                <a:lnTo>
                  <a:pt x="835" y="910"/>
                </a:lnTo>
                <a:lnTo>
                  <a:pt x="835" y="911"/>
                </a:lnTo>
                <a:lnTo>
                  <a:pt x="833" y="913"/>
                </a:lnTo>
                <a:lnTo>
                  <a:pt x="835" y="914"/>
                </a:lnTo>
                <a:lnTo>
                  <a:pt x="835" y="914"/>
                </a:lnTo>
                <a:lnTo>
                  <a:pt x="839" y="916"/>
                </a:lnTo>
                <a:lnTo>
                  <a:pt x="836" y="917"/>
                </a:lnTo>
                <a:lnTo>
                  <a:pt x="833" y="913"/>
                </a:lnTo>
                <a:lnTo>
                  <a:pt x="835" y="910"/>
                </a:lnTo>
                <a:lnTo>
                  <a:pt x="833" y="909"/>
                </a:lnTo>
                <a:lnTo>
                  <a:pt x="836" y="909"/>
                </a:lnTo>
                <a:lnTo>
                  <a:pt x="836" y="905"/>
                </a:lnTo>
                <a:lnTo>
                  <a:pt x="835" y="903"/>
                </a:lnTo>
                <a:lnTo>
                  <a:pt x="833" y="901"/>
                </a:lnTo>
                <a:lnTo>
                  <a:pt x="831" y="900"/>
                </a:lnTo>
                <a:lnTo>
                  <a:pt x="831" y="901"/>
                </a:lnTo>
                <a:lnTo>
                  <a:pt x="830" y="901"/>
                </a:lnTo>
                <a:lnTo>
                  <a:pt x="829" y="898"/>
                </a:lnTo>
                <a:lnTo>
                  <a:pt x="825" y="898"/>
                </a:lnTo>
                <a:lnTo>
                  <a:pt x="823" y="892"/>
                </a:lnTo>
                <a:lnTo>
                  <a:pt x="822" y="889"/>
                </a:lnTo>
                <a:lnTo>
                  <a:pt x="823" y="889"/>
                </a:lnTo>
                <a:lnTo>
                  <a:pt x="822" y="889"/>
                </a:lnTo>
                <a:lnTo>
                  <a:pt x="822" y="883"/>
                </a:lnTo>
                <a:lnTo>
                  <a:pt x="817" y="888"/>
                </a:lnTo>
                <a:lnTo>
                  <a:pt x="819" y="889"/>
                </a:lnTo>
                <a:lnTo>
                  <a:pt x="816" y="889"/>
                </a:lnTo>
                <a:lnTo>
                  <a:pt x="816" y="889"/>
                </a:lnTo>
                <a:lnTo>
                  <a:pt x="815" y="889"/>
                </a:lnTo>
                <a:lnTo>
                  <a:pt x="815" y="888"/>
                </a:lnTo>
                <a:lnTo>
                  <a:pt x="812" y="885"/>
                </a:lnTo>
                <a:lnTo>
                  <a:pt x="814" y="881"/>
                </a:lnTo>
                <a:lnTo>
                  <a:pt x="812" y="879"/>
                </a:lnTo>
                <a:lnTo>
                  <a:pt x="816" y="878"/>
                </a:lnTo>
                <a:lnTo>
                  <a:pt x="814" y="875"/>
                </a:lnTo>
                <a:lnTo>
                  <a:pt x="812" y="874"/>
                </a:lnTo>
                <a:lnTo>
                  <a:pt x="814" y="878"/>
                </a:lnTo>
                <a:lnTo>
                  <a:pt x="811" y="879"/>
                </a:lnTo>
                <a:lnTo>
                  <a:pt x="811" y="881"/>
                </a:lnTo>
                <a:lnTo>
                  <a:pt x="811" y="882"/>
                </a:lnTo>
                <a:lnTo>
                  <a:pt x="807" y="883"/>
                </a:lnTo>
                <a:lnTo>
                  <a:pt x="809" y="883"/>
                </a:lnTo>
                <a:lnTo>
                  <a:pt x="810" y="887"/>
                </a:lnTo>
                <a:lnTo>
                  <a:pt x="812" y="885"/>
                </a:lnTo>
                <a:lnTo>
                  <a:pt x="815" y="889"/>
                </a:lnTo>
                <a:lnTo>
                  <a:pt x="815" y="890"/>
                </a:lnTo>
                <a:lnTo>
                  <a:pt x="812" y="891"/>
                </a:lnTo>
                <a:lnTo>
                  <a:pt x="811" y="889"/>
                </a:lnTo>
                <a:lnTo>
                  <a:pt x="811" y="889"/>
                </a:lnTo>
                <a:lnTo>
                  <a:pt x="811" y="889"/>
                </a:lnTo>
                <a:lnTo>
                  <a:pt x="811" y="889"/>
                </a:lnTo>
                <a:lnTo>
                  <a:pt x="809" y="889"/>
                </a:lnTo>
                <a:lnTo>
                  <a:pt x="810" y="888"/>
                </a:lnTo>
                <a:lnTo>
                  <a:pt x="804" y="882"/>
                </a:lnTo>
                <a:lnTo>
                  <a:pt x="806" y="883"/>
                </a:lnTo>
                <a:lnTo>
                  <a:pt x="804" y="881"/>
                </a:lnTo>
                <a:lnTo>
                  <a:pt x="801" y="879"/>
                </a:lnTo>
                <a:lnTo>
                  <a:pt x="804" y="875"/>
                </a:lnTo>
                <a:lnTo>
                  <a:pt x="801" y="876"/>
                </a:lnTo>
                <a:lnTo>
                  <a:pt x="800" y="878"/>
                </a:lnTo>
                <a:lnTo>
                  <a:pt x="800" y="878"/>
                </a:lnTo>
                <a:lnTo>
                  <a:pt x="800" y="878"/>
                </a:lnTo>
                <a:lnTo>
                  <a:pt x="800" y="881"/>
                </a:lnTo>
                <a:lnTo>
                  <a:pt x="798" y="881"/>
                </a:lnTo>
                <a:lnTo>
                  <a:pt x="797" y="881"/>
                </a:lnTo>
                <a:lnTo>
                  <a:pt x="798" y="876"/>
                </a:lnTo>
                <a:lnTo>
                  <a:pt x="799" y="873"/>
                </a:lnTo>
                <a:lnTo>
                  <a:pt x="795" y="873"/>
                </a:lnTo>
                <a:lnTo>
                  <a:pt x="795" y="871"/>
                </a:lnTo>
                <a:lnTo>
                  <a:pt x="791" y="870"/>
                </a:lnTo>
                <a:lnTo>
                  <a:pt x="791" y="870"/>
                </a:lnTo>
                <a:lnTo>
                  <a:pt x="790" y="869"/>
                </a:lnTo>
                <a:lnTo>
                  <a:pt x="792" y="864"/>
                </a:lnTo>
                <a:lnTo>
                  <a:pt x="787" y="872"/>
                </a:lnTo>
                <a:lnTo>
                  <a:pt x="790" y="873"/>
                </a:lnTo>
                <a:lnTo>
                  <a:pt x="791" y="872"/>
                </a:lnTo>
                <a:lnTo>
                  <a:pt x="791" y="873"/>
                </a:lnTo>
                <a:lnTo>
                  <a:pt x="791" y="873"/>
                </a:lnTo>
                <a:lnTo>
                  <a:pt x="792" y="874"/>
                </a:lnTo>
                <a:lnTo>
                  <a:pt x="793" y="877"/>
                </a:lnTo>
                <a:lnTo>
                  <a:pt x="794" y="877"/>
                </a:lnTo>
                <a:lnTo>
                  <a:pt x="794" y="876"/>
                </a:lnTo>
                <a:lnTo>
                  <a:pt x="794" y="877"/>
                </a:lnTo>
                <a:lnTo>
                  <a:pt x="795" y="877"/>
                </a:lnTo>
                <a:lnTo>
                  <a:pt x="795" y="879"/>
                </a:lnTo>
                <a:lnTo>
                  <a:pt x="796" y="881"/>
                </a:lnTo>
                <a:lnTo>
                  <a:pt x="800" y="883"/>
                </a:lnTo>
                <a:lnTo>
                  <a:pt x="798" y="885"/>
                </a:lnTo>
                <a:lnTo>
                  <a:pt x="801" y="889"/>
                </a:lnTo>
                <a:lnTo>
                  <a:pt x="812" y="894"/>
                </a:lnTo>
                <a:lnTo>
                  <a:pt x="818" y="901"/>
                </a:lnTo>
                <a:lnTo>
                  <a:pt x="819" y="904"/>
                </a:lnTo>
                <a:lnTo>
                  <a:pt x="820" y="903"/>
                </a:lnTo>
                <a:lnTo>
                  <a:pt x="823" y="909"/>
                </a:lnTo>
                <a:lnTo>
                  <a:pt x="820" y="908"/>
                </a:lnTo>
                <a:lnTo>
                  <a:pt x="818" y="912"/>
                </a:lnTo>
                <a:lnTo>
                  <a:pt x="797" y="903"/>
                </a:lnTo>
                <a:lnTo>
                  <a:pt x="796" y="901"/>
                </a:lnTo>
                <a:lnTo>
                  <a:pt x="799" y="897"/>
                </a:lnTo>
                <a:lnTo>
                  <a:pt x="799" y="894"/>
                </a:lnTo>
                <a:lnTo>
                  <a:pt x="798" y="898"/>
                </a:lnTo>
                <a:lnTo>
                  <a:pt x="790" y="901"/>
                </a:lnTo>
                <a:lnTo>
                  <a:pt x="787" y="897"/>
                </a:lnTo>
                <a:lnTo>
                  <a:pt x="789" y="894"/>
                </a:lnTo>
                <a:lnTo>
                  <a:pt x="787" y="895"/>
                </a:lnTo>
                <a:lnTo>
                  <a:pt x="786" y="892"/>
                </a:lnTo>
                <a:lnTo>
                  <a:pt x="783" y="894"/>
                </a:lnTo>
                <a:lnTo>
                  <a:pt x="784" y="892"/>
                </a:lnTo>
                <a:lnTo>
                  <a:pt x="781" y="890"/>
                </a:lnTo>
                <a:lnTo>
                  <a:pt x="783" y="894"/>
                </a:lnTo>
                <a:lnTo>
                  <a:pt x="779" y="892"/>
                </a:lnTo>
                <a:lnTo>
                  <a:pt x="779" y="893"/>
                </a:lnTo>
                <a:lnTo>
                  <a:pt x="776" y="893"/>
                </a:lnTo>
                <a:lnTo>
                  <a:pt x="773" y="888"/>
                </a:lnTo>
                <a:lnTo>
                  <a:pt x="781" y="885"/>
                </a:lnTo>
                <a:lnTo>
                  <a:pt x="771" y="883"/>
                </a:lnTo>
                <a:lnTo>
                  <a:pt x="771" y="886"/>
                </a:lnTo>
                <a:lnTo>
                  <a:pt x="767" y="883"/>
                </a:lnTo>
                <a:lnTo>
                  <a:pt x="767" y="883"/>
                </a:lnTo>
                <a:lnTo>
                  <a:pt x="767" y="883"/>
                </a:lnTo>
                <a:lnTo>
                  <a:pt x="765" y="879"/>
                </a:lnTo>
                <a:lnTo>
                  <a:pt x="767" y="878"/>
                </a:lnTo>
                <a:lnTo>
                  <a:pt x="764" y="879"/>
                </a:lnTo>
                <a:lnTo>
                  <a:pt x="759" y="875"/>
                </a:lnTo>
                <a:lnTo>
                  <a:pt x="755" y="878"/>
                </a:lnTo>
                <a:lnTo>
                  <a:pt x="755" y="874"/>
                </a:lnTo>
                <a:lnTo>
                  <a:pt x="755" y="871"/>
                </a:lnTo>
                <a:lnTo>
                  <a:pt x="755" y="869"/>
                </a:lnTo>
                <a:lnTo>
                  <a:pt x="751" y="871"/>
                </a:lnTo>
                <a:lnTo>
                  <a:pt x="747" y="867"/>
                </a:lnTo>
                <a:lnTo>
                  <a:pt x="747" y="863"/>
                </a:lnTo>
                <a:lnTo>
                  <a:pt x="755" y="863"/>
                </a:lnTo>
                <a:lnTo>
                  <a:pt x="765" y="867"/>
                </a:lnTo>
                <a:lnTo>
                  <a:pt x="780" y="871"/>
                </a:lnTo>
                <a:lnTo>
                  <a:pt x="781" y="869"/>
                </a:lnTo>
                <a:lnTo>
                  <a:pt x="779" y="867"/>
                </a:lnTo>
                <a:lnTo>
                  <a:pt x="781" y="866"/>
                </a:lnTo>
                <a:lnTo>
                  <a:pt x="783" y="865"/>
                </a:lnTo>
                <a:lnTo>
                  <a:pt x="781" y="865"/>
                </a:lnTo>
                <a:lnTo>
                  <a:pt x="780" y="865"/>
                </a:lnTo>
                <a:lnTo>
                  <a:pt x="781" y="863"/>
                </a:lnTo>
                <a:lnTo>
                  <a:pt x="780" y="863"/>
                </a:lnTo>
                <a:lnTo>
                  <a:pt x="781" y="862"/>
                </a:lnTo>
                <a:lnTo>
                  <a:pt x="773" y="863"/>
                </a:lnTo>
                <a:lnTo>
                  <a:pt x="773" y="862"/>
                </a:lnTo>
                <a:lnTo>
                  <a:pt x="774" y="861"/>
                </a:lnTo>
                <a:lnTo>
                  <a:pt x="773" y="861"/>
                </a:lnTo>
                <a:lnTo>
                  <a:pt x="771" y="861"/>
                </a:lnTo>
                <a:lnTo>
                  <a:pt x="773" y="857"/>
                </a:lnTo>
                <a:lnTo>
                  <a:pt x="766" y="858"/>
                </a:lnTo>
                <a:lnTo>
                  <a:pt x="755" y="856"/>
                </a:lnTo>
                <a:lnTo>
                  <a:pt x="755" y="855"/>
                </a:lnTo>
                <a:lnTo>
                  <a:pt x="760" y="853"/>
                </a:lnTo>
                <a:lnTo>
                  <a:pt x="757" y="853"/>
                </a:lnTo>
                <a:lnTo>
                  <a:pt x="760" y="850"/>
                </a:lnTo>
                <a:lnTo>
                  <a:pt x="763" y="846"/>
                </a:lnTo>
                <a:lnTo>
                  <a:pt x="763" y="842"/>
                </a:lnTo>
                <a:lnTo>
                  <a:pt x="759" y="843"/>
                </a:lnTo>
                <a:lnTo>
                  <a:pt x="759" y="848"/>
                </a:lnTo>
                <a:lnTo>
                  <a:pt x="759" y="849"/>
                </a:lnTo>
                <a:lnTo>
                  <a:pt x="756" y="847"/>
                </a:lnTo>
                <a:lnTo>
                  <a:pt x="757" y="840"/>
                </a:lnTo>
                <a:lnTo>
                  <a:pt x="759" y="840"/>
                </a:lnTo>
                <a:lnTo>
                  <a:pt x="756" y="840"/>
                </a:lnTo>
                <a:lnTo>
                  <a:pt x="756" y="835"/>
                </a:lnTo>
                <a:lnTo>
                  <a:pt x="763" y="831"/>
                </a:lnTo>
                <a:lnTo>
                  <a:pt x="763" y="832"/>
                </a:lnTo>
                <a:lnTo>
                  <a:pt x="759" y="836"/>
                </a:lnTo>
                <a:lnTo>
                  <a:pt x="761" y="836"/>
                </a:lnTo>
                <a:lnTo>
                  <a:pt x="767" y="832"/>
                </a:lnTo>
                <a:lnTo>
                  <a:pt x="765" y="829"/>
                </a:lnTo>
                <a:lnTo>
                  <a:pt x="770" y="824"/>
                </a:lnTo>
                <a:lnTo>
                  <a:pt x="767" y="822"/>
                </a:lnTo>
                <a:lnTo>
                  <a:pt x="767" y="825"/>
                </a:lnTo>
                <a:lnTo>
                  <a:pt x="759" y="832"/>
                </a:lnTo>
                <a:lnTo>
                  <a:pt x="755" y="834"/>
                </a:lnTo>
                <a:lnTo>
                  <a:pt x="755" y="832"/>
                </a:lnTo>
                <a:lnTo>
                  <a:pt x="755" y="832"/>
                </a:lnTo>
                <a:lnTo>
                  <a:pt x="755" y="833"/>
                </a:lnTo>
                <a:lnTo>
                  <a:pt x="755" y="832"/>
                </a:lnTo>
                <a:lnTo>
                  <a:pt x="755" y="832"/>
                </a:lnTo>
                <a:lnTo>
                  <a:pt x="755" y="832"/>
                </a:lnTo>
                <a:lnTo>
                  <a:pt x="755" y="828"/>
                </a:lnTo>
                <a:lnTo>
                  <a:pt x="752" y="831"/>
                </a:lnTo>
                <a:lnTo>
                  <a:pt x="752" y="832"/>
                </a:lnTo>
                <a:lnTo>
                  <a:pt x="752" y="831"/>
                </a:lnTo>
                <a:lnTo>
                  <a:pt x="753" y="832"/>
                </a:lnTo>
                <a:lnTo>
                  <a:pt x="752" y="832"/>
                </a:lnTo>
                <a:lnTo>
                  <a:pt x="751" y="832"/>
                </a:lnTo>
                <a:lnTo>
                  <a:pt x="751" y="832"/>
                </a:lnTo>
                <a:lnTo>
                  <a:pt x="751" y="832"/>
                </a:lnTo>
                <a:lnTo>
                  <a:pt x="751" y="832"/>
                </a:lnTo>
                <a:lnTo>
                  <a:pt x="750" y="831"/>
                </a:lnTo>
                <a:lnTo>
                  <a:pt x="751" y="829"/>
                </a:lnTo>
                <a:lnTo>
                  <a:pt x="751" y="828"/>
                </a:lnTo>
                <a:lnTo>
                  <a:pt x="751" y="828"/>
                </a:lnTo>
                <a:lnTo>
                  <a:pt x="751" y="828"/>
                </a:lnTo>
                <a:lnTo>
                  <a:pt x="751" y="828"/>
                </a:lnTo>
                <a:lnTo>
                  <a:pt x="752" y="826"/>
                </a:lnTo>
                <a:lnTo>
                  <a:pt x="751" y="828"/>
                </a:lnTo>
                <a:lnTo>
                  <a:pt x="750" y="825"/>
                </a:lnTo>
                <a:lnTo>
                  <a:pt x="750" y="824"/>
                </a:lnTo>
                <a:lnTo>
                  <a:pt x="752" y="824"/>
                </a:lnTo>
                <a:lnTo>
                  <a:pt x="752" y="822"/>
                </a:lnTo>
                <a:lnTo>
                  <a:pt x="749" y="823"/>
                </a:lnTo>
                <a:lnTo>
                  <a:pt x="749" y="822"/>
                </a:lnTo>
                <a:lnTo>
                  <a:pt x="749" y="823"/>
                </a:lnTo>
                <a:lnTo>
                  <a:pt x="748" y="823"/>
                </a:lnTo>
                <a:lnTo>
                  <a:pt x="746" y="817"/>
                </a:lnTo>
                <a:lnTo>
                  <a:pt x="743" y="815"/>
                </a:lnTo>
                <a:lnTo>
                  <a:pt x="741" y="812"/>
                </a:lnTo>
                <a:lnTo>
                  <a:pt x="743" y="812"/>
                </a:lnTo>
                <a:lnTo>
                  <a:pt x="748" y="814"/>
                </a:lnTo>
                <a:lnTo>
                  <a:pt x="752" y="812"/>
                </a:lnTo>
                <a:lnTo>
                  <a:pt x="746" y="812"/>
                </a:lnTo>
                <a:lnTo>
                  <a:pt x="741" y="807"/>
                </a:lnTo>
                <a:lnTo>
                  <a:pt x="741" y="805"/>
                </a:lnTo>
                <a:lnTo>
                  <a:pt x="739" y="805"/>
                </a:lnTo>
                <a:lnTo>
                  <a:pt x="739" y="804"/>
                </a:lnTo>
                <a:lnTo>
                  <a:pt x="739" y="802"/>
                </a:lnTo>
                <a:lnTo>
                  <a:pt x="745" y="802"/>
                </a:lnTo>
                <a:lnTo>
                  <a:pt x="744" y="801"/>
                </a:lnTo>
                <a:lnTo>
                  <a:pt x="745" y="798"/>
                </a:lnTo>
                <a:lnTo>
                  <a:pt x="735" y="805"/>
                </a:lnTo>
                <a:lnTo>
                  <a:pt x="739" y="805"/>
                </a:lnTo>
                <a:lnTo>
                  <a:pt x="739" y="805"/>
                </a:lnTo>
                <a:lnTo>
                  <a:pt x="741" y="807"/>
                </a:lnTo>
                <a:lnTo>
                  <a:pt x="740" y="810"/>
                </a:lnTo>
                <a:lnTo>
                  <a:pt x="741" y="814"/>
                </a:lnTo>
                <a:lnTo>
                  <a:pt x="743" y="816"/>
                </a:lnTo>
                <a:lnTo>
                  <a:pt x="743" y="817"/>
                </a:lnTo>
                <a:lnTo>
                  <a:pt x="743" y="820"/>
                </a:lnTo>
                <a:lnTo>
                  <a:pt x="742" y="825"/>
                </a:lnTo>
                <a:lnTo>
                  <a:pt x="740" y="824"/>
                </a:lnTo>
                <a:lnTo>
                  <a:pt x="738" y="822"/>
                </a:lnTo>
                <a:lnTo>
                  <a:pt x="743" y="817"/>
                </a:lnTo>
                <a:lnTo>
                  <a:pt x="737" y="821"/>
                </a:lnTo>
                <a:lnTo>
                  <a:pt x="738" y="816"/>
                </a:lnTo>
                <a:lnTo>
                  <a:pt x="738" y="816"/>
                </a:lnTo>
                <a:lnTo>
                  <a:pt x="738" y="810"/>
                </a:lnTo>
                <a:lnTo>
                  <a:pt x="735" y="811"/>
                </a:lnTo>
                <a:lnTo>
                  <a:pt x="725" y="803"/>
                </a:lnTo>
                <a:lnTo>
                  <a:pt x="725" y="802"/>
                </a:lnTo>
                <a:lnTo>
                  <a:pt x="724" y="802"/>
                </a:lnTo>
                <a:lnTo>
                  <a:pt x="723" y="802"/>
                </a:lnTo>
                <a:lnTo>
                  <a:pt x="723" y="796"/>
                </a:lnTo>
                <a:lnTo>
                  <a:pt x="723" y="796"/>
                </a:lnTo>
                <a:lnTo>
                  <a:pt x="723" y="795"/>
                </a:lnTo>
                <a:lnTo>
                  <a:pt x="722" y="792"/>
                </a:lnTo>
                <a:lnTo>
                  <a:pt x="719" y="792"/>
                </a:lnTo>
                <a:lnTo>
                  <a:pt x="719" y="785"/>
                </a:lnTo>
                <a:lnTo>
                  <a:pt x="727" y="791"/>
                </a:lnTo>
                <a:lnTo>
                  <a:pt x="720" y="785"/>
                </a:lnTo>
                <a:lnTo>
                  <a:pt x="723" y="783"/>
                </a:lnTo>
                <a:lnTo>
                  <a:pt x="722" y="783"/>
                </a:lnTo>
                <a:lnTo>
                  <a:pt x="724" y="782"/>
                </a:lnTo>
                <a:lnTo>
                  <a:pt x="726" y="780"/>
                </a:lnTo>
                <a:lnTo>
                  <a:pt x="731" y="780"/>
                </a:lnTo>
                <a:lnTo>
                  <a:pt x="726" y="777"/>
                </a:lnTo>
                <a:lnTo>
                  <a:pt x="727" y="774"/>
                </a:lnTo>
                <a:lnTo>
                  <a:pt x="723" y="779"/>
                </a:lnTo>
                <a:lnTo>
                  <a:pt x="722" y="782"/>
                </a:lnTo>
                <a:lnTo>
                  <a:pt x="720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lnTo>
                  <a:pt x="721" y="779"/>
                </a:lnTo>
                <a:lnTo>
                  <a:pt x="717" y="782"/>
                </a:lnTo>
                <a:lnTo>
                  <a:pt x="715" y="777"/>
                </a:lnTo>
                <a:lnTo>
                  <a:pt x="718" y="776"/>
                </a:lnTo>
                <a:lnTo>
                  <a:pt x="713" y="776"/>
                </a:lnTo>
                <a:lnTo>
                  <a:pt x="712" y="773"/>
                </a:lnTo>
                <a:lnTo>
                  <a:pt x="711" y="776"/>
                </a:lnTo>
                <a:lnTo>
                  <a:pt x="708" y="776"/>
                </a:lnTo>
                <a:lnTo>
                  <a:pt x="707" y="776"/>
                </a:lnTo>
                <a:lnTo>
                  <a:pt x="707" y="776"/>
                </a:lnTo>
                <a:lnTo>
                  <a:pt x="708" y="776"/>
                </a:lnTo>
                <a:lnTo>
                  <a:pt x="707" y="777"/>
                </a:lnTo>
                <a:lnTo>
                  <a:pt x="707" y="770"/>
                </a:lnTo>
                <a:lnTo>
                  <a:pt x="706" y="772"/>
                </a:lnTo>
                <a:lnTo>
                  <a:pt x="707" y="772"/>
                </a:lnTo>
                <a:lnTo>
                  <a:pt x="707" y="772"/>
                </a:lnTo>
                <a:lnTo>
                  <a:pt x="706" y="772"/>
                </a:lnTo>
                <a:lnTo>
                  <a:pt x="707" y="771"/>
                </a:lnTo>
                <a:lnTo>
                  <a:pt x="707" y="769"/>
                </a:lnTo>
                <a:lnTo>
                  <a:pt x="708" y="770"/>
                </a:lnTo>
                <a:lnTo>
                  <a:pt x="709" y="768"/>
                </a:lnTo>
                <a:lnTo>
                  <a:pt x="707" y="764"/>
                </a:lnTo>
                <a:lnTo>
                  <a:pt x="707" y="767"/>
                </a:lnTo>
                <a:lnTo>
                  <a:pt x="703" y="770"/>
                </a:lnTo>
                <a:lnTo>
                  <a:pt x="704" y="770"/>
                </a:lnTo>
                <a:lnTo>
                  <a:pt x="703" y="770"/>
                </a:lnTo>
                <a:lnTo>
                  <a:pt x="703" y="770"/>
                </a:lnTo>
                <a:lnTo>
                  <a:pt x="703" y="769"/>
                </a:lnTo>
                <a:lnTo>
                  <a:pt x="703" y="769"/>
                </a:lnTo>
                <a:lnTo>
                  <a:pt x="703" y="768"/>
                </a:lnTo>
                <a:lnTo>
                  <a:pt x="703" y="768"/>
                </a:lnTo>
                <a:lnTo>
                  <a:pt x="703" y="767"/>
                </a:lnTo>
                <a:lnTo>
                  <a:pt x="703" y="765"/>
                </a:lnTo>
                <a:lnTo>
                  <a:pt x="703" y="762"/>
                </a:lnTo>
                <a:lnTo>
                  <a:pt x="703" y="759"/>
                </a:lnTo>
                <a:lnTo>
                  <a:pt x="710" y="756"/>
                </a:lnTo>
                <a:lnTo>
                  <a:pt x="711" y="758"/>
                </a:lnTo>
                <a:lnTo>
                  <a:pt x="713" y="755"/>
                </a:lnTo>
                <a:lnTo>
                  <a:pt x="699" y="760"/>
                </a:lnTo>
                <a:lnTo>
                  <a:pt x="702" y="760"/>
                </a:lnTo>
                <a:lnTo>
                  <a:pt x="698" y="766"/>
                </a:lnTo>
                <a:lnTo>
                  <a:pt x="698" y="765"/>
                </a:lnTo>
                <a:lnTo>
                  <a:pt x="696" y="763"/>
                </a:lnTo>
                <a:lnTo>
                  <a:pt x="698" y="760"/>
                </a:lnTo>
                <a:lnTo>
                  <a:pt x="695" y="760"/>
                </a:lnTo>
                <a:lnTo>
                  <a:pt x="692" y="756"/>
                </a:lnTo>
                <a:lnTo>
                  <a:pt x="687" y="756"/>
                </a:lnTo>
                <a:lnTo>
                  <a:pt x="687" y="751"/>
                </a:lnTo>
                <a:lnTo>
                  <a:pt x="691" y="747"/>
                </a:lnTo>
                <a:lnTo>
                  <a:pt x="691" y="751"/>
                </a:lnTo>
                <a:lnTo>
                  <a:pt x="695" y="754"/>
                </a:lnTo>
                <a:lnTo>
                  <a:pt x="695" y="753"/>
                </a:lnTo>
                <a:lnTo>
                  <a:pt x="697" y="752"/>
                </a:lnTo>
                <a:lnTo>
                  <a:pt x="698" y="754"/>
                </a:lnTo>
                <a:lnTo>
                  <a:pt x="699" y="751"/>
                </a:lnTo>
                <a:lnTo>
                  <a:pt x="699" y="751"/>
                </a:lnTo>
                <a:lnTo>
                  <a:pt x="699" y="751"/>
                </a:lnTo>
                <a:lnTo>
                  <a:pt x="699" y="749"/>
                </a:lnTo>
                <a:lnTo>
                  <a:pt x="695" y="746"/>
                </a:lnTo>
                <a:lnTo>
                  <a:pt x="695" y="747"/>
                </a:lnTo>
                <a:lnTo>
                  <a:pt x="691" y="744"/>
                </a:lnTo>
                <a:lnTo>
                  <a:pt x="695" y="739"/>
                </a:lnTo>
                <a:lnTo>
                  <a:pt x="691" y="740"/>
                </a:lnTo>
                <a:lnTo>
                  <a:pt x="687" y="738"/>
                </a:lnTo>
                <a:lnTo>
                  <a:pt x="686" y="736"/>
                </a:lnTo>
                <a:lnTo>
                  <a:pt x="687" y="735"/>
                </a:lnTo>
                <a:lnTo>
                  <a:pt x="687" y="732"/>
                </a:lnTo>
                <a:lnTo>
                  <a:pt x="686" y="735"/>
                </a:lnTo>
                <a:lnTo>
                  <a:pt x="683" y="732"/>
                </a:lnTo>
                <a:lnTo>
                  <a:pt x="680" y="731"/>
                </a:lnTo>
                <a:lnTo>
                  <a:pt x="679" y="732"/>
                </a:lnTo>
                <a:lnTo>
                  <a:pt x="677" y="731"/>
                </a:lnTo>
                <a:lnTo>
                  <a:pt x="678" y="728"/>
                </a:lnTo>
                <a:lnTo>
                  <a:pt x="677" y="724"/>
                </a:lnTo>
                <a:lnTo>
                  <a:pt x="679" y="721"/>
                </a:lnTo>
                <a:lnTo>
                  <a:pt x="683" y="723"/>
                </a:ln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lnTo>
                  <a:pt x="675" y="719"/>
                </a:lnTo>
                <a:lnTo>
                  <a:pt x="675" y="715"/>
                </a:lnTo>
                <a:lnTo>
                  <a:pt x="675" y="719"/>
                </a:lnTo>
                <a:lnTo>
                  <a:pt x="673" y="713"/>
                </a:lnTo>
                <a:lnTo>
                  <a:pt x="676" y="709"/>
                </a:lnTo>
                <a:lnTo>
                  <a:pt x="672" y="713"/>
                </a:lnTo>
                <a:lnTo>
                  <a:pt x="669" y="713"/>
                </a:lnTo>
                <a:lnTo>
                  <a:pt x="670" y="706"/>
                </a:lnTo>
                <a:lnTo>
                  <a:pt x="673" y="704"/>
                </a:lnTo>
                <a:lnTo>
                  <a:pt x="670" y="704"/>
                </a:lnTo>
                <a:lnTo>
                  <a:pt x="666" y="709"/>
                </a:lnTo>
                <a:lnTo>
                  <a:pt x="665" y="708"/>
                </a:lnTo>
                <a:lnTo>
                  <a:pt x="665" y="708"/>
                </a:lnTo>
                <a:lnTo>
                  <a:pt x="660" y="707"/>
                </a:lnTo>
                <a:lnTo>
                  <a:pt x="661" y="706"/>
                </a:lnTo>
                <a:lnTo>
                  <a:pt x="658" y="704"/>
                </a:lnTo>
                <a:lnTo>
                  <a:pt x="655" y="698"/>
                </a:lnTo>
                <a:lnTo>
                  <a:pt x="655" y="696"/>
                </a:lnTo>
                <a:lnTo>
                  <a:pt x="653" y="697"/>
                </a:lnTo>
                <a:lnTo>
                  <a:pt x="653" y="696"/>
                </a:lnTo>
                <a:lnTo>
                  <a:pt x="650" y="685"/>
                </a:lnTo>
                <a:lnTo>
                  <a:pt x="651" y="690"/>
                </a:lnTo>
                <a:lnTo>
                  <a:pt x="646" y="686"/>
                </a:lnTo>
                <a:lnTo>
                  <a:pt x="651" y="698"/>
                </a:lnTo>
                <a:lnTo>
                  <a:pt x="651" y="704"/>
                </a:lnTo>
                <a:lnTo>
                  <a:pt x="651" y="711"/>
                </a:lnTo>
                <a:lnTo>
                  <a:pt x="650" y="711"/>
                </a:lnTo>
                <a:lnTo>
                  <a:pt x="647" y="706"/>
                </a:lnTo>
                <a:lnTo>
                  <a:pt x="641" y="705"/>
                </a:lnTo>
                <a:lnTo>
                  <a:pt x="643" y="702"/>
                </a:lnTo>
                <a:lnTo>
                  <a:pt x="639" y="697"/>
                </a:lnTo>
                <a:lnTo>
                  <a:pt x="644" y="696"/>
                </a:lnTo>
                <a:lnTo>
                  <a:pt x="639" y="696"/>
                </a:lnTo>
                <a:lnTo>
                  <a:pt x="639" y="696"/>
                </a:lnTo>
                <a:lnTo>
                  <a:pt x="636" y="697"/>
                </a:lnTo>
                <a:lnTo>
                  <a:pt x="631" y="692"/>
                </a:lnTo>
                <a:lnTo>
                  <a:pt x="630" y="693"/>
                </a:lnTo>
                <a:lnTo>
                  <a:pt x="624" y="690"/>
                </a:lnTo>
                <a:lnTo>
                  <a:pt x="626" y="693"/>
                </a:lnTo>
                <a:lnTo>
                  <a:pt x="631" y="696"/>
                </a:lnTo>
                <a:lnTo>
                  <a:pt x="635" y="698"/>
                </a:lnTo>
                <a:lnTo>
                  <a:pt x="639" y="704"/>
                </a:lnTo>
                <a:lnTo>
                  <a:pt x="635" y="707"/>
                </a:lnTo>
                <a:lnTo>
                  <a:pt x="630" y="704"/>
                </a:lnTo>
                <a:lnTo>
                  <a:pt x="630" y="704"/>
                </a:lnTo>
                <a:lnTo>
                  <a:pt x="631" y="705"/>
                </a:lnTo>
                <a:lnTo>
                  <a:pt x="632" y="707"/>
                </a:lnTo>
                <a:lnTo>
                  <a:pt x="631" y="709"/>
                </a:lnTo>
                <a:lnTo>
                  <a:pt x="627" y="705"/>
                </a:lnTo>
                <a:lnTo>
                  <a:pt x="617" y="702"/>
                </a:lnTo>
                <a:lnTo>
                  <a:pt x="619" y="700"/>
                </a:lnTo>
                <a:lnTo>
                  <a:pt x="616" y="700"/>
                </a:lnTo>
                <a:lnTo>
                  <a:pt x="609" y="691"/>
                </a:lnTo>
                <a:lnTo>
                  <a:pt x="602" y="688"/>
                </a:lnTo>
                <a:lnTo>
                  <a:pt x="586" y="681"/>
                </a:lnTo>
                <a:lnTo>
                  <a:pt x="590" y="677"/>
                </a:lnTo>
                <a:lnTo>
                  <a:pt x="590" y="679"/>
                </a:lnTo>
                <a:lnTo>
                  <a:pt x="590" y="677"/>
                </a:lnTo>
                <a:lnTo>
                  <a:pt x="590" y="676"/>
                </a:lnTo>
                <a:lnTo>
                  <a:pt x="598" y="676"/>
                </a:lnTo>
                <a:lnTo>
                  <a:pt x="589" y="670"/>
                </a:lnTo>
                <a:lnTo>
                  <a:pt x="590" y="671"/>
                </a:lnTo>
                <a:lnTo>
                  <a:pt x="590" y="677"/>
                </a:lnTo>
                <a:lnTo>
                  <a:pt x="587" y="671"/>
                </a:lnTo>
                <a:lnTo>
                  <a:pt x="583" y="674"/>
                </a:lnTo>
                <a:lnTo>
                  <a:pt x="577" y="675"/>
                </a:lnTo>
                <a:lnTo>
                  <a:pt x="563" y="671"/>
                </a:lnTo>
                <a:lnTo>
                  <a:pt x="564" y="669"/>
                </a:lnTo>
                <a:lnTo>
                  <a:pt x="563" y="665"/>
                </a:lnTo>
                <a:lnTo>
                  <a:pt x="560" y="667"/>
                </a:lnTo>
                <a:lnTo>
                  <a:pt x="563" y="669"/>
                </a:lnTo>
                <a:lnTo>
                  <a:pt x="558" y="671"/>
                </a:lnTo>
                <a:lnTo>
                  <a:pt x="543" y="668"/>
                </a:lnTo>
                <a:lnTo>
                  <a:pt x="526" y="671"/>
                </a:lnTo>
                <a:lnTo>
                  <a:pt x="520" y="668"/>
                </a:lnTo>
                <a:lnTo>
                  <a:pt x="516" y="668"/>
                </a:lnTo>
                <a:lnTo>
                  <a:pt x="510" y="664"/>
                </a:lnTo>
                <a:lnTo>
                  <a:pt x="513" y="656"/>
                </a:lnTo>
                <a:lnTo>
                  <a:pt x="515" y="652"/>
                </a:lnTo>
                <a:lnTo>
                  <a:pt x="505" y="660"/>
                </a:lnTo>
                <a:lnTo>
                  <a:pt x="498" y="659"/>
                </a:lnTo>
                <a:lnTo>
                  <a:pt x="501" y="656"/>
                </a:lnTo>
                <a:lnTo>
                  <a:pt x="491" y="656"/>
                </a:lnTo>
                <a:lnTo>
                  <a:pt x="496" y="653"/>
                </a:lnTo>
                <a:lnTo>
                  <a:pt x="494" y="652"/>
                </a:lnTo>
                <a:lnTo>
                  <a:pt x="494" y="652"/>
                </a:lnTo>
                <a:lnTo>
                  <a:pt x="494" y="652"/>
                </a:lnTo>
                <a:lnTo>
                  <a:pt x="494" y="651"/>
                </a:lnTo>
                <a:lnTo>
                  <a:pt x="494" y="651"/>
                </a:lnTo>
                <a:lnTo>
                  <a:pt x="494" y="651"/>
                </a:lnTo>
                <a:lnTo>
                  <a:pt x="494" y="651"/>
                </a:lnTo>
                <a:lnTo>
                  <a:pt x="493" y="649"/>
                </a:lnTo>
                <a:lnTo>
                  <a:pt x="487" y="651"/>
                </a:lnTo>
                <a:lnTo>
                  <a:pt x="485" y="648"/>
                </a:lnTo>
                <a:lnTo>
                  <a:pt x="486" y="644"/>
                </a:lnTo>
                <a:lnTo>
                  <a:pt x="481" y="648"/>
                </a:lnTo>
                <a:lnTo>
                  <a:pt x="480" y="648"/>
                </a:lnTo>
                <a:lnTo>
                  <a:pt x="475" y="652"/>
                </a:lnTo>
                <a:lnTo>
                  <a:pt x="470" y="652"/>
                </a:lnTo>
                <a:lnTo>
                  <a:pt x="470" y="648"/>
                </a:lnTo>
                <a:lnTo>
                  <a:pt x="468" y="651"/>
                </a:lnTo>
                <a:lnTo>
                  <a:pt x="465" y="647"/>
                </a:lnTo>
                <a:lnTo>
                  <a:pt x="471" y="641"/>
                </a:lnTo>
                <a:lnTo>
                  <a:pt x="465" y="646"/>
                </a:lnTo>
                <a:lnTo>
                  <a:pt x="463" y="644"/>
                </a:lnTo>
                <a:lnTo>
                  <a:pt x="461" y="647"/>
                </a:lnTo>
                <a:lnTo>
                  <a:pt x="460" y="648"/>
                </a:lnTo>
                <a:lnTo>
                  <a:pt x="463" y="647"/>
                </a:lnTo>
                <a:lnTo>
                  <a:pt x="461" y="652"/>
                </a:lnTo>
                <a:lnTo>
                  <a:pt x="460" y="652"/>
                </a:lnTo>
                <a:lnTo>
                  <a:pt x="456" y="654"/>
                </a:lnTo>
                <a:lnTo>
                  <a:pt x="462" y="652"/>
                </a:lnTo>
                <a:lnTo>
                  <a:pt x="463" y="656"/>
                </a:lnTo>
                <a:lnTo>
                  <a:pt x="456" y="659"/>
                </a:lnTo>
                <a:lnTo>
                  <a:pt x="460" y="658"/>
                </a:lnTo>
                <a:lnTo>
                  <a:pt x="462" y="659"/>
                </a:lnTo>
                <a:lnTo>
                  <a:pt x="465" y="656"/>
                </a:lnTo>
                <a:lnTo>
                  <a:pt x="467" y="659"/>
                </a:lnTo>
                <a:lnTo>
                  <a:pt x="463" y="663"/>
                </a:lnTo>
                <a:lnTo>
                  <a:pt x="467" y="660"/>
                </a:lnTo>
                <a:lnTo>
                  <a:pt x="465" y="664"/>
                </a:lnTo>
                <a:lnTo>
                  <a:pt x="465" y="664"/>
                </a:lnTo>
                <a:lnTo>
                  <a:pt x="462" y="667"/>
                </a:lnTo>
                <a:lnTo>
                  <a:pt x="462" y="665"/>
                </a:lnTo>
                <a:lnTo>
                  <a:pt x="461" y="672"/>
                </a:lnTo>
                <a:lnTo>
                  <a:pt x="450" y="672"/>
                </a:lnTo>
                <a:lnTo>
                  <a:pt x="450" y="667"/>
                </a:lnTo>
                <a:lnTo>
                  <a:pt x="446" y="671"/>
                </a:lnTo>
                <a:lnTo>
                  <a:pt x="446" y="669"/>
                </a:lnTo>
                <a:lnTo>
                  <a:pt x="444" y="667"/>
                </a:lnTo>
                <a:lnTo>
                  <a:pt x="442" y="672"/>
                </a:lnTo>
                <a:lnTo>
                  <a:pt x="438" y="670"/>
                </a:lnTo>
                <a:lnTo>
                  <a:pt x="438" y="677"/>
                </a:lnTo>
                <a:lnTo>
                  <a:pt x="437" y="675"/>
                </a:lnTo>
                <a:lnTo>
                  <a:pt x="437" y="677"/>
                </a:lnTo>
                <a:lnTo>
                  <a:pt x="432" y="681"/>
                </a:lnTo>
                <a:lnTo>
                  <a:pt x="433" y="675"/>
                </a:lnTo>
                <a:lnTo>
                  <a:pt x="429" y="681"/>
                </a:lnTo>
                <a:lnTo>
                  <a:pt x="426" y="679"/>
                </a:lnTo>
                <a:lnTo>
                  <a:pt x="426" y="681"/>
                </a:lnTo>
                <a:lnTo>
                  <a:pt x="426" y="682"/>
                </a:lnTo>
                <a:lnTo>
                  <a:pt x="423" y="688"/>
                </a:lnTo>
                <a:lnTo>
                  <a:pt x="418" y="688"/>
                </a:lnTo>
                <a:lnTo>
                  <a:pt x="418" y="686"/>
                </a:lnTo>
                <a:lnTo>
                  <a:pt x="415" y="685"/>
                </a:lnTo>
                <a:lnTo>
                  <a:pt x="413" y="688"/>
                </a:lnTo>
                <a:lnTo>
                  <a:pt x="408" y="685"/>
                </a:lnTo>
                <a:lnTo>
                  <a:pt x="409" y="682"/>
                </a:lnTo>
                <a:lnTo>
                  <a:pt x="416" y="681"/>
                </a:lnTo>
                <a:lnTo>
                  <a:pt x="422" y="674"/>
                </a:lnTo>
                <a:lnTo>
                  <a:pt x="416" y="677"/>
                </a:lnTo>
                <a:lnTo>
                  <a:pt x="409" y="675"/>
                </a:lnTo>
                <a:lnTo>
                  <a:pt x="413" y="669"/>
                </a:lnTo>
                <a:lnTo>
                  <a:pt x="419" y="660"/>
                </a:lnTo>
                <a:lnTo>
                  <a:pt x="420" y="658"/>
                </a:lnTo>
                <a:lnTo>
                  <a:pt x="419" y="652"/>
                </a:lnTo>
                <a:lnTo>
                  <a:pt x="432" y="647"/>
                </a:lnTo>
                <a:lnTo>
                  <a:pt x="434" y="648"/>
                </a:lnTo>
                <a:lnTo>
                  <a:pt x="441" y="648"/>
                </a:lnTo>
                <a:lnTo>
                  <a:pt x="452" y="652"/>
                </a:lnTo>
                <a:lnTo>
                  <a:pt x="449" y="648"/>
                </a:lnTo>
                <a:lnTo>
                  <a:pt x="442" y="648"/>
                </a:lnTo>
                <a:lnTo>
                  <a:pt x="437" y="643"/>
                </a:lnTo>
                <a:lnTo>
                  <a:pt x="437" y="644"/>
                </a:lnTo>
                <a:lnTo>
                  <a:pt x="429" y="644"/>
                </a:lnTo>
                <a:lnTo>
                  <a:pt x="422" y="645"/>
                </a:lnTo>
                <a:lnTo>
                  <a:pt x="421" y="647"/>
                </a:lnTo>
                <a:lnTo>
                  <a:pt x="415" y="648"/>
                </a:lnTo>
                <a:lnTo>
                  <a:pt x="412" y="653"/>
                </a:lnTo>
                <a:lnTo>
                  <a:pt x="413" y="656"/>
                </a:lnTo>
                <a:lnTo>
                  <a:pt x="409" y="656"/>
                </a:lnTo>
                <a:lnTo>
                  <a:pt x="404" y="660"/>
                </a:lnTo>
                <a:lnTo>
                  <a:pt x="402" y="663"/>
                </a:lnTo>
                <a:lnTo>
                  <a:pt x="399" y="664"/>
                </a:lnTo>
                <a:lnTo>
                  <a:pt x="396" y="663"/>
                </a:lnTo>
                <a:lnTo>
                  <a:pt x="401" y="668"/>
                </a:lnTo>
                <a:lnTo>
                  <a:pt x="399" y="671"/>
                </a:lnTo>
                <a:lnTo>
                  <a:pt x="390" y="676"/>
                </a:lnTo>
                <a:lnTo>
                  <a:pt x="390" y="676"/>
                </a:lnTo>
                <a:lnTo>
                  <a:pt x="390" y="675"/>
                </a:lnTo>
                <a:lnTo>
                  <a:pt x="389" y="680"/>
                </a:lnTo>
                <a:lnTo>
                  <a:pt x="387" y="680"/>
                </a:lnTo>
                <a:lnTo>
                  <a:pt x="389" y="677"/>
                </a:lnTo>
                <a:lnTo>
                  <a:pt x="387" y="674"/>
                </a:lnTo>
                <a:lnTo>
                  <a:pt x="386" y="679"/>
                </a:lnTo>
                <a:lnTo>
                  <a:pt x="381" y="681"/>
                </a:lnTo>
                <a:lnTo>
                  <a:pt x="381" y="682"/>
                </a:lnTo>
                <a:lnTo>
                  <a:pt x="377" y="684"/>
                </a:lnTo>
                <a:lnTo>
                  <a:pt x="379" y="684"/>
                </a:lnTo>
                <a:lnTo>
                  <a:pt x="373" y="688"/>
                </a:lnTo>
                <a:lnTo>
                  <a:pt x="373" y="692"/>
                </a:lnTo>
                <a:lnTo>
                  <a:pt x="385" y="692"/>
                </a:lnTo>
                <a:lnTo>
                  <a:pt x="390" y="697"/>
                </a:lnTo>
                <a:lnTo>
                  <a:pt x="386" y="701"/>
                </a:lnTo>
                <a:lnTo>
                  <a:pt x="377" y="704"/>
                </a:lnTo>
                <a:lnTo>
                  <a:pt x="379" y="705"/>
                </a:lnTo>
                <a:lnTo>
                  <a:pt x="374" y="708"/>
                </a:lnTo>
                <a:lnTo>
                  <a:pt x="377" y="708"/>
                </a:lnTo>
                <a:lnTo>
                  <a:pt x="375" y="712"/>
                </a:lnTo>
                <a:lnTo>
                  <a:pt x="373" y="712"/>
                </a:lnTo>
                <a:lnTo>
                  <a:pt x="370" y="716"/>
                </a:lnTo>
                <a:lnTo>
                  <a:pt x="363" y="716"/>
                </a:lnTo>
                <a:lnTo>
                  <a:pt x="362" y="717"/>
                </a:lnTo>
                <a:lnTo>
                  <a:pt x="360" y="720"/>
                </a:lnTo>
                <a:lnTo>
                  <a:pt x="355" y="720"/>
                </a:lnTo>
                <a:lnTo>
                  <a:pt x="353" y="724"/>
                </a:lnTo>
                <a:lnTo>
                  <a:pt x="345" y="724"/>
                </a:lnTo>
                <a:lnTo>
                  <a:pt x="345" y="728"/>
                </a:lnTo>
                <a:lnTo>
                  <a:pt x="347" y="728"/>
                </a:lnTo>
                <a:lnTo>
                  <a:pt x="342" y="732"/>
                </a:lnTo>
                <a:lnTo>
                  <a:pt x="344" y="732"/>
                </a:lnTo>
                <a:lnTo>
                  <a:pt x="342" y="736"/>
                </a:lnTo>
                <a:lnTo>
                  <a:pt x="336" y="736"/>
                </a:lnTo>
                <a:lnTo>
                  <a:pt x="333" y="740"/>
                </a:lnTo>
                <a:lnTo>
                  <a:pt x="329" y="738"/>
                </a:lnTo>
                <a:lnTo>
                  <a:pt x="326" y="742"/>
                </a:lnTo>
                <a:lnTo>
                  <a:pt x="327" y="743"/>
                </a:lnTo>
                <a:lnTo>
                  <a:pt x="324" y="742"/>
                </a:lnTo>
                <a:lnTo>
                  <a:pt x="320" y="744"/>
                </a:lnTo>
                <a:lnTo>
                  <a:pt x="319" y="744"/>
                </a:lnTo>
                <a:lnTo>
                  <a:pt x="318" y="744"/>
                </a:lnTo>
                <a:lnTo>
                  <a:pt x="319" y="744"/>
                </a:lnTo>
                <a:lnTo>
                  <a:pt x="319" y="744"/>
                </a:lnTo>
                <a:lnTo>
                  <a:pt x="318" y="744"/>
                </a:lnTo>
                <a:lnTo>
                  <a:pt x="318" y="744"/>
                </a:lnTo>
                <a:lnTo>
                  <a:pt x="318" y="744"/>
                </a:lnTo>
                <a:lnTo>
                  <a:pt x="315" y="747"/>
                </a:lnTo>
                <a:lnTo>
                  <a:pt x="311" y="752"/>
                </a:lnTo>
                <a:lnTo>
                  <a:pt x="314" y="752"/>
                </a:lnTo>
                <a:lnTo>
                  <a:pt x="315" y="752"/>
                </a:lnTo>
                <a:lnTo>
                  <a:pt x="318" y="752"/>
                </a:lnTo>
                <a:lnTo>
                  <a:pt x="318" y="752"/>
                </a:lnTo>
                <a:lnTo>
                  <a:pt x="316" y="753"/>
                </a:lnTo>
                <a:lnTo>
                  <a:pt x="316" y="753"/>
                </a:lnTo>
                <a:lnTo>
                  <a:pt x="315" y="753"/>
                </a:lnTo>
                <a:lnTo>
                  <a:pt x="314" y="757"/>
                </a:lnTo>
                <a:lnTo>
                  <a:pt x="312" y="756"/>
                </a:lnTo>
                <a:lnTo>
                  <a:pt x="309" y="756"/>
                </a:lnTo>
                <a:lnTo>
                  <a:pt x="309" y="758"/>
                </a:lnTo>
                <a:lnTo>
                  <a:pt x="307" y="756"/>
                </a:lnTo>
                <a:lnTo>
                  <a:pt x="307" y="758"/>
                </a:lnTo>
                <a:lnTo>
                  <a:pt x="301" y="759"/>
                </a:lnTo>
                <a:lnTo>
                  <a:pt x="296" y="765"/>
                </a:lnTo>
                <a:lnTo>
                  <a:pt x="297" y="760"/>
                </a:lnTo>
                <a:lnTo>
                  <a:pt x="294" y="760"/>
                </a:lnTo>
                <a:lnTo>
                  <a:pt x="289" y="763"/>
                </a:lnTo>
                <a:lnTo>
                  <a:pt x="286" y="765"/>
                </a:lnTo>
                <a:lnTo>
                  <a:pt x="284" y="769"/>
                </a:lnTo>
                <a:lnTo>
                  <a:pt x="283" y="768"/>
                </a:lnTo>
                <a:lnTo>
                  <a:pt x="281" y="768"/>
                </a:lnTo>
                <a:lnTo>
                  <a:pt x="281" y="767"/>
                </a:lnTo>
                <a:lnTo>
                  <a:pt x="277" y="767"/>
                </a:lnTo>
                <a:lnTo>
                  <a:pt x="274" y="772"/>
                </a:lnTo>
                <a:lnTo>
                  <a:pt x="269" y="772"/>
                </a:lnTo>
                <a:lnTo>
                  <a:pt x="269" y="767"/>
                </a:lnTo>
                <a:lnTo>
                  <a:pt x="270" y="765"/>
                </a:lnTo>
                <a:lnTo>
                  <a:pt x="269" y="764"/>
                </a:lnTo>
                <a:lnTo>
                  <a:pt x="265" y="770"/>
                </a:lnTo>
                <a:lnTo>
                  <a:pt x="262" y="773"/>
                </a:lnTo>
                <a:lnTo>
                  <a:pt x="262" y="774"/>
                </a:lnTo>
                <a:lnTo>
                  <a:pt x="257" y="776"/>
                </a:lnTo>
                <a:lnTo>
                  <a:pt x="257" y="776"/>
                </a:lnTo>
                <a:lnTo>
                  <a:pt x="256" y="776"/>
                </a:lnTo>
                <a:lnTo>
                  <a:pt x="255" y="772"/>
                </a:lnTo>
                <a:lnTo>
                  <a:pt x="255" y="772"/>
                </a:lnTo>
                <a:lnTo>
                  <a:pt x="256" y="772"/>
                </a:lnTo>
                <a:lnTo>
                  <a:pt x="255" y="769"/>
                </a:lnTo>
                <a:lnTo>
                  <a:pt x="259" y="764"/>
                </a:lnTo>
                <a:lnTo>
                  <a:pt x="265" y="760"/>
                </a:lnTo>
                <a:lnTo>
                  <a:pt x="277" y="760"/>
                </a:lnTo>
                <a:lnTo>
                  <a:pt x="281" y="764"/>
                </a:lnTo>
                <a:lnTo>
                  <a:pt x="279" y="759"/>
                </a:lnTo>
                <a:lnTo>
                  <a:pt x="285" y="762"/>
                </a:lnTo>
                <a:lnTo>
                  <a:pt x="285" y="759"/>
                </a:lnTo>
                <a:lnTo>
                  <a:pt x="281" y="756"/>
                </a:lnTo>
                <a:lnTo>
                  <a:pt x="286" y="749"/>
                </a:lnTo>
                <a:lnTo>
                  <a:pt x="304" y="740"/>
                </a:lnTo>
                <a:lnTo>
                  <a:pt x="309" y="740"/>
                </a:lnTo>
                <a:lnTo>
                  <a:pt x="309" y="732"/>
                </a:lnTo>
                <a:lnTo>
                  <a:pt x="321" y="725"/>
                </a:lnTo>
                <a:lnTo>
                  <a:pt x="324" y="725"/>
                </a:lnTo>
                <a:lnTo>
                  <a:pt x="326" y="728"/>
                </a:lnTo>
                <a:lnTo>
                  <a:pt x="327" y="728"/>
                </a:lnTo>
                <a:lnTo>
                  <a:pt x="329" y="728"/>
                </a:lnTo>
                <a:lnTo>
                  <a:pt x="329" y="723"/>
                </a:lnTo>
                <a:lnTo>
                  <a:pt x="327" y="724"/>
                </a:lnTo>
                <a:lnTo>
                  <a:pt x="324" y="721"/>
                </a:lnTo>
                <a:lnTo>
                  <a:pt x="326" y="712"/>
                </a:lnTo>
                <a:lnTo>
                  <a:pt x="328" y="709"/>
                </a:lnTo>
                <a:lnTo>
                  <a:pt x="325" y="708"/>
                </a:lnTo>
                <a:lnTo>
                  <a:pt x="325" y="704"/>
                </a:lnTo>
                <a:lnTo>
                  <a:pt x="333" y="697"/>
                </a:lnTo>
                <a:lnTo>
                  <a:pt x="338" y="689"/>
                </a:lnTo>
                <a:lnTo>
                  <a:pt x="334" y="694"/>
                </a:lnTo>
                <a:lnTo>
                  <a:pt x="318" y="702"/>
                </a:lnTo>
                <a:lnTo>
                  <a:pt x="311" y="698"/>
                </a:lnTo>
                <a:lnTo>
                  <a:pt x="314" y="696"/>
                </a:lnTo>
                <a:lnTo>
                  <a:pt x="318" y="696"/>
                </a:lnTo>
                <a:lnTo>
                  <a:pt x="322" y="696"/>
                </a:lnTo>
                <a:lnTo>
                  <a:pt x="313" y="686"/>
                </a:lnTo>
                <a:lnTo>
                  <a:pt x="313" y="690"/>
                </a:lnTo>
                <a:lnTo>
                  <a:pt x="311" y="696"/>
                </a:lnTo>
                <a:lnTo>
                  <a:pt x="311" y="696"/>
                </a:lnTo>
                <a:lnTo>
                  <a:pt x="308" y="696"/>
                </a:lnTo>
                <a:lnTo>
                  <a:pt x="310" y="700"/>
                </a:lnTo>
                <a:lnTo>
                  <a:pt x="309" y="700"/>
                </a:lnTo>
                <a:lnTo>
                  <a:pt x="310" y="702"/>
                </a:lnTo>
                <a:lnTo>
                  <a:pt x="307" y="704"/>
                </a:lnTo>
                <a:lnTo>
                  <a:pt x="304" y="704"/>
                </a:lnTo>
                <a:lnTo>
                  <a:pt x="297" y="692"/>
                </a:lnTo>
                <a:lnTo>
                  <a:pt x="292" y="697"/>
                </a:lnTo>
                <a:lnTo>
                  <a:pt x="288" y="692"/>
                </a:lnTo>
                <a:lnTo>
                  <a:pt x="286" y="691"/>
                </a:lnTo>
                <a:lnTo>
                  <a:pt x="276" y="698"/>
                </a:lnTo>
                <a:lnTo>
                  <a:pt x="275" y="698"/>
                </a:lnTo>
                <a:lnTo>
                  <a:pt x="275" y="698"/>
                </a:lnTo>
                <a:lnTo>
                  <a:pt x="269" y="702"/>
                </a:lnTo>
                <a:lnTo>
                  <a:pt x="261" y="700"/>
                </a:lnTo>
                <a:lnTo>
                  <a:pt x="264" y="700"/>
                </a:lnTo>
                <a:lnTo>
                  <a:pt x="267" y="698"/>
                </a:lnTo>
                <a:lnTo>
                  <a:pt x="265" y="693"/>
                </a:lnTo>
                <a:lnTo>
                  <a:pt x="265" y="690"/>
                </a:lnTo>
                <a:lnTo>
                  <a:pt x="269" y="688"/>
                </a:lnTo>
                <a:lnTo>
                  <a:pt x="264" y="690"/>
                </a:lnTo>
                <a:lnTo>
                  <a:pt x="263" y="688"/>
                </a:lnTo>
                <a:lnTo>
                  <a:pt x="263" y="684"/>
                </a:lnTo>
                <a:lnTo>
                  <a:pt x="267" y="681"/>
                </a:lnTo>
                <a:lnTo>
                  <a:pt x="259" y="667"/>
                </a:lnTo>
                <a:lnTo>
                  <a:pt x="260" y="664"/>
                </a:lnTo>
                <a:lnTo>
                  <a:pt x="257" y="665"/>
                </a:lnTo>
                <a:lnTo>
                  <a:pt x="257" y="663"/>
                </a:lnTo>
                <a:lnTo>
                  <a:pt x="258" y="656"/>
                </a:lnTo>
                <a:lnTo>
                  <a:pt x="254" y="663"/>
                </a:lnTo>
                <a:lnTo>
                  <a:pt x="253" y="665"/>
                </a:lnTo>
                <a:lnTo>
                  <a:pt x="253" y="669"/>
                </a:lnTo>
                <a:lnTo>
                  <a:pt x="244" y="676"/>
                </a:lnTo>
                <a:lnTo>
                  <a:pt x="232" y="676"/>
                </a:lnTo>
                <a:lnTo>
                  <a:pt x="230" y="671"/>
                </a:lnTo>
                <a:lnTo>
                  <a:pt x="232" y="669"/>
                </a:lnTo>
                <a:lnTo>
                  <a:pt x="226" y="668"/>
                </a:lnTo>
                <a:lnTo>
                  <a:pt x="225" y="663"/>
                </a:lnTo>
                <a:lnTo>
                  <a:pt x="218" y="660"/>
                </a:lnTo>
                <a:lnTo>
                  <a:pt x="213" y="660"/>
                </a:lnTo>
                <a:lnTo>
                  <a:pt x="221" y="652"/>
                </a:lnTo>
                <a:lnTo>
                  <a:pt x="217" y="652"/>
                </a:lnTo>
                <a:lnTo>
                  <a:pt x="217" y="648"/>
                </a:lnTo>
                <a:lnTo>
                  <a:pt x="217" y="648"/>
                </a:lnTo>
                <a:lnTo>
                  <a:pt x="216" y="648"/>
                </a:lnTo>
                <a:lnTo>
                  <a:pt x="223" y="644"/>
                </a:lnTo>
                <a:lnTo>
                  <a:pt x="217" y="644"/>
                </a:lnTo>
                <a:lnTo>
                  <a:pt x="217" y="641"/>
                </a:lnTo>
                <a:lnTo>
                  <a:pt x="216" y="644"/>
                </a:lnTo>
                <a:lnTo>
                  <a:pt x="215" y="644"/>
                </a:lnTo>
                <a:lnTo>
                  <a:pt x="217" y="639"/>
                </a:lnTo>
                <a:lnTo>
                  <a:pt x="215" y="640"/>
                </a:lnTo>
                <a:lnTo>
                  <a:pt x="213" y="644"/>
                </a:lnTo>
                <a:lnTo>
                  <a:pt x="215" y="644"/>
                </a:lnTo>
                <a:lnTo>
                  <a:pt x="212" y="647"/>
                </a:lnTo>
                <a:lnTo>
                  <a:pt x="209" y="644"/>
                </a:lnTo>
                <a:lnTo>
                  <a:pt x="209" y="641"/>
                </a:lnTo>
                <a:lnTo>
                  <a:pt x="205" y="640"/>
                </a:lnTo>
                <a:lnTo>
                  <a:pt x="205" y="637"/>
                </a:lnTo>
                <a:lnTo>
                  <a:pt x="205" y="636"/>
                </a:lnTo>
                <a:lnTo>
                  <a:pt x="205" y="635"/>
                </a:lnTo>
                <a:lnTo>
                  <a:pt x="201" y="636"/>
                </a:lnTo>
                <a:lnTo>
                  <a:pt x="201" y="632"/>
                </a:lnTo>
                <a:lnTo>
                  <a:pt x="201" y="631"/>
                </a:lnTo>
                <a:lnTo>
                  <a:pt x="203" y="633"/>
                </a:lnTo>
                <a:lnTo>
                  <a:pt x="208" y="633"/>
                </a:lnTo>
                <a:lnTo>
                  <a:pt x="204" y="632"/>
                </a:lnTo>
                <a:lnTo>
                  <a:pt x="210" y="632"/>
                </a:lnTo>
                <a:lnTo>
                  <a:pt x="208" y="626"/>
                </a:lnTo>
                <a:lnTo>
                  <a:pt x="210" y="621"/>
                </a:lnTo>
                <a:lnTo>
                  <a:pt x="216" y="613"/>
                </a:lnTo>
                <a:lnTo>
                  <a:pt x="219" y="612"/>
                </a:lnTo>
                <a:lnTo>
                  <a:pt x="225" y="614"/>
                </a:lnTo>
                <a:lnTo>
                  <a:pt x="222" y="612"/>
                </a:lnTo>
                <a:lnTo>
                  <a:pt x="226" y="607"/>
                </a:lnTo>
                <a:lnTo>
                  <a:pt x="223" y="609"/>
                </a:lnTo>
                <a:lnTo>
                  <a:pt x="222" y="606"/>
                </a:lnTo>
                <a:lnTo>
                  <a:pt x="225" y="604"/>
                </a:lnTo>
                <a:lnTo>
                  <a:pt x="229" y="604"/>
                </a:lnTo>
                <a:lnTo>
                  <a:pt x="225" y="599"/>
                </a:lnTo>
                <a:lnTo>
                  <a:pt x="226" y="595"/>
                </a:lnTo>
                <a:lnTo>
                  <a:pt x="234" y="595"/>
                </a:lnTo>
                <a:lnTo>
                  <a:pt x="244" y="604"/>
                </a:lnTo>
                <a:lnTo>
                  <a:pt x="247" y="604"/>
                </a:lnTo>
                <a:lnTo>
                  <a:pt x="255" y="597"/>
                </a:lnTo>
                <a:lnTo>
                  <a:pt x="258" y="591"/>
                </a:lnTo>
                <a:lnTo>
                  <a:pt x="263" y="591"/>
                </a:lnTo>
                <a:lnTo>
                  <a:pt x="260" y="591"/>
                </a:lnTo>
                <a:lnTo>
                  <a:pt x="273" y="588"/>
                </a:lnTo>
                <a:lnTo>
                  <a:pt x="277" y="582"/>
                </a:lnTo>
                <a:lnTo>
                  <a:pt x="277" y="579"/>
                </a:lnTo>
                <a:lnTo>
                  <a:pt x="276" y="571"/>
                </a:lnTo>
                <a:lnTo>
                  <a:pt x="275" y="567"/>
                </a:lnTo>
                <a:lnTo>
                  <a:pt x="270" y="567"/>
                </a:lnTo>
                <a:lnTo>
                  <a:pt x="270" y="563"/>
                </a:lnTo>
                <a:lnTo>
                  <a:pt x="275" y="565"/>
                </a:lnTo>
                <a:lnTo>
                  <a:pt x="277" y="562"/>
                </a:lnTo>
                <a:lnTo>
                  <a:pt x="277" y="559"/>
                </a:lnTo>
                <a:lnTo>
                  <a:pt x="274" y="556"/>
                </a:lnTo>
                <a:lnTo>
                  <a:pt x="270" y="559"/>
                </a:lnTo>
                <a:lnTo>
                  <a:pt x="260" y="559"/>
                </a:lnTo>
                <a:lnTo>
                  <a:pt x="253" y="565"/>
                </a:lnTo>
                <a:lnTo>
                  <a:pt x="253" y="566"/>
                </a:lnTo>
                <a:lnTo>
                  <a:pt x="250" y="567"/>
                </a:lnTo>
                <a:lnTo>
                  <a:pt x="249" y="565"/>
                </a:lnTo>
                <a:lnTo>
                  <a:pt x="247" y="559"/>
                </a:lnTo>
                <a:lnTo>
                  <a:pt x="244" y="563"/>
                </a:lnTo>
                <a:lnTo>
                  <a:pt x="248" y="565"/>
                </a:lnTo>
                <a:lnTo>
                  <a:pt x="247" y="566"/>
                </a:lnTo>
                <a:lnTo>
                  <a:pt x="241" y="563"/>
                </a:lnTo>
                <a:lnTo>
                  <a:pt x="237" y="562"/>
                </a:lnTo>
                <a:lnTo>
                  <a:pt x="221" y="563"/>
                </a:lnTo>
                <a:lnTo>
                  <a:pt x="221" y="567"/>
                </a:lnTo>
                <a:lnTo>
                  <a:pt x="223" y="567"/>
                </a:lnTo>
                <a:lnTo>
                  <a:pt x="219" y="568"/>
                </a:lnTo>
                <a:lnTo>
                  <a:pt x="204" y="563"/>
                </a:lnTo>
                <a:lnTo>
                  <a:pt x="199" y="559"/>
                </a:lnTo>
                <a:lnTo>
                  <a:pt x="197" y="558"/>
                </a:lnTo>
                <a:lnTo>
                  <a:pt x="199" y="554"/>
                </a:lnTo>
                <a:lnTo>
                  <a:pt x="191" y="547"/>
                </a:lnTo>
                <a:lnTo>
                  <a:pt x="196" y="550"/>
                </a:lnTo>
                <a:lnTo>
                  <a:pt x="198" y="545"/>
                </a:lnTo>
                <a:lnTo>
                  <a:pt x="184" y="542"/>
                </a:lnTo>
                <a:lnTo>
                  <a:pt x="173" y="536"/>
                </a:lnTo>
                <a:lnTo>
                  <a:pt x="177" y="533"/>
                </a:lnTo>
                <a:lnTo>
                  <a:pt x="174" y="536"/>
                </a:lnTo>
                <a:lnTo>
                  <a:pt x="181" y="535"/>
                </a:lnTo>
                <a:lnTo>
                  <a:pt x="181" y="533"/>
                </a:lnTo>
                <a:lnTo>
                  <a:pt x="181" y="531"/>
                </a:lnTo>
                <a:lnTo>
                  <a:pt x="189" y="531"/>
                </a:lnTo>
                <a:lnTo>
                  <a:pt x="192" y="531"/>
                </a:lnTo>
                <a:lnTo>
                  <a:pt x="191" y="529"/>
                </a:lnTo>
                <a:lnTo>
                  <a:pt x="200" y="524"/>
                </a:lnTo>
                <a:lnTo>
                  <a:pt x="208" y="525"/>
                </a:lnTo>
                <a:lnTo>
                  <a:pt x="211" y="524"/>
                </a:lnTo>
                <a:lnTo>
                  <a:pt x="206" y="522"/>
                </a:lnTo>
                <a:lnTo>
                  <a:pt x="210" y="520"/>
                </a:lnTo>
                <a:lnTo>
                  <a:pt x="229" y="515"/>
                </a:lnTo>
                <a:lnTo>
                  <a:pt x="236" y="515"/>
                </a:lnTo>
                <a:lnTo>
                  <a:pt x="235" y="517"/>
                </a:lnTo>
                <a:lnTo>
                  <a:pt x="233" y="519"/>
                </a:lnTo>
                <a:lnTo>
                  <a:pt x="233" y="520"/>
                </a:lnTo>
                <a:lnTo>
                  <a:pt x="229" y="525"/>
                </a:lnTo>
                <a:lnTo>
                  <a:pt x="238" y="531"/>
                </a:lnTo>
                <a:lnTo>
                  <a:pt x="263" y="531"/>
                </a:lnTo>
                <a:lnTo>
                  <a:pt x="265" y="531"/>
                </a:lnTo>
                <a:lnTo>
                  <a:pt x="270" y="523"/>
                </a:lnTo>
                <a:lnTo>
                  <a:pt x="277" y="523"/>
                </a:lnTo>
                <a:lnTo>
                  <a:pt x="274" y="520"/>
                </a:lnTo>
                <a:lnTo>
                  <a:pt x="269" y="517"/>
                </a:lnTo>
                <a:lnTo>
                  <a:pt x="261" y="519"/>
                </a:lnTo>
                <a:lnTo>
                  <a:pt x="261" y="513"/>
                </a:lnTo>
                <a:lnTo>
                  <a:pt x="258" y="509"/>
                </a:lnTo>
                <a:lnTo>
                  <a:pt x="256" y="508"/>
                </a:lnTo>
                <a:lnTo>
                  <a:pt x="252" y="506"/>
                </a:lnTo>
                <a:lnTo>
                  <a:pt x="258" y="504"/>
                </a:lnTo>
                <a:lnTo>
                  <a:pt x="261" y="507"/>
                </a:lnTo>
                <a:lnTo>
                  <a:pt x="263" y="512"/>
                </a:lnTo>
                <a:lnTo>
                  <a:pt x="269" y="517"/>
                </a:lnTo>
                <a:lnTo>
                  <a:pt x="272" y="515"/>
                </a:lnTo>
                <a:lnTo>
                  <a:pt x="270" y="515"/>
                </a:lnTo>
                <a:lnTo>
                  <a:pt x="264" y="512"/>
                </a:lnTo>
                <a:lnTo>
                  <a:pt x="267" y="507"/>
                </a:lnTo>
                <a:lnTo>
                  <a:pt x="270" y="507"/>
                </a:lnTo>
                <a:lnTo>
                  <a:pt x="264" y="503"/>
                </a:lnTo>
                <a:lnTo>
                  <a:pt x="256" y="503"/>
                </a:lnTo>
                <a:lnTo>
                  <a:pt x="257" y="499"/>
                </a:lnTo>
                <a:lnTo>
                  <a:pt x="253" y="502"/>
                </a:lnTo>
                <a:lnTo>
                  <a:pt x="233" y="501"/>
                </a:lnTo>
                <a:lnTo>
                  <a:pt x="233" y="494"/>
                </a:lnTo>
                <a:lnTo>
                  <a:pt x="230" y="487"/>
                </a:lnTo>
                <a:lnTo>
                  <a:pt x="213" y="475"/>
                </a:lnTo>
                <a:lnTo>
                  <a:pt x="192" y="468"/>
                </a:lnTo>
                <a:lnTo>
                  <a:pt x="199" y="467"/>
                </a:lnTo>
                <a:lnTo>
                  <a:pt x="201" y="463"/>
                </a:lnTo>
                <a:lnTo>
                  <a:pt x="201" y="455"/>
                </a:lnTo>
                <a:lnTo>
                  <a:pt x="228" y="452"/>
                </a:lnTo>
                <a:lnTo>
                  <a:pt x="236" y="448"/>
                </a:lnTo>
                <a:lnTo>
                  <a:pt x="241" y="440"/>
                </a:lnTo>
                <a:lnTo>
                  <a:pt x="241" y="443"/>
                </a:lnTo>
                <a:lnTo>
                  <a:pt x="246" y="441"/>
                </a:lnTo>
                <a:lnTo>
                  <a:pt x="249" y="433"/>
                </a:lnTo>
                <a:lnTo>
                  <a:pt x="248" y="431"/>
                </a:lnTo>
                <a:lnTo>
                  <a:pt x="263" y="417"/>
                </a:lnTo>
                <a:lnTo>
                  <a:pt x="265" y="418"/>
                </a:lnTo>
                <a:lnTo>
                  <a:pt x="260" y="421"/>
                </a:lnTo>
                <a:lnTo>
                  <a:pt x="273" y="418"/>
                </a:lnTo>
                <a:lnTo>
                  <a:pt x="289" y="409"/>
                </a:lnTo>
                <a:lnTo>
                  <a:pt x="289" y="415"/>
                </a:lnTo>
                <a:lnTo>
                  <a:pt x="291" y="415"/>
                </a:lnTo>
                <a:lnTo>
                  <a:pt x="293" y="417"/>
                </a:lnTo>
                <a:lnTo>
                  <a:pt x="294" y="413"/>
                </a:lnTo>
                <a:lnTo>
                  <a:pt x="296" y="413"/>
                </a:lnTo>
                <a:lnTo>
                  <a:pt x="292" y="411"/>
                </a:lnTo>
                <a:lnTo>
                  <a:pt x="289" y="411"/>
                </a:lnTo>
                <a:lnTo>
                  <a:pt x="301" y="405"/>
                </a:lnTo>
                <a:lnTo>
                  <a:pt x="303" y="406"/>
                </a:lnTo>
                <a:lnTo>
                  <a:pt x="307" y="404"/>
                </a:lnTo>
                <a:lnTo>
                  <a:pt x="323" y="402"/>
                </a:lnTo>
                <a:lnTo>
                  <a:pt x="341" y="390"/>
                </a:lnTo>
                <a:lnTo>
                  <a:pt x="343" y="391"/>
                </a:lnTo>
                <a:lnTo>
                  <a:pt x="355" y="395"/>
                </a:lnTo>
                <a:lnTo>
                  <a:pt x="356" y="396"/>
                </a:lnTo>
                <a:lnTo>
                  <a:pt x="353" y="399"/>
                </a:lnTo>
                <a:lnTo>
                  <a:pt x="347" y="403"/>
                </a:lnTo>
                <a:lnTo>
                  <a:pt x="349" y="403"/>
                </a:lnTo>
                <a:lnTo>
                  <a:pt x="349" y="406"/>
                </a:lnTo>
                <a:lnTo>
                  <a:pt x="355" y="402"/>
                </a:lnTo>
                <a:lnTo>
                  <a:pt x="359" y="399"/>
                </a:lnTo>
                <a:lnTo>
                  <a:pt x="362" y="399"/>
                </a:lnTo>
                <a:lnTo>
                  <a:pt x="359" y="396"/>
                </a:lnTo>
                <a:lnTo>
                  <a:pt x="361" y="394"/>
                </a:lnTo>
                <a:lnTo>
                  <a:pt x="361" y="397"/>
                </a:lnTo>
                <a:lnTo>
                  <a:pt x="363" y="399"/>
                </a:lnTo>
                <a:lnTo>
                  <a:pt x="367" y="399"/>
                </a:lnTo>
                <a:lnTo>
                  <a:pt x="370" y="400"/>
                </a:lnTo>
                <a:lnTo>
                  <a:pt x="369" y="401"/>
                </a:lnTo>
                <a:lnTo>
                  <a:pt x="369" y="402"/>
                </a:lnTo>
                <a:lnTo>
                  <a:pt x="375" y="405"/>
                </a:lnTo>
                <a:lnTo>
                  <a:pt x="381" y="403"/>
                </a:lnTo>
                <a:lnTo>
                  <a:pt x="390" y="403"/>
                </a:lnTo>
                <a:lnTo>
                  <a:pt x="404" y="403"/>
                </a:lnTo>
                <a:lnTo>
                  <a:pt x="402" y="407"/>
                </a:lnTo>
                <a:lnTo>
                  <a:pt x="407" y="411"/>
                </a:lnTo>
                <a:lnTo>
                  <a:pt x="413" y="411"/>
                </a:lnTo>
                <a:lnTo>
                  <a:pt x="408" y="414"/>
                </a:lnTo>
                <a:lnTo>
                  <a:pt x="420" y="417"/>
                </a:lnTo>
                <a:lnTo>
                  <a:pt x="421" y="415"/>
                </a:lnTo>
                <a:lnTo>
                  <a:pt x="426" y="415"/>
                </a:lnTo>
                <a:lnTo>
                  <a:pt x="430" y="415"/>
                </a:lnTo>
                <a:lnTo>
                  <a:pt x="430" y="413"/>
                </a:lnTo>
                <a:lnTo>
                  <a:pt x="439" y="415"/>
                </a:lnTo>
                <a:lnTo>
                  <a:pt x="449" y="415"/>
                </a:lnTo>
                <a:lnTo>
                  <a:pt x="460" y="418"/>
                </a:lnTo>
                <a:lnTo>
                  <a:pt x="463" y="416"/>
                </a:lnTo>
                <a:lnTo>
                  <a:pt x="471" y="420"/>
                </a:lnTo>
                <a:lnTo>
                  <a:pt x="498" y="421"/>
                </a:lnTo>
                <a:lnTo>
                  <a:pt x="510" y="428"/>
                </a:lnTo>
                <a:lnTo>
                  <a:pt x="534" y="422"/>
                </a:lnTo>
                <a:lnTo>
                  <a:pt x="543" y="427"/>
                </a:lnTo>
                <a:lnTo>
                  <a:pt x="563" y="439"/>
                </a:lnTo>
                <a:lnTo>
                  <a:pt x="566" y="439"/>
                </a:lnTo>
                <a:lnTo>
                  <a:pt x="566" y="439"/>
                </a:lnTo>
                <a:lnTo>
                  <a:pt x="592" y="442"/>
                </a:lnTo>
                <a:lnTo>
                  <a:pt x="600" y="448"/>
                </a:lnTo>
                <a:lnTo>
                  <a:pt x="619" y="456"/>
                </a:lnTo>
                <a:lnTo>
                  <a:pt x="637" y="458"/>
                </a:lnTo>
                <a:lnTo>
                  <a:pt x="648" y="463"/>
                </a:lnTo>
                <a:lnTo>
                  <a:pt x="651" y="463"/>
                </a:lnTo>
                <a:lnTo>
                  <a:pt x="646" y="459"/>
                </a:lnTo>
                <a:lnTo>
                  <a:pt x="649" y="459"/>
                </a:lnTo>
                <a:lnTo>
                  <a:pt x="645" y="458"/>
                </a:lnTo>
                <a:lnTo>
                  <a:pt x="648" y="457"/>
                </a:lnTo>
                <a:lnTo>
                  <a:pt x="639" y="456"/>
                </a:lnTo>
                <a:lnTo>
                  <a:pt x="639" y="453"/>
                </a:lnTo>
                <a:lnTo>
                  <a:pt x="645" y="455"/>
                </a:lnTo>
                <a:lnTo>
                  <a:pt x="646" y="455"/>
                </a:lnTo>
                <a:lnTo>
                  <a:pt x="639" y="453"/>
                </a:lnTo>
                <a:lnTo>
                  <a:pt x="639" y="448"/>
                </a:lnTo>
                <a:lnTo>
                  <a:pt x="645" y="451"/>
                </a:lnTo>
                <a:lnTo>
                  <a:pt x="641" y="448"/>
                </a:lnTo>
                <a:lnTo>
                  <a:pt x="646" y="447"/>
                </a:lnTo>
                <a:lnTo>
                  <a:pt x="651" y="448"/>
                </a:lnTo>
                <a:lnTo>
                  <a:pt x="649" y="443"/>
                </a:lnTo>
                <a:lnTo>
                  <a:pt x="651" y="443"/>
                </a:lnTo>
                <a:lnTo>
                  <a:pt x="659" y="443"/>
                </a:lnTo>
                <a:lnTo>
                  <a:pt x="659" y="439"/>
                </a:lnTo>
                <a:lnTo>
                  <a:pt x="660" y="439"/>
                </a:lnTo>
                <a:lnTo>
                  <a:pt x="663" y="439"/>
                </a:lnTo>
                <a:lnTo>
                  <a:pt x="663" y="443"/>
                </a:lnTo>
                <a:lnTo>
                  <a:pt x="671" y="443"/>
                </a:lnTo>
                <a:lnTo>
                  <a:pt x="664" y="451"/>
                </a:lnTo>
                <a:lnTo>
                  <a:pt x="673" y="445"/>
                </a:lnTo>
                <a:lnTo>
                  <a:pt x="681" y="443"/>
                </a:lnTo>
                <a:lnTo>
                  <a:pt x="685" y="439"/>
                </a:lnTo>
                <a:lnTo>
                  <a:pt x="690" y="439"/>
                </a:lnTo>
                <a:lnTo>
                  <a:pt x="690" y="437"/>
                </a:lnTo>
                <a:lnTo>
                  <a:pt x="695" y="436"/>
                </a:lnTo>
                <a:lnTo>
                  <a:pt x="705" y="431"/>
                </a:lnTo>
                <a:lnTo>
                  <a:pt x="707" y="431"/>
                </a:lnTo>
                <a:lnTo>
                  <a:pt x="707" y="433"/>
                </a:lnTo>
                <a:lnTo>
                  <a:pt x="712" y="429"/>
                </a:lnTo>
                <a:lnTo>
                  <a:pt x="718" y="427"/>
                </a:lnTo>
                <a:lnTo>
                  <a:pt x="719" y="427"/>
                </a:lnTo>
                <a:lnTo>
                  <a:pt x="719" y="425"/>
                </a:lnTo>
                <a:lnTo>
                  <a:pt x="726" y="428"/>
                </a:lnTo>
                <a:lnTo>
                  <a:pt x="730" y="422"/>
                </a:lnTo>
                <a:lnTo>
                  <a:pt x="734" y="425"/>
                </a:lnTo>
                <a:lnTo>
                  <a:pt x="733" y="429"/>
                </a:lnTo>
                <a:lnTo>
                  <a:pt x="719" y="435"/>
                </a:lnTo>
                <a:lnTo>
                  <a:pt x="712" y="440"/>
                </a:lnTo>
                <a:lnTo>
                  <a:pt x="711" y="439"/>
                </a:lnTo>
                <a:lnTo>
                  <a:pt x="709" y="439"/>
                </a:lnTo>
                <a:lnTo>
                  <a:pt x="711" y="443"/>
                </a:lnTo>
                <a:lnTo>
                  <a:pt x="708" y="440"/>
                </a:lnTo>
                <a:lnTo>
                  <a:pt x="708" y="440"/>
                </a:lnTo>
                <a:lnTo>
                  <a:pt x="708" y="440"/>
                </a:lnTo>
                <a:lnTo>
                  <a:pt x="708" y="440"/>
                </a:lnTo>
                <a:lnTo>
                  <a:pt x="708" y="440"/>
                </a:lnTo>
                <a:lnTo>
                  <a:pt x="697" y="442"/>
                </a:lnTo>
                <a:lnTo>
                  <a:pt x="695" y="443"/>
                </a:lnTo>
                <a:lnTo>
                  <a:pt x="695" y="445"/>
                </a:lnTo>
                <a:lnTo>
                  <a:pt x="686" y="448"/>
                </a:lnTo>
                <a:lnTo>
                  <a:pt x="685" y="453"/>
                </a:lnTo>
                <a:lnTo>
                  <a:pt x="679" y="454"/>
                </a:lnTo>
                <a:lnTo>
                  <a:pt x="679" y="456"/>
                </a:lnTo>
                <a:lnTo>
                  <a:pt x="674" y="459"/>
                </a:lnTo>
                <a:lnTo>
                  <a:pt x="685" y="463"/>
                </a:lnTo>
                <a:lnTo>
                  <a:pt x="678" y="459"/>
                </a:lnTo>
                <a:lnTo>
                  <a:pt x="686" y="459"/>
                </a:lnTo>
                <a:lnTo>
                  <a:pt x="685" y="454"/>
                </a:lnTo>
                <a:lnTo>
                  <a:pt x="690" y="452"/>
                </a:lnTo>
                <a:lnTo>
                  <a:pt x="692" y="448"/>
                </a:lnTo>
                <a:lnTo>
                  <a:pt x="693" y="453"/>
                </a:lnTo>
                <a:lnTo>
                  <a:pt x="701" y="447"/>
                </a:lnTo>
                <a:lnTo>
                  <a:pt x="697" y="447"/>
                </a:lnTo>
                <a:lnTo>
                  <a:pt x="701" y="443"/>
                </a:lnTo>
                <a:lnTo>
                  <a:pt x="705" y="443"/>
                </a:lnTo>
                <a:lnTo>
                  <a:pt x="704" y="447"/>
                </a:lnTo>
                <a:lnTo>
                  <a:pt x="707" y="442"/>
                </a:lnTo>
                <a:lnTo>
                  <a:pt x="707" y="445"/>
                </a:lnTo>
                <a:lnTo>
                  <a:pt x="705" y="447"/>
                </a:lnTo>
                <a:lnTo>
                  <a:pt x="707" y="447"/>
                </a:lnTo>
                <a:lnTo>
                  <a:pt x="709" y="445"/>
                </a:lnTo>
                <a:lnTo>
                  <a:pt x="711" y="443"/>
                </a:lnTo>
                <a:lnTo>
                  <a:pt x="709" y="447"/>
                </a:lnTo>
                <a:lnTo>
                  <a:pt x="712" y="442"/>
                </a:lnTo>
                <a:lnTo>
                  <a:pt x="711" y="447"/>
                </a:lnTo>
                <a:lnTo>
                  <a:pt x="712" y="445"/>
                </a:lnTo>
                <a:lnTo>
                  <a:pt x="712" y="447"/>
                </a:lnTo>
                <a:lnTo>
                  <a:pt x="719" y="436"/>
                </a:lnTo>
                <a:lnTo>
                  <a:pt x="737" y="431"/>
                </a:lnTo>
                <a:lnTo>
                  <a:pt x="739" y="430"/>
                </a:lnTo>
                <a:lnTo>
                  <a:pt x="739" y="435"/>
                </a:lnTo>
                <a:lnTo>
                  <a:pt x="735" y="435"/>
                </a:lnTo>
                <a:lnTo>
                  <a:pt x="735" y="439"/>
                </a:lnTo>
                <a:lnTo>
                  <a:pt x="741" y="439"/>
                </a:lnTo>
                <a:lnTo>
                  <a:pt x="747" y="430"/>
                </a:lnTo>
                <a:lnTo>
                  <a:pt x="747" y="425"/>
                </a:lnTo>
                <a:lnTo>
                  <a:pt x="762" y="422"/>
                </a:lnTo>
                <a:lnTo>
                  <a:pt x="753" y="420"/>
                </a:lnTo>
                <a:lnTo>
                  <a:pt x="756" y="419"/>
                </a:lnTo>
                <a:lnTo>
                  <a:pt x="752" y="419"/>
                </a:lnTo>
                <a:lnTo>
                  <a:pt x="753" y="412"/>
                </a:lnTo>
                <a:lnTo>
                  <a:pt x="766" y="422"/>
                </a:lnTo>
                <a:lnTo>
                  <a:pt x="773" y="435"/>
                </a:lnTo>
                <a:lnTo>
                  <a:pt x="778" y="442"/>
                </a:lnTo>
                <a:lnTo>
                  <a:pt x="791" y="447"/>
                </a:lnTo>
                <a:lnTo>
                  <a:pt x="791" y="445"/>
                </a:lnTo>
                <a:lnTo>
                  <a:pt x="797" y="443"/>
                </a:lnTo>
                <a:lnTo>
                  <a:pt x="791" y="439"/>
                </a:lnTo>
                <a:lnTo>
                  <a:pt x="791" y="436"/>
                </a:lnTo>
                <a:lnTo>
                  <a:pt x="795" y="436"/>
                </a:lnTo>
                <a:lnTo>
                  <a:pt x="793" y="435"/>
                </a:lnTo>
                <a:lnTo>
                  <a:pt x="797" y="435"/>
                </a:lnTo>
                <a:lnTo>
                  <a:pt x="799" y="429"/>
                </a:lnTo>
                <a:lnTo>
                  <a:pt x="795" y="430"/>
                </a:lnTo>
                <a:lnTo>
                  <a:pt x="795" y="429"/>
                </a:lnTo>
                <a:lnTo>
                  <a:pt x="797" y="428"/>
                </a:lnTo>
                <a:lnTo>
                  <a:pt x="797" y="429"/>
                </a:lnTo>
                <a:lnTo>
                  <a:pt x="804" y="428"/>
                </a:lnTo>
                <a:lnTo>
                  <a:pt x="805" y="429"/>
                </a:lnTo>
                <a:lnTo>
                  <a:pt x="807" y="428"/>
                </a:lnTo>
                <a:lnTo>
                  <a:pt x="805" y="436"/>
                </a:lnTo>
                <a:lnTo>
                  <a:pt x="811" y="437"/>
                </a:lnTo>
                <a:lnTo>
                  <a:pt x="805" y="447"/>
                </a:lnTo>
                <a:lnTo>
                  <a:pt x="807" y="447"/>
                </a:lnTo>
                <a:lnTo>
                  <a:pt x="819" y="447"/>
                </a:lnTo>
                <a:lnTo>
                  <a:pt x="819" y="443"/>
                </a:lnTo>
                <a:lnTo>
                  <a:pt x="824" y="443"/>
                </a:lnTo>
                <a:lnTo>
                  <a:pt x="826" y="437"/>
                </a:lnTo>
                <a:lnTo>
                  <a:pt x="827" y="435"/>
                </a:lnTo>
                <a:lnTo>
                  <a:pt x="846" y="435"/>
                </a:lnTo>
                <a:lnTo>
                  <a:pt x="859" y="440"/>
                </a:lnTo>
                <a:lnTo>
                  <a:pt x="867" y="445"/>
                </a:lnTo>
                <a:lnTo>
                  <a:pt x="887" y="448"/>
                </a:lnTo>
                <a:lnTo>
                  <a:pt x="899" y="455"/>
                </a:lnTo>
                <a:lnTo>
                  <a:pt x="912" y="459"/>
                </a:lnTo>
                <a:lnTo>
                  <a:pt x="930" y="460"/>
                </a:lnTo>
                <a:lnTo>
                  <a:pt x="924" y="459"/>
                </a:lnTo>
                <a:lnTo>
                  <a:pt x="935" y="459"/>
                </a:lnTo>
                <a:lnTo>
                  <a:pt x="952" y="464"/>
                </a:lnTo>
                <a:lnTo>
                  <a:pt x="956" y="468"/>
                </a:lnTo>
                <a:lnTo>
                  <a:pt x="956" y="474"/>
                </a:lnTo>
                <a:lnTo>
                  <a:pt x="936" y="476"/>
                </a:lnTo>
                <a:lnTo>
                  <a:pt x="936" y="479"/>
                </a:lnTo>
                <a:lnTo>
                  <a:pt x="941" y="481"/>
                </a:lnTo>
                <a:lnTo>
                  <a:pt x="936" y="482"/>
                </a:lnTo>
                <a:lnTo>
                  <a:pt x="943" y="486"/>
                </a:lnTo>
                <a:lnTo>
                  <a:pt x="980" y="488"/>
                </a:lnTo>
                <a:lnTo>
                  <a:pt x="998" y="485"/>
                </a:lnTo>
                <a:lnTo>
                  <a:pt x="1002" y="487"/>
                </a:lnTo>
                <a:lnTo>
                  <a:pt x="1014" y="481"/>
                </a:lnTo>
                <a:lnTo>
                  <a:pt x="1016" y="482"/>
                </a:lnTo>
                <a:lnTo>
                  <a:pt x="1016" y="485"/>
                </a:lnTo>
                <a:lnTo>
                  <a:pt x="1016" y="491"/>
                </a:lnTo>
                <a:lnTo>
                  <a:pt x="1028" y="491"/>
                </a:lnTo>
                <a:lnTo>
                  <a:pt x="1031" y="494"/>
                </a:lnTo>
                <a:lnTo>
                  <a:pt x="1029" y="493"/>
                </a:lnTo>
                <a:lnTo>
                  <a:pt x="1032" y="497"/>
                </a:lnTo>
                <a:lnTo>
                  <a:pt x="1032" y="491"/>
                </a:lnTo>
                <a:lnTo>
                  <a:pt x="1035" y="491"/>
                </a:lnTo>
                <a:lnTo>
                  <a:pt x="1038" y="498"/>
                </a:lnTo>
                <a:lnTo>
                  <a:pt x="1039" y="497"/>
                </a:lnTo>
                <a:lnTo>
                  <a:pt x="1045" y="500"/>
                </a:lnTo>
                <a:lnTo>
                  <a:pt x="1046" y="507"/>
                </a:lnTo>
                <a:lnTo>
                  <a:pt x="1045" y="507"/>
                </a:lnTo>
                <a:lnTo>
                  <a:pt x="1043" y="505"/>
                </a:lnTo>
                <a:lnTo>
                  <a:pt x="1044" y="507"/>
                </a:lnTo>
                <a:lnTo>
                  <a:pt x="1043" y="507"/>
                </a:lnTo>
                <a:lnTo>
                  <a:pt x="1042" y="507"/>
                </a:lnTo>
                <a:lnTo>
                  <a:pt x="1035" y="503"/>
                </a:lnTo>
                <a:lnTo>
                  <a:pt x="1036" y="505"/>
                </a:lnTo>
                <a:lnTo>
                  <a:pt x="1042" y="507"/>
                </a:lnTo>
                <a:lnTo>
                  <a:pt x="1044" y="515"/>
                </a:lnTo>
                <a:lnTo>
                  <a:pt x="1044" y="511"/>
                </a:lnTo>
                <a:lnTo>
                  <a:pt x="1055" y="522"/>
                </a:lnTo>
                <a:lnTo>
                  <a:pt x="1050" y="516"/>
                </a:lnTo>
                <a:lnTo>
                  <a:pt x="1047" y="509"/>
                </a:lnTo>
                <a:lnTo>
                  <a:pt x="1049" y="505"/>
                </a:lnTo>
                <a:lnTo>
                  <a:pt x="1052" y="511"/>
                </a:lnTo>
                <a:lnTo>
                  <a:pt x="1054" y="511"/>
                </a:lnTo>
                <a:lnTo>
                  <a:pt x="1052" y="508"/>
                </a:lnTo>
                <a:lnTo>
                  <a:pt x="1057" y="510"/>
                </a:lnTo>
                <a:lnTo>
                  <a:pt x="1052" y="505"/>
                </a:lnTo>
                <a:lnTo>
                  <a:pt x="1052" y="503"/>
                </a:lnTo>
                <a:lnTo>
                  <a:pt x="1052" y="503"/>
                </a:lnTo>
                <a:lnTo>
                  <a:pt x="1052" y="500"/>
                </a:lnTo>
                <a:lnTo>
                  <a:pt x="1053" y="501"/>
                </a:lnTo>
                <a:lnTo>
                  <a:pt x="1052" y="502"/>
                </a:lnTo>
                <a:lnTo>
                  <a:pt x="1052" y="503"/>
                </a:lnTo>
                <a:lnTo>
                  <a:pt x="1054" y="503"/>
                </a:lnTo>
                <a:lnTo>
                  <a:pt x="1052" y="501"/>
                </a:lnTo>
                <a:lnTo>
                  <a:pt x="1051" y="500"/>
                </a:lnTo>
                <a:lnTo>
                  <a:pt x="1049" y="497"/>
                </a:lnTo>
                <a:lnTo>
                  <a:pt x="1050" y="493"/>
                </a:lnTo>
                <a:lnTo>
                  <a:pt x="1044" y="487"/>
                </a:lnTo>
                <a:lnTo>
                  <a:pt x="1045" y="485"/>
                </a:lnTo>
                <a:lnTo>
                  <a:pt x="1049" y="482"/>
                </a:lnTo>
                <a:lnTo>
                  <a:pt x="1044" y="481"/>
                </a:lnTo>
                <a:lnTo>
                  <a:pt x="1052" y="479"/>
                </a:lnTo>
                <a:lnTo>
                  <a:pt x="1060" y="477"/>
                </a:lnTo>
                <a:lnTo>
                  <a:pt x="1060" y="476"/>
                </a:lnTo>
                <a:lnTo>
                  <a:pt x="1063" y="474"/>
                </a:lnTo>
                <a:lnTo>
                  <a:pt x="1067" y="477"/>
                </a:lnTo>
                <a:lnTo>
                  <a:pt x="1067" y="476"/>
                </a:lnTo>
                <a:lnTo>
                  <a:pt x="1064" y="474"/>
                </a:lnTo>
                <a:lnTo>
                  <a:pt x="1064" y="473"/>
                </a:lnTo>
                <a:lnTo>
                  <a:pt x="1064" y="473"/>
                </a:lnTo>
                <a:lnTo>
                  <a:pt x="1062" y="469"/>
                </a:lnTo>
                <a:lnTo>
                  <a:pt x="1056" y="474"/>
                </a:lnTo>
                <a:lnTo>
                  <a:pt x="1050" y="470"/>
                </a:lnTo>
                <a:lnTo>
                  <a:pt x="1047" y="473"/>
                </a:lnTo>
                <a:lnTo>
                  <a:pt x="1046" y="475"/>
                </a:lnTo>
                <a:lnTo>
                  <a:pt x="1050" y="477"/>
                </a:lnTo>
                <a:lnTo>
                  <a:pt x="1039" y="478"/>
                </a:lnTo>
                <a:lnTo>
                  <a:pt x="1038" y="479"/>
                </a:lnTo>
                <a:lnTo>
                  <a:pt x="1036" y="479"/>
                </a:lnTo>
                <a:lnTo>
                  <a:pt x="1036" y="473"/>
                </a:lnTo>
                <a:lnTo>
                  <a:pt x="1033" y="474"/>
                </a:lnTo>
                <a:lnTo>
                  <a:pt x="1039" y="465"/>
                </a:lnTo>
                <a:lnTo>
                  <a:pt x="1056" y="463"/>
                </a:lnTo>
                <a:lnTo>
                  <a:pt x="1069" y="456"/>
                </a:lnTo>
                <a:lnTo>
                  <a:pt x="1076" y="458"/>
                </a:lnTo>
                <a:lnTo>
                  <a:pt x="1080" y="462"/>
                </a:lnTo>
                <a:lnTo>
                  <a:pt x="1080" y="465"/>
                </a:lnTo>
                <a:lnTo>
                  <a:pt x="1082" y="468"/>
                </a:lnTo>
                <a:lnTo>
                  <a:pt x="1079" y="470"/>
                </a:lnTo>
                <a:lnTo>
                  <a:pt x="1087" y="474"/>
                </a:lnTo>
                <a:lnTo>
                  <a:pt x="1090" y="474"/>
                </a:lnTo>
                <a:lnTo>
                  <a:pt x="1089" y="475"/>
                </a:lnTo>
                <a:lnTo>
                  <a:pt x="1094" y="475"/>
                </a:lnTo>
                <a:lnTo>
                  <a:pt x="1091" y="477"/>
                </a:lnTo>
                <a:lnTo>
                  <a:pt x="1095" y="479"/>
                </a:lnTo>
                <a:lnTo>
                  <a:pt x="1106" y="479"/>
                </a:lnTo>
                <a:lnTo>
                  <a:pt x="1111" y="477"/>
                </a:lnTo>
                <a:lnTo>
                  <a:pt x="1112" y="478"/>
                </a:lnTo>
                <a:lnTo>
                  <a:pt x="1111" y="483"/>
                </a:lnTo>
                <a:lnTo>
                  <a:pt x="1127" y="491"/>
                </a:lnTo>
                <a:lnTo>
                  <a:pt x="1131" y="491"/>
                </a:lnTo>
                <a:lnTo>
                  <a:pt x="1138" y="490"/>
                </a:lnTo>
                <a:lnTo>
                  <a:pt x="1155" y="485"/>
                </a:lnTo>
                <a:lnTo>
                  <a:pt x="1168" y="486"/>
                </a:lnTo>
                <a:lnTo>
                  <a:pt x="1172" y="487"/>
                </a:lnTo>
                <a:lnTo>
                  <a:pt x="1184" y="486"/>
                </a:lnTo>
                <a:lnTo>
                  <a:pt x="1177" y="482"/>
                </a:lnTo>
                <a:lnTo>
                  <a:pt x="1177" y="479"/>
                </a:lnTo>
                <a:lnTo>
                  <a:pt x="1181" y="479"/>
                </a:lnTo>
                <a:lnTo>
                  <a:pt x="1188" y="488"/>
                </a:lnTo>
                <a:lnTo>
                  <a:pt x="1197" y="490"/>
                </a:lnTo>
                <a:lnTo>
                  <a:pt x="1201" y="488"/>
                </a:lnTo>
                <a:lnTo>
                  <a:pt x="1201" y="486"/>
                </a:lnTo>
                <a:lnTo>
                  <a:pt x="1201" y="482"/>
                </a:lnTo>
                <a:lnTo>
                  <a:pt x="1200" y="485"/>
                </a:lnTo>
                <a:lnTo>
                  <a:pt x="1195" y="481"/>
                </a:lnTo>
                <a:lnTo>
                  <a:pt x="1190" y="482"/>
                </a:lnTo>
                <a:lnTo>
                  <a:pt x="1188" y="485"/>
                </a:lnTo>
                <a:lnTo>
                  <a:pt x="1181" y="478"/>
                </a:lnTo>
                <a:lnTo>
                  <a:pt x="1181" y="479"/>
                </a:lnTo>
                <a:lnTo>
                  <a:pt x="1181" y="477"/>
                </a:lnTo>
                <a:lnTo>
                  <a:pt x="1181" y="477"/>
                </a:lnTo>
                <a:lnTo>
                  <a:pt x="1181" y="477"/>
                </a:lnTo>
                <a:lnTo>
                  <a:pt x="1181" y="476"/>
                </a:lnTo>
                <a:lnTo>
                  <a:pt x="1180" y="472"/>
                </a:lnTo>
                <a:lnTo>
                  <a:pt x="1181" y="472"/>
                </a:lnTo>
                <a:lnTo>
                  <a:pt x="1182" y="473"/>
                </a:lnTo>
                <a:lnTo>
                  <a:pt x="1182" y="472"/>
                </a:lnTo>
                <a:lnTo>
                  <a:pt x="1181" y="471"/>
                </a:lnTo>
                <a:lnTo>
                  <a:pt x="1184" y="469"/>
                </a:lnTo>
                <a:lnTo>
                  <a:pt x="1187" y="473"/>
                </a:lnTo>
                <a:lnTo>
                  <a:pt x="1192" y="471"/>
                </a:lnTo>
                <a:lnTo>
                  <a:pt x="1190" y="468"/>
                </a:lnTo>
                <a:lnTo>
                  <a:pt x="1191" y="466"/>
                </a:lnTo>
                <a:lnTo>
                  <a:pt x="1196" y="471"/>
                </a:lnTo>
                <a:lnTo>
                  <a:pt x="1202" y="471"/>
                </a:lnTo>
                <a:lnTo>
                  <a:pt x="1204" y="471"/>
                </a:lnTo>
                <a:lnTo>
                  <a:pt x="1203" y="474"/>
                </a:lnTo>
                <a:lnTo>
                  <a:pt x="1214" y="473"/>
                </a:lnTo>
                <a:lnTo>
                  <a:pt x="1207" y="479"/>
                </a:lnTo>
                <a:lnTo>
                  <a:pt x="1209" y="481"/>
                </a:lnTo>
                <a:lnTo>
                  <a:pt x="1218" y="474"/>
                </a:lnTo>
                <a:lnTo>
                  <a:pt x="1215" y="486"/>
                </a:lnTo>
                <a:lnTo>
                  <a:pt x="1217" y="489"/>
                </a:lnTo>
                <a:lnTo>
                  <a:pt x="1213" y="495"/>
                </a:lnTo>
                <a:lnTo>
                  <a:pt x="1217" y="495"/>
                </a:lnTo>
                <a:lnTo>
                  <a:pt x="1215" y="503"/>
                </a:lnTo>
                <a:lnTo>
                  <a:pt x="1217" y="503"/>
                </a:lnTo>
                <a:lnTo>
                  <a:pt x="1221" y="497"/>
                </a:lnTo>
                <a:lnTo>
                  <a:pt x="1221" y="499"/>
                </a:lnTo>
                <a:lnTo>
                  <a:pt x="1220" y="503"/>
                </a:lnTo>
                <a:lnTo>
                  <a:pt x="1226" y="502"/>
                </a:lnTo>
                <a:lnTo>
                  <a:pt x="1228" y="511"/>
                </a:lnTo>
                <a:lnTo>
                  <a:pt x="1229" y="511"/>
                </a:lnTo>
                <a:lnTo>
                  <a:pt x="1229" y="507"/>
                </a:lnTo>
                <a:lnTo>
                  <a:pt x="1227" y="502"/>
                </a:lnTo>
                <a:lnTo>
                  <a:pt x="1230" y="499"/>
                </a:lnTo>
                <a:lnTo>
                  <a:pt x="1225" y="497"/>
                </a:lnTo>
                <a:lnTo>
                  <a:pt x="1225" y="492"/>
                </a:lnTo>
                <a:lnTo>
                  <a:pt x="1222" y="488"/>
                </a:lnTo>
                <a:lnTo>
                  <a:pt x="1225" y="486"/>
                </a:lnTo>
                <a:lnTo>
                  <a:pt x="1228" y="479"/>
                </a:lnTo>
                <a:lnTo>
                  <a:pt x="1237" y="479"/>
                </a:lnTo>
                <a:lnTo>
                  <a:pt x="1245" y="474"/>
                </a:lnTo>
                <a:lnTo>
                  <a:pt x="1245" y="469"/>
                </a:lnTo>
                <a:lnTo>
                  <a:pt x="1251" y="466"/>
                </a:lnTo>
                <a:lnTo>
                  <a:pt x="1253" y="459"/>
                </a:lnTo>
                <a:lnTo>
                  <a:pt x="1250" y="459"/>
                </a:lnTo>
                <a:lnTo>
                  <a:pt x="1247" y="463"/>
                </a:lnTo>
                <a:lnTo>
                  <a:pt x="1241" y="463"/>
                </a:lnTo>
                <a:lnTo>
                  <a:pt x="1237" y="463"/>
                </a:lnTo>
                <a:lnTo>
                  <a:pt x="1237" y="458"/>
                </a:lnTo>
                <a:lnTo>
                  <a:pt x="1237" y="456"/>
                </a:lnTo>
                <a:lnTo>
                  <a:pt x="1247" y="455"/>
                </a:lnTo>
                <a:lnTo>
                  <a:pt x="1241" y="455"/>
                </a:lnTo>
                <a:lnTo>
                  <a:pt x="1241" y="447"/>
                </a:lnTo>
                <a:lnTo>
                  <a:pt x="1253" y="443"/>
                </a:lnTo>
                <a:lnTo>
                  <a:pt x="1249" y="448"/>
                </a:lnTo>
                <a:lnTo>
                  <a:pt x="1249" y="451"/>
                </a:lnTo>
                <a:lnTo>
                  <a:pt x="1257" y="447"/>
                </a:lnTo>
                <a:lnTo>
                  <a:pt x="1254" y="447"/>
                </a:lnTo>
                <a:lnTo>
                  <a:pt x="1257" y="444"/>
                </a:lnTo>
                <a:lnTo>
                  <a:pt x="1255" y="442"/>
                </a:lnTo>
                <a:lnTo>
                  <a:pt x="1244" y="443"/>
                </a:lnTo>
                <a:lnTo>
                  <a:pt x="1240" y="437"/>
                </a:lnTo>
                <a:lnTo>
                  <a:pt x="1236" y="442"/>
                </a:lnTo>
                <a:lnTo>
                  <a:pt x="1224" y="439"/>
                </a:lnTo>
                <a:lnTo>
                  <a:pt x="1221" y="439"/>
                </a:lnTo>
                <a:lnTo>
                  <a:pt x="1216" y="432"/>
                </a:lnTo>
                <a:lnTo>
                  <a:pt x="1209" y="425"/>
                </a:lnTo>
                <a:lnTo>
                  <a:pt x="1209" y="420"/>
                </a:lnTo>
                <a:lnTo>
                  <a:pt x="1215" y="415"/>
                </a:lnTo>
                <a:lnTo>
                  <a:pt x="1222" y="415"/>
                </a:lnTo>
                <a:lnTo>
                  <a:pt x="1218" y="413"/>
                </a:lnTo>
                <a:lnTo>
                  <a:pt x="1222" y="409"/>
                </a:lnTo>
                <a:lnTo>
                  <a:pt x="1217" y="412"/>
                </a:lnTo>
                <a:lnTo>
                  <a:pt x="1210" y="408"/>
                </a:lnTo>
                <a:lnTo>
                  <a:pt x="1213" y="401"/>
                </a:lnTo>
                <a:lnTo>
                  <a:pt x="1214" y="400"/>
                </a:lnTo>
                <a:lnTo>
                  <a:pt x="1210" y="399"/>
                </a:lnTo>
                <a:lnTo>
                  <a:pt x="1213" y="399"/>
                </a:lnTo>
                <a:lnTo>
                  <a:pt x="1213" y="395"/>
                </a:lnTo>
                <a:lnTo>
                  <a:pt x="1209" y="395"/>
                </a:lnTo>
                <a:lnTo>
                  <a:pt x="1209" y="394"/>
                </a:lnTo>
                <a:lnTo>
                  <a:pt x="1213" y="396"/>
                </a:lnTo>
                <a:lnTo>
                  <a:pt x="1213" y="395"/>
                </a:lnTo>
                <a:lnTo>
                  <a:pt x="1213" y="394"/>
                </a:lnTo>
                <a:lnTo>
                  <a:pt x="1218" y="390"/>
                </a:lnTo>
                <a:lnTo>
                  <a:pt x="1225" y="394"/>
                </a:lnTo>
                <a:lnTo>
                  <a:pt x="1226" y="390"/>
                </a:lnTo>
                <a:lnTo>
                  <a:pt x="1224" y="389"/>
                </a:lnTo>
                <a:lnTo>
                  <a:pt x="1221" y="386"/>
                </a:lnTo>
                <a:lnTo>
                  <a:pt x="1229" y="383"/>
                </a:lnTo>
                <a:lnTo>
                  <a:pt x="1226" y="383"/>
                </a:lnTo>
                <a:lnTo>
                  <a:pt x="1228" y="379"/>
                </a:lnTo>
                <a:lnTo>
                  <a:pt x="1229" y="379"/>
                </a:lnTo>
                <a:lnTo>
                  <a:pt x="1237" y="379"/>
                </a:lnTo>
                <a:lnTo>
                  <a:pt x="1237" y="382"/>
                </a:lnTo>
                <a:lnTo>
                  <a:pt x="1241" y="383"/>
                </a:lnTo>
                <a:lnTo>
                  <a:pt x="1241" y="383"/>
                </a:lnTo>
                <a:lnTo>
                  <a:pt x="1241" y="385"/>
                </a:lnTo>
                <a:lnTo>
                  <a:pt x="1245" y="379"/>
                </a:lnTo>
                <a:lnTo>
                  <a:pt x="1251" y="382"/>
                </a:lnTo>
                <a:lnTo>
                  <a:pt x="1250" y="385"/>
                </a:lnTo>
                <a:lnTo>
                  <a:pt x="1263" y="393"/>
                </a:lnTo>
                <a:lnTo>
                  <a:pt x="1264" y="397"/>
                </a:lnTo>
                <a:lnTo>
                  <a:pt x="1262" y="405"/>
                </a:lnTo>
                <a:lnTo>
                  <a:pt x="1261" y="406"/>
                </a:lnTo>
                <a:lnTo>
                  <a:pt x="1273" y="412"/>
                </a:lnTo>
                <a:lnTo>
                  <a:pt x="1271" y="416"/>
                </a:lnTo>
                <a:lnTo>
                  <a:pt x="1273" y="419"/>
                </a:lnTo>
                <a:lnTo>
                  <a:pt x="1273" y="422"/>
                </a:lnTo>
                <a:lnTo>
                  <a:pt x="1280" y="419"/>
                </a:lnTo>
                <a:lnTo>
                  <a:pt x="1281" y="419"/>
                </a:lnTo>
                <a:lnTo>
                  <a:pt x="1284" y="424"/>
                </a:lnTo>
                <a:lnTo>
                  <a:pt x="1277" y="425"/>
                </a:lnTo>
                <a:lnTo>
                  <a:pt x="1273" y="424"/>
                </a:lnTo>
                <a:lnTo>
                  <a:pt x="1270" y="428"/>
                </a:lnTo>
                <a:lnTo>
                  <a:pt x="1277" y="430"/>
                </a:lnTo>
                <a:lnTo>
                  <a:pt x="1266" y="439"/>
                </a:lnTo>
                <a:lnTo>
                  <a:pt x="1269" y="439"/>
                </a:lnTo>
                <a:lnTo>
                  <a:pt x="1273" y="439"/>
                </a:lnTo>
                <a:lnTo>
                  <a:pt x="1276" y="440"/>
                </a:lnTo>
                <a:lnTo>
                  <a:pt x="1280" y="442"/>
                </a:lnTo>
                <a:lnTo>
                  <a:pt x="1284" y="439"/>
                </a:lnTo>
                <a:lnTo>
                  <a:pt x="1288" y="439"/>
                </a:lnTo>
                <a:lnTo>
                  <a:pt x="1290" y="439"/>
                </a:lnTo>
                <a:lnTo>
                  <a:pt x="1288" y="440"/>
                </a:lnTo>
                <a:lnTo>
                  <a:pt x="1293" y="442"/>
                </a:lnTo>
                <a:lnTo>
                  <a:pt x="1293" y="440"/>
                </a:lnTo>
                <a:lnTo>
                  <a:pt x="1302" y="443"/>
                </a:lnTo>
                <a:lnTo>
                  <a:pt x="1298" y="443"/>
                </a:lnTo>
                <a:lnTo>
                  <a:pt x="1295" y="445"/>
                </a:lnTo>
                <a:lnTo>
                  <a:pt x="1292" y="448"/>
                </a:lnTo>
                <a:lnTo>
                  <a:pt x="1283" y="445"/>
                </a:lnTo>
                <a:lnTo>
                  <a:pt x="1293" y="453"/>
                </a:lnTo>
                <a:lnTo>
                  <a:pt x="1293" y="456"/>
                </a:lnTo>
                <a:lnTo>
                  <a:pt x="1298" y="458"/>
                </a:lnTo>
                <a:lnTo>
                  <a:pt x="1297" y="462"/>
                </a:lnTo>
                <a:lnTo>
                  <a:pt x="1297" y="468"/>
                </a:lnTo>
                <a:lnTo>
                  <a:pt x="1296" y="470"/>
                </a:lnTo>
                <a:lnTo>
                  <a:pt x="1302" y="471"/>
                </a:lnTo>
                <a:lnTo>
                  <a:pt x="1300" y="474"/>
                </a:lnTo>
                <a:lnTo>
                  <a:pt x="1302" y="475"/>
                </a:lnTo>
                <a:lnTo>
                  <a:pt x="1304" y="475"/>
                </a:lnTo>
                <a:lnTo>
                  <a:pt x="1307" y="470"/>
                </a:lnTo>
                <a:lnTo>
                  <a:pt x="1306" y="465"/>
                </a:lnTo>
                <a:lnTo>
                  <a:pt x="1309" y="463"/>
                </a:lnTo>
                <a:lnTo>
                  <a:pt x="1309" y="462"/>
                </a:lnTo>
                <a:lnTo>
                  <a:pt x="1309" y="462"/>
                </a:lnTo>
                <a:lnTo>
                  <a:pt x="1309" y="462"/>
                </a:lnTo>
                <a:lnTo>
                  <a:pt x="1309" y="454"/>
                </a:lnTo>
                <a:lnTo>
                  <a:pt x="1315" y="451"/>
                </a:lnTo>
                <a:lnTo>
                  <a:pt x="1321" y="451"/>
                </a:lnTo>
                <a:lnTo>
                  <a:pt x="1335" y="461"/>
                </a:lnTo>
                <a:lnTo>
                  <a:pt x="1337" y="473"/>
                </a:lnTo>
                <a:lnTo>
                  <a:pt x="1336" y="476"/>
                </a:lnTo>
                <a:lnTo>
                  <a:pt x="1332" y="470"/>
                </a:lnTo>
                <a:lnTo>
                  <a:pt x="1328" y="473"/>
                </a:lnTo>
                <a:lnTo>
                  <a:pt x="1329" y="477"/>
                </a:lnTo>
                <a:lnTo>
                  <a:pt x="1329" y="482"/>
                </a:lnTo>
                <a:lnTo>
                  <a:pt x="1333" y="488"/>
                </a:lnTo>
                <a:lnTo>
                  <a:pt x="1344" y="499"/>
                </a:lnTo>
                <a:lnTo>
                  <a:pt x="1341" y="504"/>
                </a:lnTo>
                <a:lnTo>
                  <a:pt x="1348" y="500"/>
                </a:lnTo>
                <a:lnTo>
                  <a:pt x="1347" y="497"/>
                </a:lnTo>
                <a:lnTo>
                  <a:pt x="1350" y="496"/>
                </a:lnTo>
                <a:lnTo>
                  <a:pt x="1355" y="497"/>
                </a:lnTo>
                <a:lnTo>
                  <a:pt x="1357" y="490"/>
                </a:lnTo>
                <a:lnTo>
                  <a:pt x="1355" y="488"/>
                </a:lnTo>
                <a:lnTo>
                  <a:pt x="1365" y="479"/>
                </a:lnTo>
                <a:lnTo>
                  <a:pt x="1365" y="473"/>
                </a:lnTo>
                <a:lnTo>
                  <a:pt x="1365" y="469"/>
                </a:lnTo>
                <a:lnTo>
                  <a:pt x="1365" y="463"/>
                </a:lnTo>
                <a:lnTo>
                  <a:pt x="1370" y="463"/>
                </a:lnTo>
                <a:lnTo>
                  <a:pt x="1377" y="463"/>
                </a:lnTo>
                <a:lnTo>
                  <a:pt x="1377" y="459"/>
                </a:lnTo>
                <a:lnTo>
                  <a:pt x="1381" y="459"/>
                </a:lnTo>
                <a:lnTo>
                  <a:pt x="1380" y="455"/>
                </a:lnTo>
                <a:lnTo>
                  <a:pt x="1385" y="455"/>
                </a:lnTo>
                <a:lnTo>
                  <a:pt x="1376" y="452"/>
                </a:lnTo>
                <a:lnTo>
                  <a:pt x="1377" y="450"/>
                </a:lnTo>
                <a:lnTo>
                  <a:pt x="1373" y="451"/>
                </a:lnTo>
                <a:lnTo>
                  <a:pt x="1373" y="450"/>
                </a:lnTo>
                <a:lnTo>
                  <a:pt x="1369" y="448"/>
                </a:lnTo>
                <a:lnTo>
                  <a:pt x="1369" y="445"/>
                </a:lnTo>
                <a:lnTo>
                  <a:pt x="1373" y="443"/>
                </a:lnTo>
                <a:lnTo>
                  <a:pt x="1369" y="443"/>
                </a:lnTo>
                <a:lnTo>
                  <a:pt x="1370" y="439"/>
                </a:lnTo>
                <a:lnTo>
                  <a:pt x="1373" y="439"/>
                </a:lnTo>
                <a:lnTo>
                  <a:pt x="1369" y="434"/>
                </a:lnTo>
                <a:lnTo>
                  <a:pt x="1377" y="436"/>
                </a:lnTo>
                <a:lnTo>
                  <a:pt x="1387" y="433"/>
                </a:lnTo>
                <a:lnTo>
                  <a:pt x="1394" y="439"/>
                </a:lnTo>
                <a:lnTo>
                  <a:pt x="1399" y="439"/>
                </a:lnTo>
                <a:lnTo>
                  <a:pt x="1396" y="438"/>
                </a:lnTo>
                <a:lnTo>
                  <a:pt x="1418" y="439"/>
                </a:lnTo>
                <a:lnTo>
                  <a:pt x="1414" y="439"/>
                </a:lnTo>
                <a:lnTo>
                  <a:pt x="1414" y="442"/>
                </a:lnTo>
                <a:lnTo>
                  <a:pt x="1401" y="440"/>
                </a:lnTo>
                <a:lnTo>
                  <a:pt x="1414" y="445"/>
                </a:lnTo>
                <a:lnTo>
                  <a:pt x="1414" y="451"/>
                </a:lnTo>
                <a:lnTo>
                  <a:pt x="1426" y="451"/>
                </a:lnTo>
                <a:lnTo>
                  <a:pt x="1430" y="450"/>
                </a:lnTo>
                <a:lnTo>
                  <a:pt x="1430" y="451"/>
                </a:lnTo>
                <a:lnTo>
                  <a:pt x="1426" y="455"/>
                </a:lnTo>
                <a:lnTo>
                  <a:pt x="1422" y="459"/>
                </a:lnTo>
                <a:lnTo>
                  <a:pt x="1430" y="459"/>
                </a:lnTo>
                <a:lnTo>
                  <a:pt x="1430" y="462"/>
                </a:lnTo>
                <a:lnTo>
                  <a:pt x="1430" y="465"/>
                </a:lnTo>
                <a:lnTo>
                  <a:pt x="1421" y="470"/>
                </a:lnTo>
                <a:lnTo>
                  <a:pt x="1419" y="468"/>
                </a:lnTo>
                <a:lnTo>
                  <a:pt x="1418" y="470"/>
                </a:lnTo>
                <a:lnTo>
                  <a:pt x="1414" y="468"/>
                </a:lnTo>
                <a:lnTo>
                  <a:pt x="1416" y="475"/>
                </a:lnTo>
                <a:lnTo>
                  <a:pt x="1418" y="475"/>
                </a:lnTo>
                <a:lnTo>
                  <a:pt x="1416" y="477"/>
                </a:lnTo>
                <a:lnTo>
                  <a:pt x="1420" y="477"/>
                </a:lnTo>
                <a:lnTo>
                  <a:pt x="1423" y="476"/>
                </a:lnTo>
                <a:lnTo>
                  <a:pt x="1420" y="481"/>
                </a:lnTo>
                <a:lnTo>
                  <a:pt x="1422" y="482"/>
                </a:lnTo>
                <a:lnTo>
                  <a:pt x="1433" y="494"/>
                </a:lnTo>
                <a:lnTo>
                  <a:pt x="1429" y="505"/>
                </a:lnTo>
                <a:lnTo>
                  <a:pt x="1423" y="509"/>
                </a:lnTo>
                <a:lnTo>
                  <a:pt x="1414" y="519"/>
                </a:lnTo>
                <a:lnTo>
                  <a:pt x="1407" y="519"/>
                </a:lnTo>
                <a:lnTo>
                  <a:pt x="1399" y="523"/>
                </a:lnTo>
                <a:lnTo>
                  <a:pt x="1395" y="519"/>
                </a:lnTo>
                <a:lnTo>
                  <a:pt x="1392" y="516"/>
                </a:lnTo>
                <a:lnTo>
                  <a:pt x="1390" y="513"/>
                </a:lnTo>
                <a:lnTo>
                  <a:pt x="1389" y="510"/>
                </a:lnTo>
                <a:lnTo>
                  <a:pt x="1389" y="513"/>
                </a:lnTo>
                <a:lnTo>
                  <a:pt x="1389" y="515"/>
                </a:lnTo>
                <a:lnTo>
                  <a:pt x="1396" y="527"/>
                </a:lnTo>
                <a:lnTo>
                  <a:pt x="1395" y="527"/>
                </a:lnTo>
                <a:lnTo>
                  <a:pt x="1385" y="520"/>
                </a:lnTo>
                <a:lnTo>
                  <a:pt x="1384" y="523"/>
                </a:lnTo>
                <a:lnTo>
                  <a:pt x="1387" y="527"/>
                </a:lnTo>
                <a:lnTo>
                  <a:pt x="1374" y="525"/>
                </a:lnTo>
                <a:lnTo>
                  <a:pt x="1370" y="516"/>
                </a:lnTo>
                <a:lnTo>
                  <a:pt x="1366" y="519"/>
                </a:lnTo>
                <a:lnTo>
                  <a:pt x="1352" y="519"/>
                </a:lnTo>
                <a:lnTo>
                  <a:pt x="1354" y="523"/>
                </a:lnTo>
                <a:lnTo>
                  <a:pt x="1352" y="523"/>
                </a:lnTo>
                <a:lnTo>
                  <a:pt x="1354" y="524"/>
                </a:lnTo>
                <a:lnTo>
                  <a:pt x="1365" y="527"/>
                </a:lnTo>
                <a:lnTo>
                  <a:pt x="1363" y="530"/>
                </a:lnTo>
                <a:lnTo>
                  <a:pt x="1357" y="533"/>
                </a:lnTo>
                <a:lnTo>
                  <a:pt x="1355" y="538"/>
                </a:lnTo>
                <a:lnTo>
                  <a:pt x="1344" y="547"/>
                </a:lnTo>
                <a:lnTo>
                  <a:pt x="1335" y="546"/>
                </a:lnTo>
                <a:lnTo>
                  <a:pt x="1323" y="540"/>
                </a:lnTo>
                <a:lnTo>
                  <a:pt x="1321" y="540"/>
                </a:lnTo>
                <a:lnTo>
                  <a:pt x="1310" y="535"/>
                </a:lnTo>
                <a:lnTo>
                  <a:pt x="1306" y="535"/>
                </a:lnTo>
                <a:lnTo>
                  <a:pt x="1307" y="534"/>
                </a:lnTo>
                <a:lnTo>
                  <a:pt x="1302" y="535"/>
                </a:lnTo>
                <a:lnTo>
                  <a:pt x="1306" y="535"/>
                </a:lnTo>
                <a:lnTo>
                  <a:pt x="1319" y="547"/>
                </a:lnTo>
                <a:lnTo>
                  <a:pt x="1344" y="547"/>
                </a:lnTo>
                <a:lnTo>
                  <a:pt x="1350" y="551"/>
                </a:lnTo>
                <a:lnTo>
                  <a:pt x="1341" y="566"/>
                </a:lnTo>
                <a:lnTo>
                  <a:pt x="1337" y="567"/>
                </a:lnTo>
                <a:lnTo>
                  <a:pt x="1335" y="573"/>
                </a:lnTo>
                <a:lnTo>
                  <a:pt x="1333" y="576"/>
                </a:lnTo>
                <a:lnTo>
                  <a:pt x="1324" y="580"/>
                </a:lnTo>
                <a:lnTo>
                  <a:pt x="1320" y="579"/>
                </a:lnTo>
                <a:lnTo>
                  <a:pt x="1321" y="580"/>
                </a:lnTo>
                <a:lnTo>
                  <a:pt x="1313" y="577"/>
                </a:lnTo>
                <a:lnTo>
                  <a:pt x="1313" y="580"/>
                </a:lnTo>
                <a:lnTo>
                  <a:pt x="1308" y="577"/>
                </a:lnTo>
                <a:lnTo>
                  <a:pt x="1307" y="579"/>
                </a:lnTo>
                <a:lnTo>
                  <a:pt x="1307" y="579"/>
                </a:lnTo>
                <a:lnTo>
                  <a:pt x="1307" y="580"/>
                </a:lnTo>
                <a:lnTo>
                  <a:pt x="1302" y="579"/>
                </a:lnTo>
                <a:lnTo>
                  <a:pt x="1306" y="584"/>
                </a:lnTo>
                <a:lnTo>
                  <a:pt x="1303" y="589"/>
                </a:lnTo>
                <a:lnTo>
                  <a:pt x="1296" y="586"/>
                </a:lnTo>
                <a:lnTo>
                  <a:pt x="1295" y="591"/>
                </a:lnTo>
                <a:lnTo>
                  <a:pt x="1292" y="591"/>
                </a:lnTo>
                <a:lnTo>
                  <a:pt x="1284" y="587"/>
                </a:lnTo>
                <a:lnTo>
                  <a:pt x="1281" y="587"/>
                </a:lnTo>
                <a:lnTo>
                  <a:pt x="1282" y="588"/>
                </a:lnTo>
                <a:lnTo>
                  <a:pt x="1293" y="592"/>
                </a:lnTo>
                <a:lnTo>
                  <a:pt x="1292" y="591"/>
                </a:lnTo>
                <a:lnTo>
                  <a:pt x="1295" y="592"/>
                </a:lnTo>
                <a:lnTo>
                  <a:pt x="1296" y="603"/>
                </a:lnTo>
                <a:lnTo>
                  <a:pt x="1295" y="604"/>
                </a:lnTo>
                <a:lnTo>
                  <a:pt x="1290" y="604"/>
                </a:lnTo>
                <a:lnTo>
                  <a:pt x="1284" y="608"/>
                </a:lnTo>
                <a:lnTo>
                  <a:pt x="1270" y="608"/>
                </a:lnTo>
                <a:lnTo>
                  <a:pt x="1273" y="611"/>
                </a:lnTo>
                <a:lnTo>
                  <a:pt x="1280" y="612"/>
                </a:lnTo>
                <a:lnTo>
                  <a:pt x="1276" y="614"/>
                </a:lnTo>
                <a:lnTo>
                  <a:pt x="1272" y="612"/>
                </a:lnTo>
                <a:lnTo>
                  <a:pt x="1265" y="615"/>
                </a:lnTo>
                <a:lnTo>
                  <a:pt x="1265" y="619"/>
                </a:lnTo>
                <a:lnTo>
                  <a:pt x="1266" y="620"/>
                </a:lnTo>
                <a:lnTo>
                  <a:pt x="1260" y="620"/>
                </a:lnTo>
                <a:lnTo>
                  <a:pt x="1266" y="624"/>
                </a:lnTo>
                <a:lnTo>
                  <a:pt x="1262" y="624"/>
                </a:lnTo>
                <a:lnTo>
                  <a:pt x="1263" y="627"/>
                </a:lnTo>
                <a:lnTo>
                  <a:pt x="1261" y="628"/>
                </a:lnTo>
                <a:lnTo>
                  <a:pt x="1261" y="628"/>
                </a:lnTo>
                <a:lnTo>
                  <a:pt x="1260" y="628"/>
                </a:lnTo>
                <a:lnTo>
                  <a:pt x="1260" y="628"/>
                </a:lnTo>
                <a:lnTo>
                  <a:pt x="1260" y="628"/>
                </a:lnTo>
                <a:lnTo>
                  <a:pt x="1257" y="628"/>
                </a:lnTo>
                <a:lnTo>
                  <a:pt x="1259" y="628"/>
                </a:lnTo>
                <a:lnTo>
                  <a:pt x="1257" y="627"/>
                </a:lnTo>
                <a:lnTo>
                  <a:pt x="1253" y="626"/>
                </a:lnTo>
                <a:lnTo>
                  <a:pt x="1253" y="630"/>
                </a:lnTo>
                <a:lnTo>
                  <a:pt x="1257" y="631"/>
                </a:lnTo>
                <a:lnTo>
                  <a:pt x="1248" y="638"/>
                </a:lnTo>
                <a:lnTo>
                  <a:pt x="1250" y="642"/>
                </a:lnTo>
                <a:lnTo>
                  <a:pt x="1243" y="653"/>
                </a:lnTo>
                <a:lnTo>
                  <a:pt x="1241" y="660"/>
                </a:lnTo>
                <a:lnTo>
                  <a:pt x="1237" y="660"/>
                </a:lnTo>
                <a:lnTo>
                  <a:pt x="1238" y="662"/>
                </a:lnTo>
                <a:lnTo>
                  <a:pt x="1233" y="672"/>
                </a:lnTo>
                <a:lnTo>
                  <a:pt x="1233" y="679"/>
                </a:lnTo>
                <a:lnTo>
                  <a:pt x="1234" y="684"/>
                </a:lnTo>
                <a:lnTo>
                  <a:pt x="1233" y="687"/>
                </a:lnTo>
                <a:lnTo>
                  <a:pt x="1233" y="690"/>
                </a:lnTo>
                <a:lnTo>
                  <a:pt x="1241" y="700"/>
                </a:lnTo>
                <a:lnTo>
                  <a:pt x="1244" y="700"/>
                </a:lnTo>
                <a:lnTo>
                  <a:pt x="1241" y="702"/>
                </a:lnTo>
                <a:lnTo>
                  <a:pt x="1245" y="700"/>
                </a:lnTo>
                <a:lnTo>
                  <a:pt x="1260" y="700"/>
                </a:lnTo>
                <a:lnTo>
                  <a:pt x="1270" y="730"/>
                </a:lnTo>
                <a:lnTo>
                  <a:pt x="1268" y="734"/>
                </a:lnTo>
                <a:lnTo>
                  <a:pt x="1265" y="739"/>
                </a:lnTo>
                <a:lnTo>
                  <a:pt x="1270" y="736"/>
                </a:lnTo>
                <a:lnTo>
                  <a:pt x="1274" y="736"/>
                </a:lnTo>
                <a:lnTo>
                  <a:pt x="1269" y="739"/>
                </a:lnTo>
                <a:lnTo>
                  <a:pt x="1292" y="732"/>
                </a:lnTo>
                <a:lnTo>
                  <a:pt x="1324" y="740"/>
                </a:lnTo>
                <a:lnTo>
                  <a:pt x="1335" y="747"/>
                </a:lnTo>
                <a:lnTo>
                  <a:pt x="1340" y="754"/>
                </a:lnTo>
                <a:lnTo>
                  <a:pt x="1344" y="757"/>
                </a:lnTo>
                <a:lnTo>
                  <a:pt x="1368" y="766"/>
                </a:lnTo>
                <a:lnTo>
                  <a:pt x="1373" y="772"/>
                </a:lnTo>
                <a:lnTo>
                  <a:pt x="1376" y="772"/>
                </a:lnTo>
                <a:lnTo>
                  <a:pt x="1374" y="774"/>
                </a:lnTo>
                <a:lnTo>
                  <a:pt x="1377" y="771"/>
                </a:lnTo>
                <a:lnTo>
                  <a:pt x="1384" y="774"/>
                </a:lnTo>
                <a:lnTo>
                  <a:pt x="1393" y="771"/>
                </a:lnTo>
                <a:lnTo>
                  <a:pt x="1399" y="775"/>
                </a:lnTo>
                <a:lnTo>
                  <a:pt x="1396" y="771"/>
                </a:lnTo>
                <a:lnTo>
                  <a:pt x="1408" y="774"/>
                </a:lnTo>
                <a:lnTo>
                  <a:pt x="1416" y="777"/>
                </a:lnTo>
                <a:lnTo>
                  <a:pt x="1417" y="775"/>
                </a:lnTo>
                <a:lnTo>
                  <a:pt x="1419" y="782"/>
                </a:lnTo>
                <a:lnTo>
                  <a:pt x="1414" y="791"/>
                </a:lnTo>
                <a:lnTo>
                  <a:pt x="1414" y="795"/>
                </a:lnTo>
                <a:lnTo>
                  <a:pt x="1416" y="797"/>
                </a:lnTo>
                <a:lnTo>
                  <a:pt x="1418" y="802"/>
                </a:lnTo>
                <a:lnTo>
                  <a:pt x="1418" y="805"/>
                </a:lnTo>
                <a:lnTo>
                  <a:pt x="1418" y="813"/>
                </a:lnTo>
                <a:lnTo>
                  <a:pt x="1414" y="816"/>
                </a:lnTo>
                <a:lnTo>
                  <a:pt x="1414" y="817"/>
                </a:lnTo>
                <a:lnTo>
                  <a:pt x="1426" y="831"/>
                </a:lnTo>
                <a:lnTo>
                  <a:pt x="1426" y="832"/>
                </a:lnTo>
                <a:lnTo>
                  <a:pt x="1424" y="836"/>
                </a:lnTo>
                <a:lnTo>
                  <a:pt x="1429" y="834"/>
                </a:lnTo>
                <a:lnTo>
                  <a:pt x="1430" y="837"/>
                </a:lnTo>
                <a:lnTo>
                  <a:pt x="1437" y="839"/>
                </a:lnTo>
                <a:lnTo>
                  <a:pt x="1442" y="847"/>
                </a:lnTo>
                <a:lnTo>
                  <a:pt x="1445" y="853"/>
                </a:lnTo>
                <a:lnTo>
                  <a:pt x="1449" y="853"/>
                </a:lnTo>
                <a:lnTo>
                  <a:pt x="1455" y="857"/>
                </a:lnTo>
                <a:lnTo>
                  <a:pt x="1456" y="852"/>
                </a:lnTo>
                <a:lnTo>
                  <a:pt x="1461" y="849"/>
                </a:lnTo>
                <a:lnTo>
                  <a:pt x="1463" y="849"/>
                </a:lnTo>
                <a:lnTo>
                  <a:pt x="1461" y="853"/>
                </a:lnTo>
                <a:lnTo>
                  <a:pt x="1466" y="853"/>
                </a:lnTo>
                <a:lnTo>
                  <a:pt x="1466" y="849"/>
                </a:lnTo>
                <a:lnTo>
                  <a:pt x="1466" y="848"/>
                </a:lnTo>
                <a:lnTo>
                  <a:pt x="1461" y="843"/>
                </a:lnTo>
                <a:lnTo>
                  <a:pt x="1466" y="842"/>
                </a:lnTo>
                <a:lnTo>
                  <a:pt x="1466" y="840"/>
                </a:lnTo>
                <a:lnTo>
                  <a:pt x="1470" y="837"/>
                </a:lnTo>
                <a:lnTo>
                  <a:pt x="1470" y="828"/>
                </a:lnTo>
                <a:lnTo>
                  <a:pt x="1469" y="828"/>
                </a:lnTo>
                <a:lnTo>
                  <a:pt x="1470" y="828"/>
                </a:lnTo>
                <a:lnTo>
                  <a:pt x="1466" y="822"/>
                </a:lnTo>
                <a:lnTo>
                  <a:pt x="1466" y="822"/>
                </a:lnTo>
                <a:lnTo>
                  <a:pt x="1466" y="813"/>
                </a:lnTo>
                <a:lnTo>
                  <a:pt x="1463" y="812"/>
                </a:lnTo>
                <a:lnTo>
                  <a:pt x="1467" y="812"/>
                </a:lnTo>
                <a:lnTo>
                  <a:pt x="1462" y="806"/>
                </a:lnTo>
                <a:lnTo>
                  <a:pt x="1463" y="802"/>
                </a:lnTo>
                <a:lnTo>
                  <a:pt x="1467" y="802"/>
                </a:lnTo>
                <a:lnTo>
                  <a:pt x="1462" y="801"/>
                </a:lnTo>
                <a:lnTo>
                  <a:pt x="1462" y="800"/>
                </a:lnTo>
                <a:lnTo>
                  <a:pt x="1466" y="800"/>
                </a:lnTo>
                <a:lnTo>
                  <a:pt x="1462" y="797"/>
                </a:lnTo>
                <a:lnTo>
                  <a:pt x="1462" y="796"/>
                </a:lnTo>
                <a:lnTo>
                  <a:pt x="1461" y="796"/>
                </a:lnTo>
                <a:lnTo>
                  <a:pt x="1459" y="787"/>
                </a:lnTo>
                <a:lnTo>
                  <a:pt x="1455" y="785"/>
                </a:lnTo>
                <a:lnTo>
                  <a:pt x="1475" y="777"/>
                </a:lnTo>
                <a:lnTo>
                  <a:pt x="1482" y="771"/>
                </a:lnTo>
                <a:lnTo>
                  <a:pt x="1491" y="765"/>
                </a:lnTo>
                <a:lnTo>
                  <a:pt x="1498" y="757"/>
                </a:lnTo>
                <a:lnTo>
                  <a:pt x="1498" y="748"/>
                </a:lnTo>
                <a:lnTo>
                  <a:pt x="1498" y="734"/>
                </a:lnTo>
                <a:lnTo>
                  <a:pt x="1495" y="721"/>
                </a:lnTo>
                <a:lnTo>
                  <a:pt x="1488" y="710"/>
                </a:lnTo>
                <a:lnTo>
                  <a:pt x="1481" y="706"/>
                </a:lnTo>
                <a:lnTo>
                  <a:pt x="1474" y="702"/>
                </a:lnTo>
                <a:lnTo>
                  <a:pt x="1475" y="704"/>
                </a:lnTo>
                <a:lnTo>
                  <a:pt x="1472" y="702"/>
                </a:lnTo>
                <a:lnTo>
                  <a:pt x="1472" y="702"/>
                </a:lnTo>
                <a:lnTo>
                  <a:pt x="1474" y="700"/>
                </a:lnTo>
                <a:lnTo>
                  <a:pt x="1472" y="694"/>
                </a:lnTo>
                <a:lnTo>
                  <a:pt x="1475" y="695"/>
                </a:lnTo>
                <a:lnTo>
                  <a:pt x="1479" y="689"/>
                </a:lnTo>
                <a:lnTo>
                  <a:pt x="1485" y="684"/>
                </a:lnTo>
                <a:lnTo>
                  <a:pt x="1482" y="684"/>
                </a:lnTo>
                <a:lnTo>
                  <a:pt x="1482" y="681"/>
                </a:lnTo>
                <a:lnTo>
                  <a:pt x="1482" y="677"/>
                </a:lnTo>
                <a:lnTo>
                  <a:pt x="1489" y="681"/>
                </a:lnTo>
                <a:lnTo>
                  <a:pt x="1486" y="677"/>
                </a:lnTo>
                <a:lnTo>
                  <a:pt x="1489" y="676"/>
                </a:lnTo>
                <a:lnTo>
                  <a:pt x="1488" y="672"/>
                </a:lnTo>
                <a:lnTo>
                  <a:pt x="1497" y="668"/>
                </a:lnTo>
                <a:lnTo>
                  <a:pt x="1492" y="668"/>
                </a:lnTo>
                <a:lnTo>
                  <a:pt x="1489" y="672"/>
                </a:lnTo>
                <a:lnTo>
                  <a:pt x="1486" y="669"/>
                </a:lnTo>
                <a:lnTo>
                  <a:pt x="1488" y="666"/>
                </a:lnTo>
                <a:lnTo>
                  <a:pt x="1483" y="662"/>
                </a:lnTo>
                <a:lnTo>
                  <a:pt x="1488" y="660"/>
                </a:lnTo>
                <a:lnTo>
                  <a:pt x="1482" y="657"/>
                </a:lnTo>
                <a:lnTo>
                  <a:pt x="1486" y="656"/>
                </a:lnTo>
                <a:lnTo>
                  <a:pt x="1477" y="656"/>
                </a:lnTo>
                <a:lnTo>
                  <a:pt x="1485" y="644"/>
                </a:lnTo>
                <a:lnTo>
                  <a:pt x="1482" y="639"/>
                </a:lnTo>
                <a:lnTo>
                  <a:pt x="1486" y="638"/>
                </a:lnTo>
                <a:lnTo>
                  <a:pt x="1481" y="633"/>
                </a:lnTo>
                <a:lnTo>
                  <a:pt x="1477" y="622"/>
                </a:lnTo>
                <a:lnTo>
                  <a:pt x="1481" y="617"/>
                </a:lnTo>
                <a:lnTo>
                  <a:pt x="1486" y="616"/>
                </a:lnTo>
                <a:lnTo>
                  <a:pt x="1496" y="616"/>
                </a:lnTo>
                <a:lnTo>
                  <a:pt x="1514" y="620"/>
                </a:lnTo>
                <a:lnTo>
                  <a:pt x="1510" y="622"/>
                </a:lnTo>
                <a:lnTo>
                  <a:pt x="1519" y="619"/>
                </a:lnTo>
                <a:lnTo>
                  <a:pt x="1529" y="624"/>
                </a:lnTo>
                <a:lnTo>
                  <a:pt x="1526" y="622"/>
                </a:lnTo>
                <a:lnTo>
                  <a:pt x="1542" y="615"/>
                </a:lnTo>
                <a:lnTo>
                  <a:pt x="1553" y="624"/>
                </a:lnTo>
                <a:lnTo>
                  <a:pt x="1558" y="624"/>
                </a:lnTo>
                <a:lnTo>
                  <a:pt x="1558" y="626"/>
                </a:lnTo>
                <a:lnTo>
                  <a:pt x="1556" y="632"/>
                </a:lnTo>
                <a:lnTo>
                  <a:pt x="1558" y="632"/>
                </a:lnTo>
                <a:lnTo>
                  <a:pt x="1558" y="628"/>
                </a:lnTo>
                <a:lnTo>
                  <a:pt x="1562" y="628"/>
                </a:lnTo>
                <a:lnTo>
                  <a:pt x="1566" y="633"/>
                </a:lnTo>
                <a:lnTo>
                  <a:pt x="1562" y="637"/>
                </a:lnTo>
                <a:lnTo>
                  <a:pt x="1566" y="635"/>
                </a:lnTo>
                <a:lnTo>
                  <a:pt x="1566" y="633"/>
                </a:lnTo>
                <a:lnTo>
                  <a:pt x="1571" y="635"/>
                </a:lnTo>
                <a:lnTo>
                  <a:pt x="1574" y="638"/>
                </a:lnTo>
                <a:lnTo>
                  <a:pt x="1567" y="640"/>
                </a:lnTo>
                <a:lnTo>
                  <a:pt x="1571" y="640"/>
                </a:lnTo>
                <a:lnTo>
                  <a:pt x="1575" y="647"/>
                </a:lnTo>
                <a:lnTo>
                  <a:pt x="1588" y="648"/>
                </a:lnTo>
                <a:lnTo>
                  <a:pt x="1593" y="647"/>
                </a:lnTo>
                <a:lnTo>
                  <a:pt x="1594" y="651"/>
                </a:lnTo>
                <a:lnTo>
                  <a:pt x="1596" y="654"/>
                </a:lnTo>
                <a:lnTo>
                  <a:pt x="1600" y="652"/>
                </a:lnTo>
                <a:lnTo>
                  <a:pt x="1598" y="652"/>
                </a:lnTo>
                <a:lnTo>
                  <a:pt x="1598" y="648"/>
                </a:lnTo>
                <a:lnTo>
                  <a:pt x="1601" y="646"/>
                </a:lnTo>
                <a:lnTo>
                  <a:pt x="1604" y="653"/>
                </a:lnTo>
                <a:lnTo>
                  <a:pt x="1599" y="656"/>
                </a:lnTo>
                <a:lnTo>
                  <a:pt x="1600" y="658"/>
                </a:lnTo>
                <a:lnTo>
                  <a:pt x="1597" y="660"/>
                </a:lnTo>
                <a:lnTo>
                  <a:pt x="1598" y="662"/>
                </a:lnTo>
                <a:lnTo>
                  <a:pt x="1598" y="665"/>
                </a:lnTo>
                <a:lnTo>
                  <a:pt x="1598" y="665"/>
                </a:lnTo>
                <a:lnTo>
                  <a:pt x="1598" y="669"/>
                </a:lnTo>
                <a:lnTo>
                  <a:pt x="1587" y="672"/>
                </a:lnTo>
                <a:lnTo>
                  <a:pt x="1582" y="671"/>
                </a:lnTo>
                <a:lnTo>
                  <a:pt x="1586" y="676"/>
                </a:lnTo>
                <a:lnTo>
                  <a:pt x="1600" y="676"/>
                </a:lnTo>
                <a:lnTo>
                  <a:pt x="1601" y="675"/>
                </a:lnTo>
                <a:lnTo>
                  <a:pt x="1602" y="680"/>
                </a:lnTo>
                <a:lnTo>
                  <a:pt x="1600" y="684"/>
                </a:lnTo>
                <a:lnTo>
                  <a:pt x="1601" y="688"/>
                </a:lnTo>
                <a:lnTo>
                  <a:pt x="1604" y="688"/>
                </a:lnTo>
                <a:lnTo>
                  <a:pt x="1605" y="688"/>
                </a:lnTo>
                <a:lnTo>
                  <a:pt x="1607" y="692"/>
                </a:lnTo>
                <a:lnTo>
                  <a:pt x="1606" y="692"/>
                </a:lnTo>
                <a:lnTo>
                  <a:pt x="1606" y="696"/>
                </a:lnTo>
                <a:lnTo>
                  <a:pt x="1614" y="696"/>
                </a:lnTo>
                <a:lnTo>
                  <a:pt x="1620" y="699"/>
                </a:lnTo>
                <a:lnTo>
                  <a:pt x="1621" y="705"/>
                </a:lnTo>
                <a:lnTo>
                  <a:pt x="1625" y="702"/>
                </a:lnTo>
                <a:lnTo>
                  <a:pt x="1626" y="704"/>
                </a:lnTo>
                <a:lnTo>
                  <a:pt x="1626" y="705"/>
                </a:lnTo>
                <a:lnTo>
                  <a:pt x="1626" y="709"/>
                </a:lnTo>
                <a:lnTo>
                  <a:pt x="1623" y="713"/>
                </a:lnTo>
                <a:lnTo>
                  <a:pt x="1628" y="709"/>
                </a:lnTo>
                <a:lnTo>
                  <a:pt x="1630" y="710"/>
                </a:lnTo>
                <a:lnTo>
                  <a:pt x="1628" y="717"/>
                </a:lnTo>
                <a:lnTo>
                  <a:pt x="1631" y="710"/>
                </a:lnTo>
                <a:lnTo>
                  <a:pt x="1638" y="707"/>
                </a:lnTo>
                <a:lnTo>
                  <a:pt x="1640" y="704"/>
                </a:lnTo>
                <a:lnTo>
                  <a:pt x="1644" y="704"/>
                </a:lnTo>
                <a:lnTo>
                  <a:pt x="1645" y="700"/>
                </a:lnTo>
                <a:lnTo>
                  <a:pt x="1647" y="698"/>
                </a:lnTo>
                <a:lnTo>
                  <a:pt x="1655" y="702"/>
                </a:lnTo>
                <a:lnTo>
                  <a:pt x="1652" y="700"/>
                </a:lnTo>
                <a:lnTo>
                  <a:pt x="1653" y="700"/>
                </a:lnTo>
                <a:lnTo>
                  <a:pt x="1657" y="700"/>
                </a:lnTo>
                <a:lnTo>
                  <a:pt x="1653" y="698"/>
                </a:lnTo>
                <a:lnTo>
                  <a:pt x="1657" y="696"/>
                </a:lnTo>
                <a:lnTo>
                  <a:pt x="1664" y="696"/>
                </a:lnTo>
                <a:lnTo>
                  <a:pt x="1658" y="692"/>
                </a:lnTo>
                <a:lnTo>
                  <a:pt x="1656" y="687"/>
                </a:lnTo>
                <a:lnTo>
                  <a:pt x="1658" y="688"/>
                </a:lnTo>
                <a:lnTo>
                  <a:pt x="1658" y="684"/>
                </a:lnTo>
                <a:lnTo>
                  <a:pt x="1664" y="687"/>
                </a:lnTo>
                <a:lnTo>
                  <a:pt x="1660" y="683"/>
                </a:lnTo>
                <a:lnTo>
                  <a:pt x="1668" y="684"/>
                </a:lnTo>
                <a:lnTo>
                  <a:pt x="1661" y="683"/>
                </a:lnTo>
                <a:lnTo>
                  <a:pt x="1660" y="677"/>
                </a:lnTo>
                <a:lnTo>
                  <a:pt x="1664" y="673"/>
                </a:lnTo>
                <a:lnTo>
                  <a:pt x="1668" y="676"/>
                </a:lnTo>
                <a:lnTo>
                  <a:pt x="1665" y="673"/>
                </a:lnTo>
                <a:lnTo>
                  <a:pt x="1671" y="662"/>
                </a:lnTo>
                <a:lnTo>
                  <a:pt x="1676" y="666"/>
                </a:lnTo>
                <a:lnTo>
                  <a:pt x="1672" y="668"/>
                </a:lnTo>
                <a:lnTo>
                  <a:pt x="1676" y="668"/>
                </a:lnTo>
                <a:lnTo>
                  <a:pt x="1678" y="669"/>
                </a:lnTo>
                <a:lnTo>
                  <a:pt x="1675" y="669"/>
                </a:lnTo>
                <a:lnTo>
                  <a:pt x="1670" y="671"/>
                </a:lnTo>
                <a:lnTo>
                  <a:pt x="1675" y="669"/>
                </a:lnTo>
                <a:lnTo>
                  <a:pt x="1675" y="672"/>
                </a:lnTo>
                <a:lnTo>
                  <a:pt x="1679" y="672"/>
                </a:lnTo>
                <a:lnTo>
                  <a:pt x="1679" y="673"/>
                </a:lnTo>
                <a:lnTo>
                  <a:pt x="1679" y="674"/>
                </a:lnTo>
                <a:lnTo>
                  <a:pt x="1679" y="680"/>
                </a:lnTo>
                <a:lnTo>
                  <a:pt x="1681" y="680"/>
                </a:lnTo>
                <a:lnTo>
                  <a:pt x="1682" y="681"/>
                </a:lnTo>
                <a:lnTo>
                  <a:pt x="1687" y="683"/>
                </a:lnTo>
                <a:lnTo>
                  <a:pt x="1686" y="685"/>
                </a:lnTo>
                <a:lnTo>
                  <a:pt x="1684" y="687"/>
                </a:lnTo>
                <a:lnTo>
                  <a:pt x="1687" y="685"/>
                </a:lnTo>
                <a:lnTo>
                  <a:pt x="1693" y="690"/>
                </a:lnTo>
                <a:lnTo>
                  <a:pt x="1689" y="696"/>
                </a:lnTo>
                <a:lnTo>
                  <a:pt x="1693" y="696"/>
                </a:lnTo>
                <a:lnTo>
                  <a:pt x="1695" y="697"/>
                </a:lnTo>
                <a:lnTo>
                  <a:pt x="1698" y="695"/>
                </a:lnTo>
                <a:lnTo>
                  <a:pt x="1701" y="700"/>
                </a:lnTo>
                <a:lnTo>
                  <a:pt x="1689" y="711"/>
                </a:lnTo>
                <a:lnTo>
                  <a:pt x="1694" y="708"/>
                </a:lnTo>
                <a:lnTo>
                  <a:pt x="1703" y="708"/>
                </a:lnTo>
                <a:lnTo>
                  <a:pt x="1703" y="709"/>
                </a:lnTo>
                <a:lnTo>
                  <a:pt x="1701" y="712"/>
                </a:lnTo>
                <a:lnTo>
                  <a:pt x="1703" y="712"/>
                </a:lnTo>
                <a:lnTo>
                  <a:pt x="1704" y="712"/>
                </a:lnTo>
                <a:lnTo>
                  <a:pt x="1703" y="712"/>
                </a:lnTo>
                <a:lnTo>
                  <a:pt x="1703" y="713"/>
                </a:lnTo>
                <a:lnTo>
                  <a:pt x="1706" y="711"/>
                </a:lnTo>
                <a:lnTo>
                  <a:pt x="1708" y="715"/>
                </a:lnTo>
                <a:lnTo>
                  <a:pt x="1701" y="717"/>
                </a:lnTo>
                <a:lnTo>
                  <a:pt x="1710" y="715"/>
                </a:lnTo>
                <a:lnTo>
                  <a:pt x="1711" y="717"/>
                </a:lnTo>
                <a:lnTo>
                  <a:pt x="1711" y="718"/>
                </a:lnTo>
                <a:lnTo>
                  <a:pt x="1711" y="721"/>
                </a:lnTo>
                <a:lnTo>
                  <a:pt x="1710" y="719"/>
                </a:lnTo>
                <a:lnTo>
                  <a:pt x="1710" y="721"/>
                </a:lnTo>
                <a:lnTo>
                  <a:pt x="1713" y="723"/>
                </a:lnTo>
                <a:lnTo>
                  <a:pt x="1712" y="724"/>
                </a:lnTo>
                <a:lnTo>
                  <a:pt x="1708" y="728"/>
                </a:lnTo>
                <a:lnTo>
                  <a:pt x="1704" y="728"/>
                </a:lnTo>
                <a:lnTo>
                  <a:pt x="1707" y="732"/>
                </a:lnTo>
                <a:lnTo>
                  <a:pt x="1713" y="732"/>
                </a:lnTo>
                <a:lnTo>
                  <a:pt x="1715" y="732"/>
                </a:lnTo>
                <a:lnTo>
                  <a:pt x="1711" y="734"/>
                </a:lnTo>
                <a:lnTo>
                  <a:pt x="1719" y="734"/>
                </a:lnTo>
                <a:lnTo>
                  <a:pt x="1719" y="736"/>
                </a:lnTo>
                <a:lnTo>
                  <a:pt x="1719" y="739"/>
                </a:lnTo>
                <a:lnTo>
                  <a:pt x="1716" y="744"/>
                </a:lnTo>
                <a:lnTo>
                  <a:pt x="1715" y="744"/>
                </a:lnTo>
                <a:lnTo>
                  <a:pt x="1716" y="744"/>
                </a:lnTo>
                <a:lnTo>
                  <a:pt x="1715" y="744"/>
                </a:lnTo>
                <a:lnTo>
                  <a:pt x="1713" y="744"/>
                </a:lnTo>
                <a:lnTo>
                  <a:pt x="1711" y="744"/>
                </a:lnTo>
                <a:lnTo>
                  <a:pt x="1711" y="743"/>
                </a:lnTo>
                <a:lnTo>
                  <a:pt x="1707" y="742"/>
                </a:lnTo>
                <a:lnTo>
                  <a:pt x="1704" y="742"/>
                </a:lnTo>
                <a:lnTo>
                  <a:pt x="1711" y="747"/>
                </a:lnTo>
                <a:lnTo>
                  <a:pt x="1710" y="747"/>
                </a:lnTo>
                <a:lnTo>
                  <a:pt x="1711" y="748"/>
                </a:lnTo>
                <a:lnTo>
                  <a:pt x="1711" y="748"/>
                </a:lnTo>
                <a:lnTo>
                  <a:pt x="1712" y="748"/>
                </a:lnTo>
                <a:lnTo>
                  <a:pt x="1715" y="748"/>
                </a:lnTo>
                <a:lnTo>
                  <a:pt x="1715" y="752"/>
                </a:lnTo>
                <a:lnTo>
                  <a:pt x="1711" y="751"/>
                </a:lnTo>
                <a:lnTo>
                  <a:pt x="1711" y="756"/>
                </a:lnTo>
                <a:lnTo>
                  <a:pt x="1716" y="756"/>
                </a:lnTo>
                <a:lnTo>
                  <a:pt x="1720" y="756"/>
                </a:lnTo>
                <a:lnTo>
                  <a:pt x="1721" y="756"/>
                </a:lnTo>
                <a:lnTo>
                  <a:pt x="1723" y="756"/>
                </a:lnTo>
                <a:lnTo>
                  <a:pt x="1720" y="760"/>
                </a:lnTo>
                <a:lnTo>
                  <a:pt x="1724" y="760"/>
                </a:lnTo>
                <a:lnTo>
                  <a:pt x="1726" y="760"/>
                </a:lnTo>
                <a:lnTo>
                  <a:pt x="1727" y="760"/>
                </a:lnTo>
                <a:lnTo>
                  <a:pt x="1731" y="760"/>
                </a:lnTo>
                <a:lnTo>
                  <a:pt x="1729" y="763"/>
                </a:lnTo>
                <a:lnTo>
                  <a:pt x="1732" y="760"/>
                </a:lnTo>
                <a:lnTo>
                  <a:pt x="1731" y="766"/>
                </a:lnTo>
                <a:lnTo>
                  <a:pt x="1734" y="760"/>
                </a:lnTo>
                <a:lnTo>
                  <a:pt x="1738" y="764"/>
                </a:lnTo>
                <a:lnTo>
                  <a:pt x="1734" y="768"/>
                </a:lnTo>
                <a:lnTo>
                  <a:pt x="1737" y="768"/>
                </a:lnTo>
                <a:lnTo>
                  <a:pt x="1738" y="767"/>
                </a:lnTo>
                <a:lnTo>
                  <a:pt x="1739" y="768"/>
                </a:lnTo>
                <a:lnTo>
                  <a:pt x="1736" y="770"/>
                </a:lnTo>
                <a:lnTo>
                  <a:pt x="1735" y="771"/>
                </a:lnTo>
                <a:lnTo>
                  <a:pt x="1734" y="772"/>
                </a:lnTo>
                <a:lnTo>
                  <a:pt x="1735" y="771"/>
                </a:lnTo>
                <a:lnTo>
                  <a:pt x="1734" y="774"/>
                </a:lnTo>
                <a:lnTo>
                  <a:pt x="1734" y="773"/>
                </a:lnTo>
                <a:lnTo>
                  <a:pt x="1731" y="780"/>
                </a:lnTo>
                <a:lnTo>
                  <a:pt x="1738" y="776"/>
                </a:lnTo>
                <a:lnTo>
                  <a:pt x="1738" y="776"/>
                </a:lnTo>
                <a:lnTo>
                  <a:pt x="1743" y="771"/>
                </a:lnTo>
                <a:lnTo>
                  <a:pt x="1743" y="774"/>
                </a:lnTo>
                <a:lnTo>
                  <a:pt x="1741" y="776"/>
                </a:lnTo>
                <a:lnTo>
                  <a:pt x="1750" y="776"/>
                </a:lnTo>
                <a:lnTo>
                  <a:pt x="1741" y="783"/>
                </a:lnTo>
                <a:lnTo>
                  <a:pt x="1753" y="774"/>
                </a:lnTo>
                <a:lnTo>
                  <a:pt x="1750" y="779"/>
                </a:lnTo>
                <a:lnTo>
                  <a:pt x="1754" y="776"/>
                </a:lnTo>
                <a:lnTo>
                  <a:pt x="1755" y="776"/>
                </a:lnTo>
                <a:lnTo>
                  <a:pt x="1755" y="777"/>
                </a:lnTo>
                <a:lnTo>
                  <a:pt x="1757" y="779"/>
                </a:lnTo>
                <a:lnTo>
                  <a:pt x="1754" y="780"/>
                </a:lnTo>
                <a:lnTo>
                  <a:pt x="1756" y="782"/>
                </a:lnTo>
                <a:lnTo>
                  <a:pt x="1767" y="782"/>
                </a:lnTo>
                <a:lnTo>
                  <a:pt x="1765" y="782"/>
                </a:lnTo>
                <a:lnTo>
                  <a:pt x="1767" y="780"/>
                </a:lnTo>
                <a:lnTo>
                  <a:pt x="1767" y="784"/>
                </a:lnTo>
                <a:lnTo>
                  <a:pt x="1769" y="784"/>
                </a:lnTo>
                <a:lnTo>
                  <a:pt x="1772" y="783"/>
                </a:lnTo>
                <a:lnTo>
                  <a:pt x="1780" y="788"/>
                </a:lnTo>
                <a:lnTo>
                  <a:pt x="1779" y="792"/>
                </a:lnTo>
                <a:lnTo>
                  <a:pt x="1775" y="792"/>
                </a:lnTo>
                <a:lnTo>
                  <a:pt x="1779" y="792"/>
                </a:lnTo>
                <a:lnTo>
                  <a:pt x="1774" y="792"/>
                </a:lnTo>
                <a:lnTo>
                  <a:pt x="1768" y="792"/>
                </a:lnTo>
                <a:lnTo>
                  <a:pt x="1767" y="794"/>
                </a:lnTo>
                <a:lnTo>
                  <a:pt x="1764" y="795"/>
                </a:lnTo>
                <a:lnTo>
                  <a:pt x="1761" y="800"/>
                </a:lnTo>
                <a:lnTo>
                  <a:pt x="1762" y="799"/>
                </a:lnTo>
                <a:lnTo>
                  <a:pt x="1763" y="799"/>
                </a:lnTo>
                <a:lnTo>
                  <a:pt x="1763" y="796"/>
                </a:lnTo>
                <a:lnTo>
                  <a:pt x="1779" y="796"/>
                </a:lnTo>
                <a:lnTo>
                  <a:pt x="1783" y="802"/>
                </a:lnTo>
                <a:lnTo>
                  <a:pt x="1776" y="805"/>
                </a:lnTo>
                <a:lnTo>
                  <a:pt x="1779" y="808"/>
                </a:lnTo>
                <a:lnTo>
                  <a:pt x="1779" y="809"/>
                </a:lnTo>
                <a:lnTo>
                  <a:pt x="1784" y="804"/>
                </a:lnTo>
                <a:lnTo>
                  <a:pt x="1791" y="802"/>
                </a:lnTo>
                <a:lnTo>
                  <a:pt x="1791" y="808"/>
                </a:lnTo>
                <a:lnTo>
                  <a:pt x="1790" y="808"/>
                </a:lnTo>
                <a:lnTo>
                  <a:pt x="1799" y="812"/>
                </a:lnTo>
                <a:lnTo>
                  <a:pt x="1799" y="812"/>
                </a:lnTo>
                <a:lnTo>
                  <a:pt x="1799" y="816"/>
                </a:lnTo>
                <a:lnTo>
                  <a:pt x="1800" y="820"/>
                </a:lnTo>
                <a:lnTo>
                  <a:pt x="1797" y="820"/>
                </a:lnTo>
                <a:lnTo>
                  <a:pt x="1800" y="823"/>
                </a:lnTo>
                <a:lnTo>
                  <a:pt x="1802" y="823"/>
                </a:lnTo>
                <a:lnTo>
                  <a:pt x="1798" y="826"/>
                </a:lnTo>
                <a:lnTo>
                  <a:pt x="1802" y="828"/>
                </a:lnTo>
                <a:lnTo>
                  <a:pt x="1799" y="828"/>
                </a:lnTo>
                <a:lnTo>
                  <a:pt x="1797" y="828"/>
                </a:lnTo>
                <a:lnTo>
                  <a:pt x="1791" y="828"/>
                </a:lnTo>
                <a:lnTo>
                  <a:pt x="1803" y="831"/>
                </a:lnTo>
                <a:lnTo>
                  <a:pt x="1803" y="832"/>
                </a:lnTo>
                <a:lnTo>
                  <a:pt x="1802" y="832"/>
                </a:lnTo>
                <a:lnTo>
                  <a:pt x="1796" y="831"/>
                </a:lnTo>
                <a:lnTo>
                  <a:pt x="1803" y="834"/>
                </a:lnTo>
                <a:lnTo>
                  <a:pt x="1803" y="837"/>
                </a:lnTo>
                <a:lnTo>
                  <a:pt x="1785" y="853"/>
                </a:lnTo>
                <a:lnTo>
                  <a:pt x="1781" y="853"/>
                </a:lnTo>
                <a:lnTo>
                  <a:pt x="1774" y="853"/>
                </a:lnTo>
                <a:lnTo>
                  <a:pt x="1770" y="854"/>
                </a:lnTo>
                <a:lnTo>
                  <a:pt x="1759" y="855"/>
                </a:lnTo>
                <a:lnTo>
                  <a:pt x="1759" y="856"/>
                </a:lnTo>
                <a:lnTo>
                  <a:pt x="1755" y="860"/>
                </a:lnTo>
                <a:lnTo>
                  <a:pt x="1755" y="862"/>
                </a:lnTo>
                <a:lnTo>
                  <a:pt x="1751" y="863"/>
                </a:lnTo>
                <a:lnTo>
                  <a:pt x="1751" y="862"/>
                </a:lnTo>
                <a:lnTo>
                  <a:pt x="1745" y="869"/>
                </a:lnTo>
                <a:lnTo>
                  <a:pt x="1743" y="871"/>
                </a:lnTo>
                <a:lnTo>
                  <a:pt x="1743" y="872"/>
                </a:lnTo>
                <a:lnTo>
                  <a:pt x="1741" y="874"/>
                </a:lnTo>
                <a:lnTo>
                  <a:pt x="1723" y="875"/>
                </a:lnTo>
                <a:lnTo>
                  <a:pt x="1716" y="879"/>
                </a:lnTo>
                <a:lnTo>
                  <a:pt x="1719" y="877"/>
                </a:lnTo>
                <a:lnTo>
                  <a:pt x="1716" y="877"/>
                </a:lnTo>
                <a:lnTo>
                  <a:pt x="1715" y="875"/>
                </a:lnTo>
                <a:lnTo>
                  <a:pt x="1707" y="872"/>
                </a:lnTo>
                <a:lnTo>
                  <a:pt x="1694" y="874"/>
                </a:lnTo>
                <a:lnTo>
                  <a:pt x="1686" y="873"/>
                </a:lnTo>
                <a:lnTo>
                  <a:pt x="1665" y="873"/>
                </a:lnTo>
                <a:lnTo>
                  <a:pt x="1653" y="873"/>
                </a:lnTo>
                <a:lnTo>
                  <a:pt x="1652" y="875"/>
                </a:lnTo>
                <a:lnTo>
                  <a:pt x="1647" y="874"/>
                </a:lnTo>
                <a:lnTo>
                  <a:pt x="1638" y="882"/>
                </a:lnTo>
                <a:lnTo>
                  <a:pt x="1637" y="889"/>
                </a:lnTo>
                <a:lnTo>
                  <a:pt x="1633" y="892"/>
                </a:lnTo>
                <a:lnTo>
                  <a:pt x="1623" y="894"/>
                </a:lnTo>
                <a:lnTo>
                  <a:pt x="1621" y="895"/>
                </a:lnTo>
                <a:lnTo>
                  <a:pt x="1615" y="897"/>
                </a:lnTo>
                <a:lnTo>
                  <a:pt x="1608" y="901"/>
                </a:lnTo>
                <a:lnTo>
                  <a:pt x="1607" y="904"/>
                </a:lnTo>
                <a:lnTo>
                  <a:pt x="1600" y="915"/>
                </a:lnTo>
                <a:lnTo>
                  <a:pt x="1599" y="915"/>
                </a:lnTo>
                <a:lnTo>
                  <a:pt x="1595" y="921"/>
                </a:lnTo>
                <a:lnTo>
                  <a:pt x="1593" y="926"/>
                </a:lnTo>
                <a:lnTo>
                  <a:pt x="1588" y="928"/>
                </a:lnTo>
                <a:lnTo>
                  <a:pt x="1585" y="935"/>
                </a:lnTo>
                <a:lnTo>
                  <a:pt x="1578" y="941"/>
                </a:lnTo>
                <a:lnTo>
                  <a:pt x="1588" y="936"/>
                </a:lnTo>
                <a:lnTo>
                  <a:pt x="1604" y="917"/>
                </a:lnTo>
                <a:lnTo>
                  <a:pt x="1621" y="906"/>
                </a:lnTo>
                <a:lnTo>
                  <a:pt x="1651" y="897"/>
                </a:lnTo>
                <a:lnTo>
                  <a:pt x="1661" y="897"/>
                </a:lnTo>
                <a:lnTo>
                  <a:pt x="1672" y="896"/>
                </a:lnTo>
                <a:lnTo>
                  <a:pt x="1680" y="901"/>
                </a:lnTo>
                <a:lnTo>
                  <a:pt x="1681" y="904"/>
                </a:lnTo>
                <a:lnTo>
                  <a:pt x="1675" y="901"/>
                </a:lnTo>
                <a:lnTo>
                  <a:pt x="1681" y="905"/>
                </a:lnTo>
                <a:lnTo>
                  <a:pt x="1679" y="905"/>
                </a:lnTo>
                <a:lnTo>
                  <a:pt x="1679" y="908"/>
                </a:lnTo>
                <a:lnTo>
                  <a:pt x="1664" y="917"/>
                </a:lnTo>
                <a:lnTo>
                  <a:pt x="1655" y="913"/>
                </a:lnTo>
                <a:lnTo>
                  <a:pt x="1641" y="917"/>
                </a:lnTo>
                <a:lnTo>
                  <a:pt x="1648" y="917"/>
                </a:lnTo>
                <a:lnTo>
                  <a:pt x="1657" y="920"/>
                </a:lnTo>
                <a:lnTo>
                  <a:pt x="1659" y="924"/>
                </a:lnTo>
                <a:lnTo>
                  <a:pt x="1665" y="920"/>
                </a:lnTo>
                <a:lnTo>
                  <a:pt x="1672" y="920"/>
                </a:lnTo>
                <a:lnTo>
                  <a:pt x="1674" y="923"/>
                </a:lnTo>
                <a:lnTo>
                  <a:pt x="1671" y="924"/>
                </a:lnTo>
                <a:lnTo>
                  <a:pt x="1671" y="929"/>
                </a:lnTo>
                <a:lnTo>
                  <a:pt x="1664" y="937"/>
                </a:lnTo>
                <a:lnTo>
                  <a:pt x="1672" y="937"/>
                </a:lnTo>
                <a:lnTo>
                  <a:pt x="1671" y="941"/>
                </a:lnTo>
                <a:lnTo>
                  <a:pt x="1674" y="943"/>
                </a:lnTo>
                <a:lnTo>
                  <a:pt x="1676" y="951"/>
                </a:lnTo>
                <a:lnTo>
                  <a:pt x="1686" y="953"/>
                </a:lnTo>
                <a:lnTo>
                  <a:pt x="1681" y="955"/>
                </a:lnTo>
                <a:lnTo>
                  <a:pt x="1687" y="961"/>
                </a:lnTo>
                <a:lnTo>
                  <a:pt x="1689" y="961"/>
                </a:lnTo>
                <a:lnTo>
                  <a:pt x="1694" y="961"/>
                </a:lnTo>
                <a:lnTo>
                  <a:pt x="1701" y="961"/>
                </a:lnTo>
                <a:lnTo>
                  <a:pt x="1704" y="963"/>
                </a:lnTo>
                <a:lnTo>
                  <a:pt x="1711" y="958"/>
                </a:lnTo>
                <a:lnTo>
                  <a:pt x="1711" y="960"/>
                </a:lnTo>
                <a:lnTo>
                  <a:pt x="1717" y="961"/>
                </a:lnTo>
                <a:lnTo>
                  <a:pt x="1719" y="960"/>
                </a:lnTo>
                <a:lnTo>
                  <a:pt x="1719" y="954"/>
                </a:lnTo>
                <a:lnTo>
                  <a:pt x="1719" y="952"/>
                </a:lnTo>
                <a:lnTo>
                  <a:pt x="1723" y="952"/>
                </a:lnTo>
                <a:lnTo>
                  <a:pt x="1731" y="938"/>
                </a:lnTo>
                <a:lnTo>
                  <a:pt x="1736" y="940"/>
                </a:lnTo>
                <a:lnTo>
                  <a:pt x="1732" y="951"/>
                </a:lnTo>
                <a:lnTo>
                  <a:pt x="1735" y="949"/>
                </a:lnTo>
                <a:lnTo>
                  <a:pt x="1732" y="952"/>
                </a:lnTo>
                <a:lnTo>
                  <a:pt x="1724" y="955"/>
                </a:lnTo>
                <a:lnTo>
                  <a:pt x="1731" y="954"/>
                </a:lnTo>
                <a:lnTo>
                  <a:pt x="1731" y="954"/>
                </a:lnTo>
                <a:lnTo>
                  <a:pt x="1733" y="953"/>
                </a:lnTo>
                <a:lnTo>
                  <a:pt x="1737" y="949"/>
                </a:lnTo>
                <a:lnTo>
                  <a:pt x="1743" y="951"/>
                </a:lnTo>
                <a:lnTo>
                  <a:pt x="1743" y="952"/>
                </a:lnTo>
                <a:lnTo>
                  <a:pt x="1743" y="955"/>
                </a:lnTo>
                <a:lnTo>
                  <a:pt x="1738" y="958"/>
                </a:lnTo>
                <a:lnTo>
                  <a:pt x="1738" y="962"/>
                </a:lnTo>
                <a:lnTo>
                  <a:pt x="1734" y="965"/>
                </a:lnTo>
                <a:lnTo>
                  <a:pt x="1727" y="965"/>
                </a:lnTo>
                <a:lnTo>
                  <a:pt x="1724" y="965"/>
                </a:lnTo>
                <a:lnTo>
                  <a:pt x="1721" y="965"/>
                </a:lnTo>
                <a:lnTo>
                  <a:pt x="1723" y="967"/>
                </a:lnTo>
                <a:lnTo>
                  <a:pt x="1720" y="969"/>
                </a:lnTo>
                <a:lnTo>
                  <a:pt x="1727" y="969"/>
                </a:lnTo>
                <a:lnTo>
                  <a:pt x="1726" y="973"/>
                </a:lnTo>
                <a:lnTo>
                  <a:pt x="1723" y="973"/>
                </a:lnTo>
                <a:lnTo>
                  <a:pt x="1720" y="972"/>
                </a:lnTo>
                <a:lnTo>
                  <a:pt x="1705" y="975"/>
                </a:lnTo>
                <a:lnTo>
                  <a:pt x="1699" y="978"/>
                </a:lnTo>
                <a:lnTo>
                  <a:pt x="1695" y="977"/>
                </a:lnTo>
                <a:lnTo>
                  <a:pt x="1695" y="978"/>
                </a:lnTo>
                <a:lnTo>
                  <a:pt x="1694" y="977"/>
                </a:lnTo>
                <a:lnTo>
                  <a:pt x="1691" y="980"/>
                </a:lnTo>
                <a:lnTo>
                  <a:pt x="1687" y="978"/>
                </a:lnTo>
                <a:lnTo>
                  <a:pt x="1690" y="981"/>
                </a:lnTo>
                <a:lnTo>
                  <a:pt x="1688" y="983"/>
                </a:lnTo>
                <a:lnTo>
                  <a:pt x="1683" y="981"/>
                </a:lnTo>
                <a:lnTo>
                  <a:pt x="1683" y="978"/>
                </a:lnTo>
                <a:lnTo>
                  <a:pt x="1679" y="980"/>
                </a:lnTo>
                <a:lnTo>
                  <a:pt x="1679" y="981"/>
                </a:lnTo>
                <a:lnTo>
                  <a:pt x="1679" y="982"/>
                </a:lnTo>
                <a:lnTo>
                  <a:pt x="1679" y="983"/>
                </a:lnTo>
                <a:lnTo>
                  <a:pt x="1680" y="986"/>
                </a:lnTo>
                <a:lnTo>
                  <a:pt x="1675" y="989"/>
                </a:lnTo>
                <a:lnTo>
                  <a:pt x="1674" y="993"/>
                </a:lnTo>
                <a:lnTo>
                  <a:pt x="1672" y="993"/>
                </a:lnTo>
                <a:lnTo>
                  <a:pt x="1668" y="997"/>
                </a:lnTo>
                <a:lnTo>
                  <a:pt x="1664" y="997"/>
                </a:lnTo>
                <a:lnTo>
                  <a:pt x="1661" y="1002"/>
                </a:lnTo>
                <a:lnTo>
                  <a:pt x="1660" y="1001"/>
                </a:lnTo>
                <a:lnTo>
                  <a:pt x="1657" y="1001"/>
                </a:lnTo>
                <a:lnTo>
                  <a:pt x="1655" y="995"/>
                </a:lnTo>
                <a:lnTo>
                  <a:pt x="1652" y="996"/>
                </a:lnTo>
                <a:lnTo>
                  <a:pt x="1650" y="993"/>
                </a:lnTo>
                <a:lnTo>
                  <a:pt x="1650" y="989"/>
                </a:lnTo>
                <a:lnTo>
                  <a:pt x="1651" y="985"/>
                </a:lnTo>
                <a:lnTo>
                  <a:pt x="1655" y="981"/>
                </a:lnTo>
                <a:lnTo>
                  <a:pt x="1658" y="981"/>
                </a:lnTo>
                <a:lnTo>
                  <a:pt x="1658" y="977"/>
                </a:lnTo>
                <a:lnTo>
                  <a:pt x="1675" y="966"/>
                </a:lnTo>
                <a:lnTo>
                  <a:pt x="1675" y="973"/>
                </a:lnTo>
                <a:lnTo>
                  <a:pt x="1680" y="973"/>
                </a:lnTo>
                <a:lnTo>
                  <a:pt x="1679" y="973"/>
                </a:lnTo>
                <a:lnTo>
                  <a:pt x="1679" y="969"/>
                </a:lnTo>
                <a:lnTo>
                  <a:pt x="1692" y="966"/>
                </a:lnTo>
                <a:lnTo>
                  <a:pt x="1675" y="965"/>
                </a:lnTo>
                <a:lnTo>
                  <a:pt x="1671" y="966"/>
                </a:lnTo>
                <a:lnTo>
                  <a:pt x="1671" y="965"/>
                </a:lnTo>
                <a:lnTo>
                  <a:pt x="1671" y="965"/>
                </a:lnTo>
                <a:lnTo>
                  <a:pt x="1655" y="971"/>
                </a:lnTo>
                <a:lnTo>
                  <a:pt x="1652" y="966"/>
                </a:lnTo>
                <a:lnTo>
                  <a:pt x="1653" y="963"/>
                </a:lnTo>
                <a:lnTo>
                  <a:pt x="1651" y="966"/>
                </a:lnTo>
                <a:lnTo>
                  <a:pt x="1652" y="969"/>
                </a:lnTo>
                <a:lnTo>
                  <a:pt x="1647" y="972"/>
                </a:lnTo>
                <a:lnTo>
                  <a:pt x="1645" y="971"/>
                </a:lnTo>
                <a:lnTo>
                  <a:pt x="1641" y="973"/>
                </a:lnTo>
                <a:lnTo>
                  <a:pt x="1640" y="973"/>
                </a:lnTo>
                <a:lnTo>
                  <a:pt x="1639" y="973"/>
                </a:lnTo>
                <a:lnTo>
                  <a:pt x="1643" y="976"/>
                </a:lnTo>
                <a:lnTo>
                  <a:pt x="1639" y="977"/>
                </a:lnTo>
                <a:lnTo>
                  <a:pt x="1641" y="977"/>
                </a:lnTo>
                <a:lnTo>
                  <a:pt x="1641" y="979"/>
                </a:lnTo>
                <a:lnTo>
                  <a:pt x="1639" y="981"/>
                </a:lnTo>
                <a:lnTo>
                  <a:pt x="1630" y="981"/>
                </a:lnTo>
                <a:lnTo>
                  <a:pt x="1630" y="985"/>
                </a:lnTo>
                <a:lnTo>
                  <a:pt x="1631" y="985"/>
                </a:lnTo>
                <a:lnTo>
                  <a:pt x="1622" y="985"/>
                </a:lnTo>
                <a:lnTo>
                  <a:pt x="1623" y="989"/>
                </a:lnTo>
                <a:lnTo>
                  <a:pt x="1618" y="989"/>
                </a:lnTo>
                <a:lnTo>
                  <a:pt x="1618" y="989"/>
                </a:lnTo>
                <a:lnTo>
                  <a:pt x="1617" y="989"/>
                </a:lnTo>
                <a:lnTo>
                  <a:pt x="1614" y="988"/>
                </a:lnTo>
                <a:lnTo>
                  <a:pt x="1617" y="982"/>
                </a:lnTo>
                <a:lnTo>
                  <a:pt x="1613" y="983"/>
                </a:lnTo>
                <a:lnTo>
                  <a:pt x="1611" y="989"/>
                </a:lnTo>
                <a:lnTo>
                  <a:pt x="1607" y="992"/>
                </a:lnTo>
                <a:lnTo>
                  <a:pt x="1605" y="989"/>
                </a:lnTo>
                <a:lnTo>
                  <a:pt x="1602" y="993"/>
                </a:lnTo>
                <a:lnTo>
                  <a:pt x="1602" y="989"/>
                </a:lnTo>
                <a:lnTo>
                  <a:pt x="1598" y="992"/>
                </a:lnTo>
                <a:lnTo>
                  <a:pt x="1598" y="997"/>
                </a:lnTo>
                <a:lnTo>
                  <a:pt x="1598" y="993"/>
                </a:lnTo>
                <a:lnTo>
                  <a:pt x="1596" y="995"/>
                </a:lnTo>
                <a:lnTo>
                  <a:pt x="1595" y="998"/>
                </a:lnTo>
                <a:lnTo>
                  <a:pt x="1596" y="999"/>
                </a:lnTo>
                <a:lnTo>
                  <a:pt x="1591" y="1003"/>
                </a:lnTo>
                <a:lnTo>
                  <a:pt x="1589" y="1008"/>
                </a:lnTo>
                <a:lnTo>
                  <a:pt x="1587" y="1007"/>
                </a:lnTo>
                <a:lnTo>
                  <a:pt x="1585" y="1015"/>
                </a:lnTo>
                <a:lnTo>
                  <a:pt x="1589" y="1016"/>
                </a:lnTo>
                <a:lnTo>
                  <a:pt x="1585" y="1018"/>
                </a:lnTo>
                <a:lnTo>
                  <a:pt x="1583" y="1020"/>
                </a:lnTo>
                <a:lnTo>
                  <a:pt x="1586" y="1022"/>
                </a:lnTo>
                <a:lnTo>
                  <a:pt x="1586" y="1027"/>
                </a:lnTo>
                <a:lnTo>
                  <a:pt x="1590" y="1030"/>
                </a:lnTo>
                <a:lnTo>
                  <a:pt x="1590" y="1031"/>
                </a:lnTo>
                <a:lnTo>
                  <a:pt x="1594" y="1033"/>
                </a:lnTo>
                <a:lnTo>
                  <a:pt x="1598" y="1031"/>
                </a:lnTo>
                <a:lnTo>
                  <a:pt x="1598" y="1033"/>
                </a:lnTo>
                <a:lnTo>
                  <a:pt x="1590" y="1035"/>
                </a:lnTo>
                <a:lnTo>
                  <a:pt x="1586" y="1036"/>
                </a:lnTo>
                <a:lnTo>
                  <a:pt x="1586" y="1034"/>
                </a:lnTo>
                <a:lnTo>
                  <a:pt x="1578" y="1038"/>
                </a:lnTo>
                <a:lnTo>
                  <a:pt x="1578" y="1037"/>
                </a:lnTo>
                <a:lnTo>
                  <a:pt x="1578" y="1035"/>
                </a:lnTo>
                <a:lnTo>
                  <a:pt x="1579" y="1034"/>
                </a:lnTo>
                <a:lnTo>
                  <a:pt x="1578" y="1031"/>
                </a:lnTo>
                <a:lnTo>
                  <a:pt x="1577" y="1038"/>
                </a:lnTo>
                <a:lnTo>
                  <a:pt x="1556" y="1041"/>
                </a:lnTo>
                <a:lnTo>
                  <a:pt x="1546" y="1046"/>
                </a:lnTo>
                <a:lnTo>
                  <a:pt x="1542" y="1048"/>
                </a:lnTo>
                <a:lnTo>
                  <a:pt x="1546" y="1047"/>
                </a:lnTo>
                <a:lnTo>
                  <a:pt x="1561" y="1046"/>
                </a:lnTo>
                <a:lnTo>
                  <a:pt x="1565" y="1042"/>
                </a:lnTo>
                <a:lnTo>
                  <a:pt x="1561" y="1047"/>
                </a:lnTo>
                <a:lnTo>
                  <a:pt x="1572" y="1044"/>
                </a:lnTo>
                <a:lnTo>
                  <a:pt x="1558" y="1049"/>
                </a:lnTo>
                <a:lnTo>
                  <a:pt x="1545" y="1053"/>
                </a:lnTo>
                <a:lnTo>
                  <a:pt x="1544" y="1053"/>
                </a:lnTo>
                <a:lnTo>
                  <a:pt x="1541" y="1053"/>
                </a:lnTo>
                <a:lnTo>
                  <a:pt x="1540" y="1053"/>
                </a:lnTo>
                <a:lnTo>
                  <a:pt x="1540" y="1050"/>
                </a:lnTo>
                <a:lnTo>
                  <a:pt x="1539" y="1050"/>
                </a:lnTo>
                <a:lnTo>
                  <a:pt x="1542" y="1044"/>
                </a:lnTo>
                <a:lnTo>
                  <a:pt x="1538" y="1038"/>
                </a:lnTo>
                <a:lnTo>
                  <a:pt x="1538" y="1046"/>
                </a:lnTo>
                <a:lnTo>
                  <a:pt x="1537" y="1054"/>
                </a:lnTo>
                <a:lnTo>
                  <a:pt x="1537" y="1054"/>
                </a:lnTo>
                <a:lnTo>
                  <a:pt x="1537" y="1054"/>
                </a:lnTo>
                <a:lnTo>
                  <a:pt x="1537" y="1057"/>
                </a:lnTo>
                <a:lnTo>
                  <a:pt x="1540" y="1057"/>
                </a:lnTo>
                <a:lnTo>
                  <a:pt x="1540" y="1059"/>
                </a:lnTo>
                <a:lnTo>
                  <a:pt x="1538" y="1068"/>
                </a:lnTo>
                <a:lnTo>
                  <a:pt x="1538" y="1062"/>
                </a:lnTo>
                <a:lnTo>
                  <a:pt x="1538" y="1069"/>
                </a:lnTo>
                <a:lnTo>
                  <a:pt x="1535" y="1072"/>
                </a:lnTo>
                <a:lnTo>
                  <a:pt x="1534" y="1073"/>
                </a:lnTo>
                <a:lnTo>
                  <a:pt x="1533" y="1073"/>
                </a:lnTo>
                <a:lnTo>
                  <a:pt x="1534" y="1073"/>
                </a:lnTo>
                <a:lnTo>
                  <a:pt x="1533" y="1074"/>
                </a:lnTo>
                <a:lnTo>
                  <a:pt x="1530" y="1077"/>
                </a:lnTo>
                <a:lnTo>
                  <a:pt x="1532" y="1077"/>
                </a:lnTo>
                <a:lnTo>
                  <a:pt x="1530" y="1080"/>
                </a:lnTo>
                <a:lnTo>
                  <a:pt x="1526" y="1081"/>
                </a:lnTo>
                <a:lnTo>
                  <a:pt x="1526" y="1077"/>
                </a:lnTo>
                <a:lnTo>
                  <a:pt x="1518" y="1074"/>
                </a:lnTo>
                <a:lnTo>
                  <a:pt x="1517" y="1070"/>
                </a:lnTo>
                <a:lnTo>
                  <a:pt x="1524" y="1062"/>
                </a:lnTo>
                <a:lnTo>
                  <a:pt x="1514" y="1069"/>
                </a:lnTo>
                <a:lnTo>
                  <a:pt x="1514" y="1070"/>
                </a:lnTo>
                <a:lnTo>
                  <a:pt x="1514" y="1072"/>
                </a:lnTo>
                <a:lnTo>
                  <a:pt x="1522" y="1085"/>
                </a:lnTo>
                <a:lnTo>
                  <a:pt x="1520" y="1087"/>
                </a:lnTo>
                <a:lnTo>
                  <a:pt x="1522" y="1088"/>
                </a:lnTo>
                <a:lnTo>
                  <a:pt x="1522" y="1092"/>
                </a:lnTo>
                <a:lnTo>
                  <a:pt x="1519" y="1098"/>
                </a:lnTo>
                <a:lnTo>
                  <a:pt x="1518" y="1105"/>
                </a:lnTo>
                <a:lnTo>
                  <a:pt x="1516" y="1108"/>
                </a:lnTo>
                <a:lnTo>
                  <a:pt x="1510" y="1115"/>
                </a:lnTo>
                <a:lnTo>
                  <a:pt x="1510" y="1111"/>
                </a:lnTo>
                <a:lnTo>
                  <a:pt x="1511" y="1105"/>
                </a:lnTo>
                <a:lnTo>
                  <a:pt x="1513" y="1102"/>
                </a:lnTo>
                <a:lnTo>
                  <a:pt x="1514" y="1093"/>
                </a:lnTo>
                <a:lnTo>
                  <a:pt x="1511" y="1094"/>
                </a:lnTo>
                <a:lnTo>
                  <a:pt x="1507" y="1093"/>
                </a:lnTo>
                <a:lnTo>
                  <a:pt x="1506" y="1092"/>
                </a:lnTo>
                <a:lnTo>
                  <a:pt x="1510" y="1089"/>
                </a:lnTo>
                <a:lnTo>
                  <a:pt x="1510" y="1089"/>
                </a:lnTo>
                <a:lnTo>
                  <a:pt x="1508" y="1089"/>
                </a:lnTo>
                <a:lnTo>
                  <a:pt x="1507" y="1089"/>
                </a:lnTo>
                <a:lnTo>
                  <a:pt x="1506" y="1089"/>
                </a:lnTo>
                <a:lnTo>
                  <a:pt x="1507" y="1085"/>
                </a:lnTo>
                <a:lnTo>
                  <a:pt x="1510" y="1085"/>
                </a:lnTo>
                <a:lnTo>
                  <a:pt x="1507" y="1082"/>
                </a:lnTo>
                <a:lnTo>
                  <a:pt x="1507" y="1081"/>
                </a:lnTo>
                <a:lnTo>
                  <a:pt x="1507" y="1081"/>
                </a:lnTo>
                <a:lnTo>
                  <a:pt x="1506" y="1081"/>
                </a:lnTo>
                <a:lnTo>
                  <a:pt x="1506" y="1081"/>
                </a:lnTo>
                <a:lnTo>
                  <a:pt x="1506" y="1081"/>
                </a:lnTo>
                <a:lnTo>
                  <a:pt x="1506" y="1081"/>
                </a:lnTo>
                <a:lnTo>
                  <a:pt x="1506" y="1080"/>
                </a:lnTo>
                <a:lnTo>
                  <a:pt x="1506" y="1077"/>
                </a:lnTo>
                <a:lnTo>
                  <a:pt x="1510" y="1076"/>
                </a:lnTo>
                <a:lnTo>
                  <a:pt x="1511" y="1075"/>
                </a:lnTo>
                <a:lnTo>
                  <a:pt x="1514" y="1073"/>
                </a:lnTo>
                <a:lnTo>
                  <a:pt x="1510" y="1073"/>
                </a:lnTo>
                <a:lnTo>
                  <a:pt x="1511" y="1073"/>
                </a:lnTo>
                <a:lnTo>
                  <a:pt x="1506" y="1074"/>
                </a:lnTo>
                <a:lnTo>
                  <a:pt x="1506" y="1072"/>
                </a:lnTo>
                <a:lnTo>
                  <a:pt x="1504" y="1074"/>
                </a:lnTo>
                <a:lnTo>
                  <a:pt x="1502" y="1076"/>
                </a:lnTo>
                <a:lnTo>
                  <a:pt x="1502" y="1077"/>
                </a:lnTo>
                <a:lnTo>
                  <a:pt x="1500" y="1076"/>
                </a:lnTo>
                <a:lnTo>
                  <a:pt x="1506" y="1080"/>
                </a:lnTo>
                <a:lnTo>
                  <a:pt x="1503" y="1085"/>
                </a:lnTo>
                <a:lnTo>
                  <a:pt x="1506" y="1093"/>
                </a:lnTo>
                <a:lnTo>
                  <a:pt x="1501" y="1092"/>
                </a:lnTo>
                <a:lnTo>
                  <a:pt x="1506" y="1094"/>
                </a:lnTo>
                <a:lnTo>
                  <a:pt x="1506" y="1098"/>
                </a:lnTo>
                <a:lnTo>
                  <a:pt x="1503" y="1094"/>
                </a:lnTo>
                <a:lnTo>
                  <a:pt x="1499" y="1094"/>
                </a:lnTo>
                <a:lnTo>
                  <a:pt x="1497" y="1094"/>
                </a:lnTo>
                <a:lnTo>
                  <a:pt x="1495" y="1094"/>
                </a:lnTo>
                <a:lnTo>
                  <a:pt x="1499" y="1098"/>
                </a:lnTo>
                <a:lnTo>
                  <a:pt x="1503" y="1098"/>
                </a:lnTo>
                <a:lnTo>
                  <a:pt x="1507" y="1102"/>
                </a:lnTo>
                <a:lnTo>
                  <a:pt x="1506" y="1105"/>
                </a:lnTo>
                <a:lnTo>
                  <a:pt x="1500" y="1100"/>
                </a:lnTo>
                <a:lnTo>
                  <a:pt x="1503" y="1106"/>
                </a:lnTo>
                <a:lnTo>
                  <a:pt x="1506" y="1106"/>
                </a:lnTo>
                <a:lnTo>
                  <a:pt x="1507" y="1110"/>
                </a:lnTo>
                <a:lnTo>
                  <a:pt x="1506" y="1110"/>
                </a:lnTo>
                <a:lnTo>
                  <a:pt x="1506" y="1111"/>
                </a:lnTo>
                <a:lnTo>
                  <a:pt x="1501" y="1109"/>
                </a:lnTo>
                <a:lnTo>
                  <a:pt x="1507" y="1115"/>
                </a:lnTo>
                <a:lnTo>
                  <a:pt x="1506" y="1117"/>
                </a:lnTo>
                <a:lnTo>
                  <a:pt x="1502" y="1112"/>
                </a:lnTo>
                <a:lnTo>
                  <a:pt x="1494" y="1111"/>
                </a:lnTo>
                <a:lnTo>
                  <a:pt x="1502" y="1115"/>
                </a:lnTo>
                <a:lnTo>
                  <a:pt x="1505" y="1117"/>
                </a:lnTo>
                <a:lnTo>
                  <a:pt x="1506" y="1119"/>
                </a:lnTo>
                <a:lnTo>
                  <a:pt x="1506" y="1118"/>
                </a:lnTo>
                <a:lnTo>
                  <a:pt x="1511" y="1118"/>
                </a:lnTo>
                <a:lnTo>
                  <a:pt x="1513" y="1121"/>
                </a:lnTo>
                <a:lnTo>
                  <a:pt x="1511" y="1123"/>
                </a:lnTo>
                <a:lnTo>
                  <a:pt x="1514" y="1132"/>
                </a:lnTo>
                <a:lnTo>
                  <a:pt x="1511" y="1127"/>
                </a:lnTo>
                <a:lnTo>
                  <a:pt x="1513" y="1131"/>
                </a:lnTo>
                <a:lnTo>
                  <a:pt x="1507" y="1127"/>
                </a:lnTo>
                <a:lnTo>
                  <a:pt x="1511" y="1131"/>
                </a:lnTo>
                <a:lnTo>
                  <a:pt x="1507" y="1132"/>
                </a:lnTo>
                <a:lnTo>
                  <a:pt x="1506" y="1131"/>
                </a:lnTo>
                <a:lnTo>
                  <a:pt x="1504" y="1134"/>
                </a:lnTo>
                <a:lnTo>
                  <a:pt x="1499" y="1132"/>
                </a:lnTo>
                <a:lnTo>
                  <a:pt x="1500" y="1134"/>
                </a:lnTo>
                <a:lnTo>
                  <a:pt x="1506" y="1134"/>
                </a:lnTo>
                <a:lnTo>
                  <a:pt x="1507" y="1134"/>
                </a:lnTo>
                <a:lnTo>
                  <a:pt x="1510" y="1134"/>
                </a:lnTo>
                <a:lnTo>
                  <a:pt x="1510" y="1135"/>
                </a:lnTo>
                <a:lnTo>
                  <a:pt x="1513" y="1134"/>
                </a:lnTo>
                <a:lnTo>
                  <a:pt x="1517" y="1138"/>
                </a:lnTo>
                <a:lnTo>
                  <a:pt x="1514" y="1140"/>
                </a:lnTo>
                <a:lnTo>
                  <a:pt x="1511" y="1144"/>
                </a:lnTo>
                <a:lnTo>
                  <a:pt x="1510" y="1146"/>
                </a:lnTo>
                <a:lnTo>
                  <a:pt x="1506" y="1146"/>
                </a:lnTo>
                <a:lnTo>
                  <a:pt x="1505" y="1145"/>
                </a:lnTo>
                <a:lnTo>
                  <a:pt x="1502" y="1147"/>
                </a:lnTo>
                <a:lnTo>
                  <a:pt x="1503" y="1149"/>
                </a:lnTo>
                <a:lnTo>
                  <a:pt x="1502" y="1149"/>
                </a:lnTo>
                <a:lnTo>
                  <a:pt x="1502" y="1151"/>
                </a:lnTo>
                <a:lnTo>
                  <a:pt x="1506" y="1150"/>
                </a:lnTo>
                <a:lnTo>
                  <a:pt x="1507" y="1150"/>
                </a:lnTo>
                <a:lnTo>
                  <a:pt x="1506" y="1153"/>
                </a:lnTo>
                <a:lnTo>
                  <a:pt x="1503" y="1158"/>
                </a:lnTo>
                <a:lnTo>
                  <a:pt x="1498" y="1158"/>
                </a:lnTo>
                <a:lnTo>
                  <a:pt x="1498" y="1154"/>
                </a:lnTo>
                <a:lnTo>
                  <a:pt x="1493" y="1155"/>
                </a:lnTo>
                <a:lnTo>
                  <a:pt x="1492" y="1157"/>
                </a:lnTo>
                <a:lnTo>
                  <a:pt x="1491" y="1155"/>
                </a:lnTo>
                <a:lnTo>
                  <a:pt x="1492" y="1158"/>
                </a:lnTo>
                <a:lnTo>
                  <a:pt x="1487" y="1161"/>
                </a:lnTo>
                <a:lnTo>
                  <a:pt x="1484" y="1169"/>
                </a:lnTo>
                <a:lnTo>
                  <a:pt x="1482" y="1165"/>
                </a:lnTo>
                <a:lnTo>
                  <a:pt x="1482" y="1170"/>
                </a:lnTo>
                <a:lnTo>
                  <a:pt x="1474" y="1170"/>
                </a:lnTo>
                <a:lnTo>
                  <a:pt x="1469" y="1172"/>
                </a:lnTo>
                <a:lnTo>
                  <a:pt x="1466" y="1181"/>
                </a:lnTo>
                <a:lnTo>
                  <a:pt x="1463" y="1178"/>
                </a:lnTo>
                <a:lnTo>
                  <a:pt x="1466" y="1183"/>
                </a:lnTo>
                <a:lnTo>
                  <a:pt x="1462" y="1186"/>
                </a:lnTo>
                <a:lnTo>
                  <a:pt x="1461" y="1186"/>
                </a:lnTo>
                <a:lnTo>
                  <a:pt x="1455" y="1189"/>
                </a:lnTo>
                <a:lnTo>
                  <a:pt x="1455" y="1189"/>
                </a:lnTo>
                <a:lnTo>
                  <a:pt x="1449" y="1193"/>
                </a:lnTo>
                <a:lnTo>
                  <a:pt x="1444" y="1192"/>
                </a:lnTo>
                <a:lnTo>
                  <a:pt x="1446" y="1193"/>
                </a:lnTo>
                <a:lnTo>
                  <a:pt x="1446" y="1195"/>
                </a:lnTo>
                <a:lnTo>
                  <a:pt x="1443" y="1196"/>
                </a:lnTo>
                <a:lnTo>
                  <a:pt x="1443" y="1196"/>
                </a:lnTo>
                <a:lnTo>
                  <a:pt x="1438" y="1197"/>
                </a:lnTo>
                <a:lnTo>
                  <a:pt x="1438" y="1199"/>
                </a:lnTo>
                <a:lnTo>
                  <a:pt x="1438" y="1200"/>
                </a:lnTo>
                <a:lnTo>
                  <a:pt x="1438" y="1205"/>
                </a:lnTo>
                <a:lnTo>
                  <a:pt x="1436" y="1210"/>
                </a:lnTo>
                <a:lnTo>
                  <a:pt x="1436" y="1210"/>
                </a:lnTo>
                <a:lnTo>
                  <a:pt x="1435" y="1212"/>
                </a:lnTo>
                <a:lnTo>
                  <a:pt x="1432" y="1215"/>
                </a:lnTo>
                <a:lnTo>
                  <a:pt x="1433" y="1216"/>
                </a:lnTo>
                <a:lnTo>
                  <a:pt x="1432" y="1219"/>
                </a:lnTo>
                <a:lnTo>
                  <a:pt x="1433" y="1218"/>
                </a:lnTo>
                <a:lnTo>
                  <a:pt x="1433" y="1218"/>
                </a:lnTo>
                <a:lnTo>
                  <a:pt x="1434" y="1218"/>
                </a:lnTo>
                <a:lnTo>
                  <a:pt x="1434" y="1220"/>
                </a:lnTo>
                <a:lnTo>
                  <a:pt x="1434" y="1220"/>
                </a:lnTo>
                <a:lnTo>
                  <a:pt x="1436" y="1237"/>
                </a:lnTo>
                <a:lnTo>
                  <a:pt x="1440" y="1247"/>
                </a:lnTo>
                <a:lnTo>
                  <a:pt x="1447" y="1257"/>
                </a:lnTo>
                <a:lnTo>
                  <a:pt x="1445" y="1262"/>
                </a:lnTo>
                <a:lnTo>
                  <a:pt x="1444" y="1261"/>
                </a:lnTo>
                <a:lnTo>
                  <a:pt x="1452" y="1284"/>
                </a:lnTo>
                <a:lnTo>
                  <a:pt x="1450" y="1299"/>
                </a:lnTo>
                <a:lnTo>
                  <a:pt x="1449" y="1304"/>
                </a:lnTo>
                <a:lnTo>
                  <a:pt x="1448" y="1309"/>
                </a:lnTo>
                <a:lnTo>
                  <a:pt x="1449" y="1307"/>
                </a:lnTo>
                <a:lnTo>
                  <a:pt x="1447" y="1311"/>
                </a:lnTo>
                <a:lnTo>
                  <a:pt x="1447" y="1311"/>
                </a:lnTo>
                <a:lnTo>
                  <a:pt x="1448" y="1309"/>
                </a:lnTo>
                <a:lnTo>
                  <a:pt x="1447" y="1310"/>
                </a:lnTo>
                <a:lnTo>
                  <a:pt x="1447" y="1310"/>
                </a:lnTo>
                <a:lnTo>
                  <a:pt x="1446" y="1310"/>
                </a:lnTo>
                <a:lnTo>
                  <a:pt x="1439" y="1310"/>
                </a:lnTo>
                <a:lnTo>
                  <a:pt x="1439" y="1310"/>
                </a:lnTo>
                <a:lnTo>
                  <a:pt x="1440" y="1310"/>
                </a:lnTo>
                <a:lnTo>
                  <a:pt x="1440" y="1310"/>
                </a:lnTo>
                <a:lnTo>
                  <a:pt x="1439" y="1310"/>
                </a:lnTo>
                <a:lnTo>
                  <a:pt x="1438" y="1310"/>
                </a:lnTo>
                <a:lnTo>
                  <a:pt x="1438" y="1310"/>
                </a:lnTo>
                <a:lnTo>
                  <a:pt x="1435" y="1307"/>
                </a:lnTo>
                <a:lnTo>
                  <a:pt x="1435" y="1300"/>
                </a:lnTo>
                <a:lnTo>
                  <a:pt x="1428" y="1299"/>
                </a:lnTo>
                <a:lnTo>
                  <a:pt x="1428" y="1290"/>
                </a:lnTo>
                <a:lnTo>
                  <a:pt x="1426" y="1290"/>
                </a:lnTo>
                <a:lnTo>
                  <a:pt x="1422" y="1290"/>
                </a:lnTo>
                <a:lnTo>
                  <a:pt x="1422" y="1286"/>
                </a:lnTo>
                <a:lnTo>
                  <a:pt x="1421" y="1286"/>
                </a:lnTo>
                <a:lnTo>
                  <a:pt x="1416" y="1276"/>
                </a:lnTo>
                <a:lnTo>
                  <a:pt x="1418" y="1269"/>
                </a:lnTo>
                <a:lnTo>
                  <a:pt x="1418" y="1266"/>
                </a:lnTo>
                <a:lnTo>
                  <a:pt x="1414" y="1265"/>
                </a:lnTo>
                <a:lnTo>
                  <a:pt x="1414" y="1265"/>
                </a:lnTo>
                <a:lnTo>
                  <a:pt x="1413" y="1265"/>
                </a:lnTo>
                <a:lnTo>
                  <a:pt x="1414" y="1258"/>
                </a:lnTo>
                <a:lnTo>
                  <a:pt x="1414" y="1253"/>
                </a:lnTo>
                <a:lnTo>
                  <a:pt x="1411" y="1247"/>
                </a:lnTo>
                <a:lnTo>
                  <a:pt x="1408" y="1245"/>
                </a:lnTo>
                <a:lnTo>
                  <a:pt x="1401" y="1241"/>
                </a:lnTo>
                <a:lnTo>
                  <a:pt x="1401" y="1238"/>
                </a:lnTo>
                <a:lnTo>
                  <a:pt x="1397" y="1235"/>
                </a:lnTo>
                <a:lnTo>
                  <a:pt x="1394" y="1234"/>
                </a:lnTo>
                <a:lnTo>
                  <a:pt x="1391" y="1234"/>
                </a:lnTo>
                <a:lnTo>
                  <a:pt x="1387" y="1235"/>
                </a:lnTo>
                <a:lnTo>
                  <a:pt x="1381" y="1237"/>
                </a:lnTo>
                <a:lnTo>
                  <a:pt x="1373" y="1238"/>
                </a:lnTo>
                <a:lnTo>
                  <a:pt x="1373" y="1235"/>
                </a:lnTo>
                <a:lnTo>
                  <a:pt x="1371" y="1234"/>
                </a:lnTo>
                <a:lnTo>
                  <a:pt x="1375" y="1234"/>
                </a:lnTo>
                <a:lnTo>
                  <a:pt x="1371" y="1233"/>
                </a:lnTo>
                <a:lnTo>
                  <a:pt x="1361" y="1230"/>
                </a:lnTo>
                <a:lnTo>
                  <a:pt x="1364" y="1230"/>
                </a:lnTo>
                <a:lnTo>
                  <a:pt x="1362" y="1228"/>
                </a:lnTo>
                <a:lnTo>
                  <a:pt x="1348" y="1227"/>
                </a:lnTo>
                <a:lnTo>
                  <a:pt x="1353" y="1226"/>
                </a:lnTo>
                <a:lnTo>
                  <a:pt x="1349" y="1223"/>
                </a:lnTo>
                <a:lnTo>
                  <a:pt x="1347" y="1227"/>
                </a:lnTo>
                <a:lnTo>
                  <a:pt x="1344" y="1228"/>
                </a:lnTo>
                <a:lnTo>
                  <a:pt x="1343" y="1230"/>
                </a:lnTo>
                <a:lnTo>
                  <a:pt x="1340" y="1230"/>
                </a:lnTo>
                <a:lnTo>
                  <a:pt x="1337" y="1226"/>
                </a:lnTo>
                <a:lnTo>
                  <a:pt x="1335" y="1230"/>
                </a:lnTo>
                <a:lnTo>
                  <a:pt x="1332" y="1230"/>
                </a:lnTo>
                <a:lnTo>
                  <a:pt x="1330" y="1230"/>
                </a:lnTo>
                <a:lnTo>
                  <a:pt x="1323" y="1228"/>
                </a:lnTo>
                <a:lnTo>
                  <a:pt x="1315" y="1231"/>
                </a:lnTo>
                <a:lnTo>
                  <a:pt x="1304" y="1227"/>
                </a:lnTo>
                <a:lnTo>
                  <a:pt x="1301" y="1231"/>
                </a:lnTo>
                <a:lnTo>
                  <a:pt x="1301" y="1234"/>
                </a:lnTo>
                <a:lnTo>
                  <a:pt x="1305" y="1234"/>
                </a:lnTo>
                <a:lnTo>
                  <a:pt x="1310" y="1233"/>
                </a:lnTo>
                <a:lnTo>
                  <a:pt x="1313" y="1235"/>
                </a:lnTo>
                <a:lnTo>
                  <a:pt x="1315" y="1232"/>
                </a:lnTo>
                <a:lnTo>
                  <a:pt x="1316" y="1235"/>
                </a:lnTo>
                <a:lnTo>
                  <a:pt x="1313" y="1237"/>
                </a:lnTo>
                <a:lnTo>
                  <a:pt x="1313" y="1235"/>
                </a:lnTo>
                <a:lnTo>
                  <a:pt x="1310" y="1239"/>
                </a:lnTo>
                <a:lnTo>
                  <a:pt x="1323" y="1247"/>
                </a:lnTo>
                <a:lnTo>
                  <a:pt x="1321" y="1250"/>
                </a:lnTo>
                <a:lnTo>
                  <a:pt x="1320" y="1250"/>
                </a:lnTo>
                <a:lnTo>
                  <a:pt x="1315" y="1250"/>
                </a:lnTo>
                <a:lnTo>
                  <a:pt x="1316" y="1247"/>
                </a:lnTo>
                <a:lnTo>
                  <a:pt x="1313" y="1249"/>
                </a:lnTo>
                <a:lnTo>
                  <a:pt x="1313" y="1245"/>
                </a:lnTo>
                <a:lnTo>
                  <a:pt x="1309" y="1243"/>
                </a:lnTo>
                <a:lnTo>
                  <a:pt x="1309" y="1242"/>
                </a:lnTo>
                <a:lnTo>
                  <a:pt x="1301" y="1241"/>
                </a:lnTo>
                <a:lnTo>
                  <a:pt x="1301" y="1244"/>
                </a:lnTo>
                <a:lnTo>
                  <a:pt x="1297" y="1247"/>
                </a:lnTo>
                <a:lnTo>
                  <a:pt x="1289" y="1245"/>
                </a:lnTo>
                <a:lnTo>
                  <a:pt x="1293" y="1243"/>
                </a:lnTo>
                <a:lnTo>
                  <a:pt x="1287" y="1241"/>
                </a:lnTo>
                <a:lnTo>
                  <a:pt x="1284" y="1237"/>
                </a:lnTo>
                <a:lnTo>
                  <a:pt x="1282" y="1235"/>
                </a:lnTo>
                <a:lnTo>
                  <a:pt x="1276" y="1237"/>
                </a:lnTo>
                <a:lnTo>
                  <a:pt x="1278" y="1238"/>
                </a:lnTo>
                <a:lnTo>
                  <a:pt x="1275" y="1241"/>
                </a:lnTo>
                <a:lnTo>
                  <a:pt x="1261" y="1238"/>
                </a:lnTo>
                <a:lnTo>
                  <a:pt x="1252" y="1238"/>
                </a:lnTo>
                <a:lnTo>
                  <a:pt x="1251" y="1236"/>
                </a:lnTo>
                <a:lnTo>
                  <a:pt x="1250" y="1237"/>
                </a:lnTo>
                <a:lnTo>
                  <a:pt x="1252" y="1242"/>
                </a:lnTo>
                <a:lnTo>
                  <a:pt x="1249" y="1242"/>
                </a:lnTo>
                <a:lnTo>
                  <a:pt x="1243" y="1242"/>
                </a:lnTo>
                <a:lnTo>
                  <a:pt x="1238" y="1244"/>
                </a:lnTo>
                <a:lnTo>
                  <a:pt x="1242" y="1242"/>
                </a:lnTo>
                <a:lnTo>
                  <a:pt x="1238" y="1242"/>
                </a:lnTo>
                <a:lnTo>
                  <a:pt x="1239" y="1238"/>
                </a:lnTo>
                <a:lnTo>
                  <a:pt x="1235" y="1238"/>
                </a:lnTo>
                <a:lnTo>
                  <a:pt x="1237" y="1243"/>
                </a:lnTo>
                <a:lnTo>
                  <a:pt x="1237" y="1243"/>
                </a:lnTo>
                <a:lnTo>
                  <a:pt x="1237" y="1245"/>
                </a:lnTo>
                <a:lnTo>
                  <a:pt x="1235" y="1246"/>
                </a:lnTo>
                <a:lnTo>
                  <a:pt x="1234" y="1249"/>
                </a:lnTo>
                <a:lnTo>
                  <a:pt x="1217" y="1258"/>
                </a:lnTo>
                <a:lnTo>
                  <a:pt x="1221" y="1255"/>
                </a:lnTo>
                <a:lnTo>
                  <a:pt x="1217" y="1257"/>
                </a:lnTo>
                <a:lnTo>
                  <a:pt x="1219" y="1255"/>
                </a:lnTo>
                <a:lnTo>
                  <a:pt x="1215" y="1255"/>
                </a:lnTo>
                <a:lnTo>
                  <a:pt x="1216" y="1258"/>
                </a:lnTo>
                <a:lnTo>
                  <a:pt x="1215" y="1258"/>
                </a:lnTo>
                <a:lnTo>
                  <a:pt x="1216" y="1258"/>
                </a:lnTo>
                <a:lnTo>
                  <a:pt x="1211" y="1260"/>
                </a:lnTo>
                <a:lnTo>
                  <a:pt x="1209" y="1258"/>
                </a:lnTo>
                <a:lnTo>
                  <a:pt x="1209" y="1261"/>
                </a:lnTo>
                <a:lnTo>
                  <a:pt x="1209" y="1266"/>
                </a:lnTo>
                <a:lnTo>
                  <a:pt x="1206" y="1266"/>
                </a:lnTo>
                <a:lnTo>
                  <a:pt x="1205" y="1270"/>
                </a:lnTo>
                <a:lnTo>
                  <a:pt x="1206" y="1269"/>
                </a:lnTo>
                <a:lnTo>
                  <a:pt x="1203" y="1273"/>
                </a:lnTo>
                <a:lnTo>
                  <a:pt x="1201" y="1277"/>
                </a:lnTo>
                <a:lnTo>
                  <a:pt x="1201" y="1274"/>
                </a:lnTo>
                <a:lnTo>
                  <a:pt x="1200" y="1278"/>
                </a:lnTo>
                <a:lnTo>
                  <a:pt x="1199" y="1278"/>
                </a:lnTo>
                <a:lnTo>
                  <a:pt x="1198" y="1284"/>
                </a:lnTo>
                <a:lnTo>
                  <a:pt x="1202" y="1296"/>
                </a:lnTo>
                <a:lnTo>
                  <a:pt x="1201" y="1295"/>
                </a:lnTo>
                <a:lnTo>
                  <a:pt x="1201" y="1298"/>
                </a:lnTo>
                <a:lnTo>
                  <a:pt x="1202" y="1298"/>
                </a:lnTo>
                <a:lnTo>
                  <a:pt x="1196" y="1319"/>
                </a:lnTo>
                <a:lnTo>
                  <a:pt x="1194" y="1345"/>
                </a:lnTo>
                <a:lnTo>
                  <a:pt x="1193" y="1351"/>
                </a:lnTo>
                <a:lnTo>
                  <a:pt x="1196" y="1359"/>
                </a:lnTo>
                <a:lnTo>
                  <a:pt x="1201" y="1367"/>
                </a:lnTo>
                <a:lnTo>
                  <a:pt x="1194" y="1358"/>
                </a:lnTo>
                <a:lnTo>
                  <a:pt x="1196" y="1365"/>
                </a:lnTo>
                <a:lnTo>
                  <a:pt x="1204" y="1380"/>
                </a:lnTo>
                <a:lnTo>
                  <a:pt x="1214" y="1393"/>
                </a:lnTo>
                <a:lnTo>
                  <a:pt x="1217" y="1400"/>
                </a:lnTo>
                <a:lnTo>
                  <a:pt x="1221" y="1405"/>
                </a:lnTo>
                <a:lnTo>
                  <a:pt x="1221" y="1407"/>
                </a:lnTo>
                <a:lnTo>
                  <a:pt x="1223" y="1409"/>
                </a:lnTo>
                <a:lnTo>
                  <a:pt x="1233" y="1412"/>
                </a:lnTo>
                <a:lnTo>
                  <a:pt x="1234" y="1415"/>
                </a:lnTo>
                <a:lnTo>
                  <a:pt x="1238" y="1415"/>
                </a:lnTo>
                <a:lnTo>
                  <a:pt x="1243" y="1420"/>
                </a:lnTo>
                <a:lnTo>
                  <a:pt x="1252" y="1417"/>
                </a:lnTo>
                <a:lnTo>
                  <a:pt x="1256" y="1415"/>
                </a:lnTo>
                <a:lnTo>
                  <a:pt x="1261" y="1415"/>
                </a:lnTo>
                <a:lnTo>
                  <a:pt x="1261" y="1415"/>
                </a:lnTo>
                <a:lnTo>
                  <a:pt x="1270" y="1411"/>
                </a:lnTo>
                <a:lnTo>
                  <a:pt x="1279" y="1409"/>
                </a:lnTo>
                <a:lnTo>
                  <a:pt x="1282" y="1412"/>
                </a:lnTo>
                <a:lnTo>
                  <a:pt x="1278" y="1415"/>
                </a:lnTo>
                <a:lnTo>
                  <a:pt x="1281" y="1415"/>
                </a:lnTo>
                <a:lnTo>
                  <a:pt x="1281" y="1415"/>
                </a:lnTo>
                <a:lnTo>
                  <a:pt x="1283" y="1415"/>
                </a:lnTo>
                <a:lnTo>
                  <a:pt x="1286" y="1415"/>
                </a:lnTo>
                <a:lnTo>
                  <a:pt x="1287" y="1412"/>
                </a:lnTo>
                <a:lnTo>
                  <a:pt x="1290" y="1411"/>
                </a:lnTo>
                <a:lnTo>
                  <a:pt x="1287" y="1408"/>
                </a:lnTo>
                <a:lnTo>
                  <a:pt x="1289" y="1407"/>
                </a:lnTo>
                <a:lnTo>
                  <a:pt x="1287" y="1407"/>
                </a:lnTo>
                <a:lnTo>
                  <a:pt x="1297" y="1400"/>
                </a:lnTo>
                <a:lnTo>
                  <a:pt x="1298" y="1394"/>
                </a:lnTo>
                <a:lnTo>
                  <a:pt x="1302" y="1392"/>
                </a:lnTo>
                <a:lnTo>
                  <a:pt x="1301" y="1381"/>
                </a:lnTo>
                <a:lnTo>
                  <a:pt x="1304" y="1374"/>
                </a:lnTo>
                <a:lnTo>
                  <a:pt x="1309" y="1370"/>
                </a:lnTo>
                <a:lnTo>
                  <a:pt x="1325" y="1369"/>
                </a:lnTo>
                <a:lnTo>
                  <a:pt x="1331" y="1367"/>
                </a:lnTo>
                <a:lnTo>
                  <a:pt x="1338" y="1365"/>
                </a:lnTo>
                <a:lnTo>
                  <a:pt x="1348" y="1369"/>
                </a:lnTo>
                <a:lnTo>
                  <a:pt x="1350" y="1367"/>
                </a:lnTo>
                <a:lnTo>
                  <a:pt x="1345" y="1367"/>
                </a:lnTo>
                <a:lnTo>
                  <a:pt x="1351" y="1365"/>
                </a:lnTo>
                <a:lnTo>
                  <a:pt x="1353" y="1369"/>
                </a:lnTo>
                <a:lnTo>
                  <a:pt x="1353" y="1371"/>
                </a:lnTo>
                <a:lnTo>
                  <a:pt x="1352" y="1377"/>
                </a:lnTo>
                <a:lnTo>
                  <a:pt x="1345" y="1386"/>
                </a:lnTo>
                <a:lnTo>
                  <a:pt x="1345" y="1392"/>
                </a:lnTo>
                <a:lnTo>
                  <a:pt x="1343" y="1393"/>
                </a:lnTo>
                <a:lnTo>
                  <a:pt x="1340" y="1394"/>
                </a:lnTo>
                <a:lnTo>
                  <a:pt x="1341" y="1397"/>
                </a:lnTo>
                <a:lnTo>
                  <a:pt x="1345" y="1395"/>
                </a:lnTo>
                <a:lnTo>
                  <a:pt x="1345" y="1399"/>
                </a:lnTo>
                <a:lnTo>
                  <a:pt x="1341" y="1400"/>
                </a:lnTo>
                <a:lnTo>
                  <a:pt x="1341" y="1403"/>
                </a:lnTo>
                <a:lnTo>
                  <a:pt x="1344" y="1400"/>
                </a:lnTo>
                <a:lnTo>
                  <a:pt x="1337" y="1416"/>
                </a:lnTo>
                <a:lnTo>
                  <a:pt x="1337" y="1413"/>
                </a:lnTo>
                <a:lnTo>
                  <a:pt x="1334" y="1412"/>
                </a:lnTo>
                <a:lnTo>
                  <a:pt x="1332" y="1415"/>
                </a:lnTo>
                <a:lnTo>
                  <a:pt x="1331" y="1415"/>
                </a:lnTo>
                <a:lnTo>
                  <a:pt x="1329" y="1419"/>
                </a:lnTo>
                <a:lnTo>
                  <a:pt x="1331" y="1419"/>
                </a:lnTo>
                <a:lnTo>
                  <a:pt x="1333" y="1419"/>
                </a:lnTo>
                <a:lnTo>
                  <a:pt x="1329" y="1429"/>
                </a:lnTo>
                <a:lnTo>
                  <a:pt x="1329" y="1435"/>
                </a:lnTo>
                <a:lnTo>
                  <a:pt x="1331" y="1439"/>
                </a:lnTo>
                <a:lnTo>
                  <a:pt x="1329" y="1445"/>
                </a:lnTo>
                <a:lnTo>
                  <a:pt x="1329" y="1443"/>
                </a:lnTo>
                <a:lnTo>
                  <a:pt x="1325" y="1448"/>
                </a:lnTo>
                <a:lnTo>
                  <a:pt x="1322" y="1450"/>
                </a:lnTo>
                <a:lnTo>
                  <a:pt x="1317" y="1452"/>
                </a:lnTo>
                <a:lnTo>
                  <a:pt x="1317" y="1455"/>
                </a:lnTo>
                <a:lnTo>
                  <a:pt x="1317" y="1455"/>
                </a:lnTo>
                <a:lnTo>
                  <a:pt x="1317" y="1459"/>
                </a:lnTo>
                <a:lnTo>
                  <a:pt x="1321" y="1459"/>
                </a:lnTo>
                <a:lnTo>
                  <a:pt x="1325" y="1462"/>
                </a:lnTo>
                <a:lnTo>
                  <a:pt x="1328" y="1456"/>
                </a:lnTo>
                <a:lnTo>
                  <a:pt x="1327" y="1455"/>
                </a:lnTo>
                <a:lnTo>
                  <a:pt x="1329" y="1457"/>
                </a:lnTo>
                <a:lnTo>
                  <a:pt x="1329" y="1457"/>
                </a:lnTo>
                <a:lnTo>
                  <a:pt x="1330" y="1459"/>
                </a:lnTo>
                <a:lnTo>
                  <a:pt x="1332" y="1459"/>
                </a:lnTo>
                <a:lnTo>
                  <a:pt x="1333" y="1459"/>
                </a:lnTo>
                <a:lnTo>
                  <a:pt x="1340" y="1454"/>
                </a:lnTo>
                <a:lnTo>
                  <a:pt x="1344" y="1454"/>
                </a:lnTo>
                <a:lnTo>
                  <a:pt x="1344" y="1453"/>
                </a:lnTo>
                <a:lnTo>
                  <a:pt x="1359" y="1454"/>
                </a:lnTo>
                <a:lnTo>
                  <a:pt x="1365" y="1453"/>
                </a:lnTo>
                <a:lnTo>
                  <a:pt x="1365" y="1451"/>
                </a:lnTo>
                <a:lnTo>
                  <a:pt x="1364" y="1451"/>
                </a:lnTo>
                <a:lnTo>
                  <a:pt x="1365" y="1451"/>
                </a:lnTo>
                <a:lnTo>
                  <a:pt x="1371" y="1453"/>
                </a:lnTo>
                <a:lnTo>
                  <a:pt x="1378" y="1450"/>
                </a:lnTo>
                <a:lnTo>
                  <a:pt x="1382" y="1453"/>
                </a:lnTo>
                <a:lnTo>
                  <a:pt x="1384" y="1455"/>
                </a:lnTo>
                <a:lnTo>
                  <a:pt x="1385" y="1455"/>
                </a:lnTo>
                <a:lnTo>
                  <a:pt x="1385" y="1453"/>
                </a:lnTo>
                <a:lnTo>
                  <a:pt x="1388" y="1454"/>
                </a:lnTo>
                <a:lnTo>
                  <a:pt x="1395" y="1460"/>
                </a:lnTo>
                <a:lnTo>
                  <a:pt x="1388" y="1458"/>
                </a:lnTo>
                <a:lnTo>
                  <a:pt x="1392" y="1462"/>
                </a:lnTo>
                <a:lnTo>
                  <a:pt x="1393" y="1461"/>
                </a:lnTo>
                <a:lnTo>
                  <a:pt x="1396" y="1463"/>
                </a:lnTo>
                <a:lnTo>
                  <a:pt x="1397" y="1463"/>
                </a:lnTo>
                <a:lnTo>
                  <a:pt x="1397" y="1465"/>
                </a:lnTo>
                <a:lnTo>
                  <a:pt x="1399" y="1462"/>
                </a:lnTo>
                <a:lnTo>
                  <a:pt x="1399" y="1462"/>
                </a:lnTo>
                <a:lnTo>
                  <a:pt x="1402" y="1463"/>
                </a:lnTo>
                <a:lnTo>
                  <a:pt x="1402" y="1467"/>
                </a:lnTo>
                <a:lnTo>
                  <a:pt x="1404" y="1467"/>
                </a:lnTo>
                <a:lnTo>
                  <a:pt x="1402" y="1470"/>
                </a:lnTo>
                <a:lnTo>
                  <a:pt x="1403" y="1472"/>
                </a:lnTo>
                <a:lnTo>
                  <a:pt x="1404" y="1477"/>
                </a:lnTo>
                <a:lnTo>
                  <a:pt x="1402" y="1483"/>
                </a:lnTo>
                <a:lnTo>
                  <a:pt x="1399" y="1492"/>
                </a:lnTo>
                <a:lnTo>
                  <a:pt x="1399" y="1500"/>
                </a:lnTo>
                <a:lnTo>
                  <a:pt x="1400" y="1501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1"/>
                </a:lnTo>
                <a:lnTo>
                  <a:pt x="1398" y="1500"/>
                </a:lnTo>
                <a:lnTo>
                  <a:pt x="1397" y="1499"/>
                </a:lnTo>
                <a:lnTo>
                  <a:pt x="1397" y="1503"/>
                </a:lnTo>
                <a:lnTo>
                  <a:pt x="1393" y="1507"/>
                </a:lnTo>
                <a:lnTo>
                  <a:pt x="1393" y="1513"/>
                </a:lnTo>
                <a:lnTo>
                  <a:pt x="1393" y="1514"/>
                </a:lnTo>
                <a:lnTo>
                  <a:pt x="1393" y="1516"/>
                </a:lnTo>
                <a:lnTo>
                  <a:pt x="1394" y="1514"/>
                </a:lnTo>
                <a:lnTo>
                  <a:pt x="1398" y="1519"/>
                </a:lnTo>
                <a:lnTo>
                  <a:pt x="1393" y="1523"/>
                </a:lnTo>
                <a:lnTo>
                  <a:pt x="1393" y="1527"/>
                </a:lnTo>
                <a:lnTo>
                  <a:pt x="1398" y="1530"/>
                </a:lnTo>
                <a:lnTo>
                  <a:pt x="1396" y="1531"/>
                </a:lnTo>
                <a:lnTo>
                  <a:pt x="1392" y="1533"/>
                </a:lnTo>
                <a:lnTo>
                  <a:pt x="1382" y="1528"/>
                </a:lnTo>
                <a:lnTo>
                  <a:pt x="1379" y="1530"/>
                </a:lnTo>
                <a:lnTo>
                  <a:pt x="1368" y="1524"/>
                </a:lnTo>
                <a:lnTo>
                  <a:pt x="1367" y="1528"/>
                </a:lnTo>
                <a:close/>
                <a:moveTo>
                  <a:pt x="1334" y="1411"/>
                </a:moveTo>
                <a:lnTo>
                  <a:pt x="1337" y="1411"/>
                </a:lnTo>
                <a:lnTo>
                  <a:pt x="1337" y="1407"/>
                </a:lnTo>
                <a:lnTo>
                  <a:pt x="1334" y="1411"/>
                </a:lnTo>
                <a:close/>
                <a:moveTo>
                  <a:pt x="1443" y="1258"/>
                </a:moveTo>
                <a:lnTo>
                  <a:pt x="1443" y="1259"/>
                </a:lnTo>
                <a:lnTo>
                  <a:pt x="1443" y="1260"/>
                </a:lnTo>
                <a:lnTo>
                  <a:pt x="1445" y="1258"/>
                </a:lnTo>
                <a:lnTo>
                  <a:pt x="1443" y="1258"/>
                </a:lnTo>
                <a:close/>
                <a:moveTo>
                  <a:pt x="1441" y="1254"/>
                </a:moveTo>
                <a:lnTo>
                  <a:pt x="1442" y="1257"/>
                </a:lnTo>
                <a:lnTo>
                  <a:pt x="1442" y="1254"/>
                </a:lnTo>
                <a:lnTo>
                  <a:pt x="1441" y="1254"/>
                </a:lnTo>
                <a:close/>
                <a:moveTo>
                  <a:pt x="1502" y="1143"/>
                </a:moveTo>
                <a:lnTo>
                  <a:pt x="1505" y="1145"/>
                </a:lnTo>
                <a:lnTo>
                  <a:pt x="1503" y="1141"/>
                </a:lnTo>
                <a:lnTo>
                  <a:pt x="1502" y="1143"/>
                </a:lnTo>
                <a:close/>
                <a:moveTo>
                  <a:pt x="1495" y="1147"/>
                </a:moveTo>
                <a:lnTo>
                  <a:pt x="1496" y="1150"/>
                </a:lnTo>
                <a:lnTo>
                  <a:pt x="1498" y="1151"/>
                </a:lnTo>
                <a:lnTo>
                  <a:pt x="1501" y="1149"/>
                </a:lnTo>
                <a:lnTo>
                  <a:pt x="1500" y="1150"/>
                </a:lnTo>
                <a:lnTo>
                  <a:pt x="1495" y="1147"/>
                </a:lnTo>
                <a:close/>
                <a:moveTo>
                  <a:pt x="1724" y="961"/>
                </a:moveTo>
                <a:lnTo>
                  <a:pt x="1729" y="961"/>
                </a:lnTo>
                <a:lnTo>
                  <a:pt x="1734" y="955"/>
                </a:lnTo>
                <a:lnTo>
                  <a:pt x="1731" y="958"/>
                </a:lnTo>
                <a:lnTo>
                  <a:pt x="1729" y="955"/>
                </a:lnTo>
                <a:lnTo>
                  <a:pt x="1729" y="955"/>
                </a:lnTo>
                <a:lnTo>
                  <a:pt x="1726" y="958"/>
                </a:lnTo>
                <a:lnTo>
                  <a:pt x="1724" y="961"/>
                </a:lnTo>
                <a:close/>
                <a:moveTo>
                  <a:pt x="1724" y="963"/>
                </a:moveTo>
                <a:lnTo>
                  <a:pt x="1726" y="963"/>
                </a:lnTo>
                <a:lnTo>
                  <a:pt x="1727" y="961"/>
                </a:lnTo>
                <a:lnTo>
                  <a:pt x="1724" y="963"/>
                </a:lnTo>
                <a:close/>
                <a:moveTo>
                  <a:pt x="1672" y="953"/>
                </a:moveTo>
                <a:lnTo>
                  <a:pt x="1675" y="959"/>
                </a:lnTo>
                <a:lnTo>
                  <a:pt x="1673" y="963"/>
                </a:lnTo>
                <a:lnTo>
                  <a:pt x="1680" y="959"/>
                </a:lnTo>
                <a:lnTo>
                  <a:pt x="1679" y="958"/>
                </a:lnTo>
                <a:lnTo>
                  <a:pt x="1676" y="959"/>
                </a:lnTo>
                <a:lnTo>
                  <a:pt x="1672" y="953"/>
                </a:lnTo>
                <a:close/>
                <a:moveTo>
                  <a:pt x="1617" y="988"/>
                </a:moveTo>
                <a:lnTo>
                  <a:pt x="1618" y="988"/>
                </a:lnTo>
                <a:lnTo>
                  <a:pt x="1618" y="986"/>
                </a:lnTo>
                <a:lnTo>
                  <a:pt x="1617" y="988"/>
                </a:lnTo>
                <a:close/>
                <a:moveTo>
                  <a:pt x="1734" y="811"/>
                </a:moveTo>
                <a:lnTo>
                  <a:pt x="1738" y="813"/>
                </a:lnTo>
                <a:lnTo>
                  <a:pt x="1745" y="809"/>
                </a:lnTo>
                <a:lnTo>
                  <a:pt x="1742" y="808"/>
                </a:lnTo>
                <a:lnTo>
                  <a:pt x="1751" y="804"/>
                </a:lnTo>
                <a:lnTo>
                  <a:pt x="1751" y="802"/>
                </a:lnTo>
                <a:lnTo>
                  <a:pt x="1760" y="800"/>
                </a:lnTo>
                <a:lnTo>
                  <a:pt x="1757" y="800"/>
                </a:lnTo>
                <a:lnTo>
                  <a:pt x="1747" y="803"/>
                </a:lnTo>
                <a:lnTo>
                  <a:pt x="1739" y="802"/>
                </a:lnTo>
                <a:lnTo>
                  <a:pt x="1739" y="808"/>
                </a:lnTo>
                <a:lnTo>
                  <a:pt x="1734" y="811"/>
                </a:lnTo>
                <a:close/>
                <a:moveTo>
                  <a:pt x="1735" y="770"/>
                </a:moveTo>
                <a:lnTo>
                  <a:pt x="1735" y="770"/>
                </a:lnTo>
                <a:lnTo>
                  <a:pt x="1735" y="770"/>
                </a:lnTo>
                <a:lnTo>
                  <a:pt x="1735" y="770"/>
                </a:lnTo>
                <a:close/>
                <a:moveTo>
                  <a:pt x="1693" y="716"/>
                </a:moveTo>
                <a:lnTo>
                  <a:pt x="1696" y="716"/>
                </a:lnTo>
                <a:lnTo>
                  <a:pt x="1698" y="713"/>
                </a:lnTo>
                <a:lnTo>
                  <a:pt x="1693" y="716"/>
                </a:lnTo>
                <a:close/>
                <a:moveTo>
                  <a:pt x="1682" y="688"/>
                </a:moveTo>
                <a:lnTo>
                  <a:pt x="1683" y="688"/>
                </a:lnTo>
                <a:lnTo>
                  <a:pt x="1683" y="688"/>
                </a:lnTo>
                <a:lnTo>
                  <a:pt x="1682" y="688"/>
                </a:lnTo>
                <a:close/>
                <a:moveTo>
                  <a:pt x="1602" y="692"/>
                </a:moveTo>
                <a:lnTo>
                  <a:pt x="1604" y="695"/>
                </a:lnTo>
                <a:lnTo>
                  <a:pt x="1603" y="697"/>
                </a:lnTo>
                <a:lnTo>
                  <a:pt x="1605" y="696"/>
                </a:lnTo>
                <a:lnTo>
                  <a:pt x="1604" y="692"/>
                </a:lnTo>
                <a:lnTo>
                  <a:pt x="1602" y="692"/>
                </a:lnTo>
                <a:close/>
                <a:moveTo>
                  <a:pt x="1488" y="640"/>
                </a:moveTo>
                <a:lnTo>
                  <a:pt x="1486" y="638"/>
                </a:lnTo>
                <a:lnTo>
                  <a:pt x="1486" y="640"/>
                </a:lnTo>
                <a:lnTo>
                  <a:pt x="1488" y="640"/>
                </a:lnTo>
                <a:close/>
                <a:moveTo>
                  <a:pt x="1494" y="1088"/>
                </a:moveTo>
                <a:lnTo>
                  <a:pt x="1497" y="1085"/>
                </a:lnTo>
                <a:lnTo>
                  <a:pt x="1494" y="1088"/>
                </a:lnTo>
                <a:lnTo>
                  <a:pt x="1494" y="1088"/>
                </a:lnTo>
                <a:close/>
                <a:moveTo>
                  <a:pt x="1492" y="1094"/>
                </a:moveTo>
                <a:lnTo>
                  <a:pt x="1494" y="1094"/>
                </a:lnTo>
                <a:lnTo>
                  <a:pt x="1494" y="1088"/>
                </a:lnTo>
                <a:lnTo>
                  <a:pt x="1492" y="1094"/>
                </a:lnTo>
                <a:close/>
                <a:moveTo>
                  <a:pt x="1441" y="1194"/>
                </a:moveTo>
                <a:lnTo>
                  <a:pt x="1442" y="1195"/>
                </a:lnTo>
                <a:lnTo>
                  <a:pt x="1442" y="1193"/>
                </a:lnTo>
                <a:lnTo>
                  <a:pt x="1441" y="1194"/>
                </a:lnTo>
                <a:close/>
                <a:moveTo>
                  <a:pt x="1345" y="1228"/>
                </a:moveTo>
                <a:lnTo>
                  <a:pt x="1347" y="1226"/>
                </a:lnTo>
                <a:lnTo>
                  <a:pt x="1346" y="1226"/>
                </a:lnTo>
                <a:lnTo>
                  <a:pt x="1345" y="1228"/>
                </a:lnTo>
                <a:close/>
                <a:moveTo>
                  <a:pt x="1337" y="1226"/>
                </a:moveTo>
                <a:lnTo>
                  <a:pt x="1337" y="1226"/>
                </a:lnTo>
                <a:lnTo>
                  <a:pt x="1337" y="1226"/>
                </a:lnTo>
                <a:lnTo>
                  <a:pt x="1337" y="1226"/>
                </a:lnTo>
                <a:close/>
                <a:moveTo>
                  <a:pt x="1252" y="1235"/>
                </a:moveTo>
                <a:lnTo>
                  <a:pt x="1254" y="1234"/>
                </a:lnTo>
                <a:lnTo>
                  <a:pt x="1252" y="1234"/>
                </a:lnTo>
                <a:lnTo>
                  <a:pt x="1252" y="1235"/>
                </a:lnTo>
                <a:close/>
                <a:moveTo>
                  <a:pt x="1308" y="576"/>
                </a:moveTo>
                <a:lnTo>
                  <a:pt x="1309" y="576"/>
                </a:lnTo>
                <a:lnTo>
                  <a:pt x="1309" y="573"/>
                </a:lnTo>
                <a:lnTo>
                  <a:pt x="1308" y="576"/>
                </a:lnTo>
                <a:close/>
                <a:moveTo>
                  <a:pt x="1385" y="511"/>
                </a:moveTo>
                <a:lnTo>
                  <a:pt x="1385" y="511"/>
                </a:lnTo>
                <a:lnTo>
                  <a:pt x="1382" y="511"/>
                </a:lnTo>
                <a:lnTo>
                  <a:pt x="1385" y="511"/>
                </a:lnTo>
                <a:lnTo>
                  <a:pt x="1385" y="511"/>
                </a:lnTo>
                <a:close/>
                <a:moveTo>
                  <a:pt x="1385" y="512"/>
                </a:moveTo>
                <a:lnTo>
                  <a:pt x="1385" y="515"/>
                </a:lnTo>
                <a:lnTo>
                  <a:pt x="1388" y="515"/>
                </a:lnTo>
                <a:lnTo>
                  <a:pt x="1385" y="512"/>
                </a:lnTo>
                <a:close/>
                <a:moveTo>
                  <a:pt x="1377" y="510"/>
                </a:moveTo>
                <a:lnTo>
                  <a:pt x="1384" y="508"/>
                </a:lnTo>
                <a:lnTo>
                  <a:pt x="1382" y="509"/>
                </a:lnTo>
                <a:lnTo>
                  <a:pt x="1385" y="511"/>
                </a:lnTo>
                <a:lnTo>
                  <a:pt x="1386" y="507"/>
                </a:lnTo>
                <a:lnTo>
                  <a:pt x="1377" y="504"/>
                </a:lnTo>
                <a:lnTo>
                  <a:pt x="1377" y="510"/>
                </a:lnTo>
                <a:close/>
                <a:moveTo>
                  <a:pt x="1300" y="535"/>
                </a:moveTo>
                <a:lnTo>
                  <a:pt x="1303" y="535"/>
                </a:lnTo>
                <a:lnTo>
                  <a:pt x="1301" y="535"/>
                </a:lnTo>
                <a:lnTo>
                  <a:pt x="1300" y="535"/>
                </a:lnTo>
                <a:close/>
                <a:moveTo>
                  <a:pt x="1284" y="532"/>
                </a:moveTo>
                <a:lnTo>
                  <a:pt x="1292" y="534"/>
                </a:lnTo>
                <a:lnTo>
                  <a:pt x="1290" y="533"/>
                </a:lnTo>
                <a:lnTo>
                  <a:pt x="1297" y="534"/>
                </a:lnTo>
                <a:lnTo>
                  <a:pt x="1284" y="532"/>
                </a:lnTo>
                <a:close/>
                <a:moveTo>
                  <a:pt x="1250" y="459"/>
                </a:moveTo>
                <a:lnTo>
                  <a:pt x="1248" y="459"/>
                </a:lnTo>
                <a:lnTo>
                  <a:pt x="1247" y="461"/>
                </a:lnTo>
                <a:lnTo>
                  <a:pt x="1250" y="459"/>
                </a:lnTo>
                <a:close/>
                <a:moveTo>
                  <a:pt x="1269" y="591"/>
                </a:moveTo>
                <a:lnTo>
                  <a:pt x="1277" y="587"/>
                </a:lnTo>
                <a:lnTo>
                  <a:pt x="1276" y="587"/>
                </a:lnTo>
                <a:lnTo>
                  <a:pt x="1269" y="591"/>
                </a:lnTo>
                <a:close/>
                <a:moveTo>
                  <a:pt x="1250" y="573"/>
                </a:moveTo>
                <a:lnTo>
                  <a:pt x="1254" y="577"/>
                </a:lnTo>
                <a:lnTo>
                  <a:pt x="1251" y="580"/>
                </a:lnTo>
                <a:lnTo>
                  <a:pt x="1255" y="583"/>
                </a:lnTo>
                <a:lnTo>
                  <a:pt x="1257" y="583"/>
                </a:lnTo>
                <a:lnTo>
                  <a:pt x="1268" y="584"/>
                </a:lnTo>
                <a:lnTo>
                  <a:pt x="1257" y="579"/>
                </a:lnTo>
                <a:lnTo>
                  <a:pt x="1250" y="573"/>
                </a:lnTo>
                <a:close/>
                <a:moveTo>
                  <a:pt x="1222" y="515"/>
                </a:moveTo>
                <a:lnTo>
                  <a:pt x="1224" y="515"/>
                </a:lnTo>
                <a:lnTo>
                  <a:pt x="1222" y="513"/>
                </a:lnTo>
                <a:lnTo>
                  <a:pt x="1222" y="515"/>
                </a:lnTo>
                <a:close/>
                <a:moveTo>
                  <a:pt x="1217" y="508"/>
                </a:moveTo>
                <a:lnTo>
                  <a:pt x="1218" y="509"/>
                </a:lnTo>
                <a:lnTo>
                  <a:pt x="1218" y="511"/>
                </a:lnTo>
                <a:lnTo>
                  <a:pt x="1221" y="511"/>
                </a:lnTo>
                <a:lnTo>
                  <a:pt x="1219" y="508"/>
                </a:lnTo>
                <a:lnTo>
                  <a:pt x="1217" y="508"/>
                </a:lnTo>
                <a:close/>
                <a:moveTo>
                  <a:pt x="1213" y="504"/>
                </a:moveTo>
                <a:lnTo>
                  <a:pt x="1217" y="507"/>
                </a:lnTo>
                <a:lnTo>
                  <a:pt x="1215" y="504"/>
                </a:lnTo>
                <a:lnTo>
                  <a:pt x="1213" y="504"/>
                </a:lnTo>
                <a:close/>
                <a:moveTo>
                  <a:pt x="1211" y="1255"/>
                </a:moveTo>
                <a:lnTo>
                  <a:pt x="1212" y="1256"/>
                </a:lnTo>
                <a:lnTo>
                  <a:pt x="1215" y="1258"/>
                </a:lnTo>
                <a:lnTo>
                  <a:pt x="1211" y="1255"/>
                </a:lnTo>
                <a:close/>
                <a:moveTo>
                  <a:pt x="1198" y="1270"/>
                </a:moveTo>
                <a:lnTo>
                  <a:pt x="1203" y="1272"/>
                </a:lnTo>
                <a:lnTo>
                  <a:pt x="1205" y="1270"/>
                </a:lnTo>
                <a:lnTo>
                  <a:pt x="1198" y="1270"/>
                </a:lnTo>
                <a:close/>
                <a:moveTo>
                  <a:pt x="277" y="555"/>
                </a:moveTo>
                <a:lnTo>
                  <a:pt x="275" y="555"/>
                </a:lnTo>
                <a:lnTo>
                  <a:pt x="275" y="555"/>
                </a:lnTo>
                <a:lnTo>
                  <a:pt x="277" y="555"/>
                </a:lnTo>
                <a:close/>
                <a:moveTo>
                  <a:pt x="225" y="632"/>
                </a:moveTo>
                <a:lnTo>
                  <a:pt x="219" y="637"/>
                </a:lnTo>
                <a:lnTo>
                  <a:pt x="222" y="636"/>
                </a:lnTo>
                <a:lnTo>
                  <a:pt x="225" y="632"/>
                </a:lnTo>
                <a:close/>
                <a:moveTo>
                  <a:pt x="242" y="652"/>
                </a:moveTo>
                <a:lnTo>
                  <a:pt x="236" y="651"/>
                </a:lnTo>
                <a:lnTo>
                  <a:pt x="239" y="648"/>
                </a:lnTo>
                <a:lnTo>
                  <a:pt x="236" y="647"/>
                </a:lnTo>
                <a:lnTo>
                  <a:pt x="232" y="651"/>
                </a:lnTo>
                <a:lnTo>
                  <a:pt x="223" y="650"/>
                </a:lnTo>
                <a:lnTo>
                  <a:pt x="223" y="649"/>
                </a:lnTo>
                <a:lnTo>
                  <a:pt x="222" y="649"/>
                </a:lnTo>
                <a:lnTo>
                  <a:pt x="219" y="649"/>
                </a:lnTo>
                <a:lnTo>
                  <a:pt x="220" y="650"/>
                </a:lnTo>
                <a:lnTo>
                  <a:pt x="221" y="651"/>
                </a:lnTo>
                <a:lnTo>
                  <a:pt x="221" y="651"/>
                </a:lnTo>
                <a:lnTo>
                  <a:pt x="229" y="652"/>
                </a:lnTo>
                <a:lnTo>
                  <a:pt x="229" y="654"/>
                </a:lnTo>
                <a:lnTo>
                  <a:pt x="226" y="660"/>
                </a:lnTo>
                <a:lnTo>
                  <a:pt x="234" y="656"/>
                </a:lnTo>
                <a:lnTo>
                  <a:pt x="235" y="656"/>
                </a:lnTo>
                <a:lnTo>
                  <a:pt x="238" y="656"/>
                </a:lnTo>
                <a:lnTo>
                  <a:pt x="242" y="652"/>
                </a:lnTo>
                <a:close/>
                <a:moveTo>
                  <a:pt x="285" y="512"/>
                </a:moveTo>
                <a:lnTo>
                  <a:pt x="281" y="514"/>
                </a:lnTo>
                <a:lnTo>
                  <a:pt x="275" y="513"/>
                </a:lnTo>
                <a:lnTo>
                  <a:pt x="275" y="513"/>
                </a:lnTo>
                <a:lnTo>
                  <a:pt x="275" y="513"/>
                </a:lnTo>
                <a:lnTo>
                  <a:pt x="281" y="519"/>
                </a:lnTo>
                <a:lnTo>
                  <a:pt x="285" y="519"/>
                </a:lnTo>
                <a:lnTo>
                  <a:pt x="285" y="512"/>
                </a:lnTo>
                <a:close/>
                <a:moveTo>
                  <a:pt x="448" y="636"/>
                </a:moveTo>
                <a:lnTo>
                  <a:pt x="446" y="636"/>
                </a:lnTo>
                <a:lnTo>
                  <a:pt x="443" y="637"/>
                </a:lnTo>
                <a:lnTo>
                  <a:pt x="448" y="636"/>
                </a:lnTo>
                <a:close/>
                <a:moveTo>
                  <a:pt x="460" y="666"/>
                </a:moveTo>
                <a:lnTo>
                  <a:pt x="464" y="664"/>
                </a:lnTo>
                <a:lnTo>
                  <a:pt x="463" y="664"/>
                </a:lnTo>
                <a:lnTo>
                  <a:pt x="460" y="666"/>
                </a:lnTo>
                <a:close/>
                <a:moveTo>
                  <a:pt x="632" y="683"/>
                </a:moveTo>
                <a:lnTo>
                  <a:pt x="630" y="683"/>
                </a:lnTo>
                <a:lnTo>
                  <a:pt x="630" y="686"/>
                </a:lnTo>
                <a:lnTo>
                  <a:pt x="631" y="686"/>
                </a:lnTo>
                <a:lnTo>
                  <a:pt x="632" y="685"/>
                </a:lnTo>
                <a:lnTo>
                  <a:pt x="632" y="683"/>
                </a:lnTo>
                <a:close/>
                <a:moveTo>
                  <a:pt x="659" y="459"/>
                </a:moveTo>
                <a:lnTo>
                  <a:pt x="655" y="454"/>
                </a:lnTo>
                <a:lnTo>
                  <a:pt x="654" y="456"/>
                </a:lnTo>
                <a:lnTo>
                  <a:pt x="655" y="456"/>
                </a:lnTo>
                <a:lnTo>
                  <a:pt x="659" y="459"/>
                </a:lnTo>
                <a:close/>
                <a:moveTo>
                  <a:pt x="711" y="449"/>
                </a:moveTo>
                <a:lnTo>
                  <a:pt x="711" y="450"/>
                </a:lnTo>
                <a:lnTo>
                  <a:pt x="711" y="451"/>
                </a:lnTo>
                <a:lnTo>
                  <a:pt x="711" y="449"/>
                </a:lnTo>
                <a:close/>
                <a:moveTo>
                  <a:pt x="730" y="768"/>
                </a:moveTo>
                <a:lnTo>
                  <a:pt x="730" y="767"/>
                </a:lnTo>
                <a:lnTo>
                  <a:pt x="730" y="770"/>
                </a:lnTo>
                <a:lnTo>
                  <a:pt x="730" y="768"/>
                </a:lnTo>
                <a:close/>
                <a:moveTo>
                  <a:pt x="770" y="832"/>
                </a:moveTo>
                <a:lnTo>
                  <a:pt x="773" y="832"/>
                </a:lnTo>
                <a:lnTo>
                  <a:pt x="768" y="832"/>
                </a:lnTo>
                <a:lnTo>
                  <a:pt x="773" y="839"/>
                </a:lnTo>
                <a:lnTo>
                  <a:pt x="770" y="832"/>
                </a:lnTo>
                <a:close/>
                <a:moveTo>
                  <a:pt x="764" y="867"/>
                </a:moveTo>
                <a:lnTo>
                  <a:pt x="756" y="866"/>
                </a:lnTo>
                <a:lnTo>
                  <a:pt x="760" y="867"/>
                </a:lnTo>
                <a:lnTo>
                  <a:pt x="757" y="869"/>
                </a:lnTo>
                <a:lnTo>
                  <a:pt x="760" y="869"/>
                </a:lnTo>
                <a:lnTo>
                  <a:pt x="764" y="867"/>
                </a:lnTo>
                <a:close/>
                <a:moveTo>
                  <a:pt x="773" y="881"/>
                </a:moveTo>
                <a:lnTo>
                  <a:pt x="771" y="881"/>
                </a:lnTo>
                <a:lnTo>
                  <a:pt x="768" y="882"/>
                </a:lnTo>
                <a:lnTo>
                  <a:pt x="773" y="881"/>
                </a:lnTo>
                <a:close/>
                <a:moveTo>
                  <a:pt x="790" y="861"/>
                </a:moveTo>
                <a:lnTo>
                  <a:pt x="789" y="858"/>
                </a:lnTo>
                <a:lnTo>
                  <a:pt x="789" y="860"/>
                </a:lnTo>
                <a:lnTo>
                  <a:pt x="787" y="863"/>
                </a:lnTo>
                <a:lnTo>
                  <a:pt x="783" y="865"/>
                </a:lnTo>
                <a:lnTo>
                  <a:pt x="789" y="863"/>
                </a:lnTo>
                <a:lnTo>
                  <a:pt x="790" y="861"/>
                </a:lnTo>
                <a:close/>
                <a:moveTo>
                  <a:pt x="800" y="861"/>
                </a:moveTo>
                <a:lnTo>
                  <a:pt x="798" y="863"/>
                </a:lnTo>
                <a:lnTo>
                  <a:pt x="800" y="866"/>
                </a:lnTo>
                <a:lnTo>
                  <a:pt x="799" y="868"/>
                </a:lnTo>
                <a:lnTo>
                  <a:pt x="800" y="867"/>
                </a:lnTo>
                <a:lnTo>
                  <a:pt x="800" y="866"/>
                </a:lnTo>
                <a:lnTo>
                  <a:pt x="800" y="861"/>
                </a:lnTo>
                <a:close/>
                <a:moveTo>
                  <a:pt x="800" y="437"/>
                </a:moveTo>
                <a:lnTo>
                  <a:pt x="797" y="436"/>
                </a:lnTo>
                <a:lnTo>
                  <a:pt x="798" y="439"/>
                </a:lnTo>
                <a:lnTo>
                  <a:pt x="800" y="437"/>
                </a:lnTo>
                <a:close/>
                <a:moveTo>
                  <a:pt x="801" y="873"/>
                </a:moveTo>
                <a:lnTo>
                  <a:pt x="800" y="873"/>
                </a:lnTo>
                <a:lnTo>
                  <a:pt x="800" y="873"/>
                </a:lnTo>
                <a:lnTo>
                  <a:pt x="801" y="873"/>
                </a:lnTo>
                <a:close/>
                <a:moveTo>
                  <a:pt x="989" y="1284"/>
                </a:moveTo>
                <a:lnTo>
                  <a:pt x="989" y="1285"/>
                </a:lnTo>
                <a:lnTo>
                  <a:pt x="990" y="1288"/>
                </a:lnTo>
                <a:lnTo>
                  <a:pt x="991" y="1287"/>
                </a:lnTo>
                <a:lnTo>
                  <a:pt x="989" y="1284"/>
                </a:lnTo>
                <a:close/>
                <a:moveTo>
                  <a:pt x="1078" y="465"/>
                </a:moveTo>
                <a:lnTo>
                  <a:pt x="1064" y="468"/>
                </a:lnTo>
                <a:lnTo>
                  <a:pt x="1064" y="469"/>
                </a:lnTo>
                <a:lnTo>
                  <a:pt x="1067" y="470"/>
                </a:lnTo>
                <a:lnTo>
                  <a:pt x="1065" y="473"/>
                </a:lnTo>
                <a:lnTo>
                  <a:pt x="1076" y="469"/>
                </a:lnTo>
                <a:lnTo>
                  <a:pt x="1076" y="466"/>
                </a:lnTo>
                <a:lnTo>
                  <a:pt x="1078" y="465"/>
                </a:lnTo>
                <a:close/>
                <a:moveTo>
                  <a:pt x="998" y="1299"/>
                </a:moveTo>
                <a:lnTo>
                  <a:pt x="1001" y="1294"/>
                </a:lnTo>
                <a:lnTo>
                  <a:pt x="998" y="1296"/>
                </a:lnTo>
                <a:lnTo>
                  <a:pt x="998" y="1299"/>
                </a:lnTo>
                <a:close/>
                <a:moveTo>
                  <a:pt x="1006" y="1313"/>
                </a:moveTo>
                <a:lnTo>
                  <a:pt x="1008" y="1313"/>
                </a:lnTo>
                <a:lnTo>
                  <a:pt x="1008" y="1310"/>
                </a:lnTo>
                <a:lnTo>
                  <a:pt x="1006" y="1310"/>
                </a:lnTo>
                <a:lnTo>
                  <a:pt x="1006" y="1313"/>
                </a:lnTo>
                <a:close/>
                <a:moveTo>
                  <a:pt x="964" y="1240"/>
                </a:moveTo>
                <a:lnTo>
                  <a:pt x="964" y="1241"/>
                </a:lnTo>
                <a:lnTo>
                  <a:pt x="969" y="1248"/>
                </a:lnTo>
                <a:lnTo>
                  <a:pt x="969" y="1245"/>
                </a:lnTo>
                <a:lnTo>
                  <a:pt x="966" y="1242"/>
                </a:lnTo>
                <a:lnTo>
                  <a:pt x="966" y="1241"/>
                </a:lnTo>
                <a:lnTo>
                  <a:pt x="964" y="1240"/>
                </a:lnTo>
                <a:close/>
                <a:moveTo>
                  <a:pt x="826" y="904"/>
                </a:moveTo>
                <a:lnTo>
                  <a:pt x="826" y="908"/>
                </a:lnTo>
                <a:lnTo>
                  <a:pt x="829" y="908"/>
                </a:lnTo>
                <a:lnTo>
                  <a:pt x="828" y="904"/>
                </a:lnTo>
                <a:lnTo>
                  <a:pt x="826" y="904"/>
                </a:lnTo>
                <a:close/>
                <a:moveTo>
                  <a:pt x="409" y="658"/>
                </a:moveTo>
                <a:lnTo>
                  <a:pt x="408" y="660"/>
                </a:lnTo>
                <a:lnTo>
                  <a:pt x="409" y="659"/>
                </a:lnTo>
                <a:lnTo>
                  <a:pt x="409" y="658"/>
                </a:lnTo>
                <a:close/>
                <a:moveTo>
                  <a:pt x="698" y="751"/>
                </a:moveTo>
                <a:lnTo>
                  <a:pt x="698" y="751"/>
                </a:lnTo>
                <a:lnTo>
                  <a:pt x="698" y="751"/>
                </a:lnTo>
                <a:lnTo>
                  <a:pt x="695" y="747"/>
                </a:lnTo>
                <a:lnTo>
                  <a:pt x="695" y="749"/>
                </a:lnTo>
                <a:lnTo>
                  <a:pt x="697" y="752"/>
                </a:lnTo>
                <a:lnTo>
                  <a:pt x="698" y="751"/>
                </a:lnTo>
                <a:close/>
                <a:moveTo>
                  <a:pt x="386" y="684"/>
                </a:moveTo>
                <a:lnTo>
                  <a:pt x="389" y="684"/>
                </a:lnTo>
                <a:lnTo>
                  <a:pt x="387" y="682"/>
                </a:lnTo>
                <a:lnTo>
                  <a:pt x="386" y="684"/>
                </a:lnTo>
                <a:close/>
                <a:moveTo>
                  <a:pt x="463" y="652"/>
                </a:moveTo>
                <a:lnTo>
                  <a:pt x="462" y="652"/>
                </a:lnTo>
                <a:lnTo>
                  <a:pt x="463" y="654"/>
                </a:lnTo>
                <a:lnTo>
                  <a:pt x="463" y="652"/>
                </a:lnTo>
                <a:close/>
                <a:moveTo>
                  <a:pt x="1039" y="492"/>
                </a:moveTo>
                <a:lnTo>
                  <a:pt x="1038" y="492"/>
                </a:lnTo>
                <a:lnTo>
                  <a:pt x="1039" y="493"/>
                </a:lnTo>
                <a:lnTo>
                  <a:pt x="1039" y="492"/>
                </a:lnTo>
                <a:close/>
                <a:moveTo>
                  <a:pt x="255" y="585"/>
                </a:moveTo>
                <a:lnTo>
                  <a:pt x="252" y="585"/>
                </a:lnTo>
                <a:lnTo>
                  <a:pt x="258" y="585"/>
                </a:lnTo>
                <a:lnTo>
                  <a:pt x="255" y="585"/>
                </a:lnTo>
                <a:close/>
                <a:moveTo>
                  <a:pt x="759" y="861"/>
                </a:moveTo>
                <a:lnTo>
                  <a:pt x="757" y="861"/>
                </a:lnTo>
                <a:lnTo>
                  <a:pt x="759" y="862"/>
                </a:lnTo>
                <a:lnTo>
                  <a:pt x="759" y="861"/>
                </a:lnTo>
                <a:lnTo>
                  <a:pt x="761" y="861"/>
                </a:lnTo>
                <a:lnTo>
                  <a:pt x="759" y="860"/>
                </a:lnTo>
                <a:lnTo>
                  <a:pt x="759" y="861"/>
                </a:lnTo>
                <a:close/>
                <a:moveTo>
                  <a:pt x="836" y="929"/>
                </a:moveTo>
                <a:lnTo>
                  <a:pt x="836" y="927"/>
                </a:lnTo>
                <a:lnTo>
                  <a:pt x="836" y="926"/>
                </a:lnTo>
                <a:lnTo>
                  <a:pt x="836" y="929"/>
                </a:lnTo>
                <a:close/>
                <a:moveTo>
                  <a:pt x="1042" y="493"/>
                </a:moveTo>
                <a:lnTo>
                  <a:pt x="1043" y="493"/>
                </a:lnTo>
                <a:lnTo>
                  <a:pt x="1042" y="492"/>
                </a:lnTo>
                <a:lnTo>
                  <a:pt x="1042" y="493"/>
                </a:lnTo>
                <a:close/>
                <a:moveTo>
                  <a:pt x="831" y="903"/>
                </a:moveTo>
                <a:lnTo>
                  <a:pt x="829" y="904"/>
                </a:lnTo>
                <a:lnTo>
                  <a:pt x="833" y="904"/>
                </a:lnTo>
                <a:lnTo>
                  <a:pt x="831" y="903"/>
                </a:lnTo>
                <a:close/>
                <a:moveTo>
                  <a:pt x="770" y="867"/>
                </a:moveTo>
                <a:lnTo>
                  <a:pt x="771" y="866"/>
                </a:lnTo>
                <a:lnTo>
                  <a:pt x="767" y="866"/>
                </a:lnTo>
                <a:lnTo>
                  <a:pt x="770" y="867"/>
                </a:lnTo>
                <a:close/>
                <a:moveTo>
                  <a:pt x="761" y="861"/>
                </a:moveTo>
                <a:lnTo>
                  <a:pt x="768" y="865"/>
                </a:lnTo>
                <a:lnTo>
                  <a:pt x="770" y="865"/>
                </a:lnTo>
                <a:lnTo>
                  <a:pt x="767" y="862"/>
                </a:lnTo>
                <a:lnTo>
                  <a:pt x="771" y="862"/>
                </a:lnTo>
                <a:lnTo>
                  <a:pt x="770" y="861"/>
                </a:lnTo>
                <a:lnTo>
                  <a:pt x="767" y="861"/>
                </a:lnTo>
                <a:lnTo>
                  <a:pt x="761" y="861"/>
                </a:lnTo>
                <a:close/>
                <a:moveTo>
                  <a:pt x="773" y="863"/>
                </a:moveTo>
                <a:lnTo>
                  <a:pt x="771" y="863"/>
                </a:lnTo>
                <a:lnTo>
                  <a:pt x="771" y="863"/>
                </a:lnTo>
                <a:lnTo>
                  <a:pt x="773" y="863"/>
                </a:lnTo>
                <a:close/>
                <a:moveTo>
                  <a:pt x="1903" y="1720"/>
                </a:moveTo>
                <a:lnTo>
                  <a:pt x="1903" y="1718"/>
                </a:lnTo>
                <a:lnTo>
                  <a:pt x="1901" y="1719"/>
                </a:lnTo>
                <a:lnTo>
                  <a:pt x="1900" y="1719"/>
                </a:lnTo>
                <a:lnTo>
                  <a:pt x="1903" y="1720"/>
                </a:lnTo>
                <a:close/>
                <a:moveTo>
                  <a:pt x="1538" y="2421"/>
                </a:moveTo>
                <a:lnTo>
                  <a:pt x="1541" y="2423"/>
                </a:lnTo>
                <a:lnTo>
                  <a:pt x="1541" y="2421"/>
                </a:lnTo>
                <a:lnTo>
                  <a:pt x="1540" y="2420"/>
                </a:lnTo>
                <a:lnTo>
                  <a:pt x="1541" y="2420"/>
                </a:lnTo>
                <a:lnTo>
                  <a:pt x="1538" y="2420"/>
                </a:lnTo>
                <a:lnTo>
                  <a:pt x="1537" y="2423"/>
                </a:lnTo>
                <a:lnTo>
                  <a:pt x="1538" y="2421"/>
                </a:lnTo>
                <a:close/>
                <a:moveTo>
                  <a:pt x="1542" y="2418"/>
                </a:moveTo>
                <a:lnTo>
                  <a:pt x="1542" y="2418"/>
                </a:lnTo>
                <a:lnTo>
                  <a:pt x="1542" y="2418"/>
                </a:lnTo>
                <a:lnTo>
                  <a:pt x="1542" y="2418"/>
                </a:lnTo>
                <a:close/>
                <a:moveTo>
                  <a:pt x="1543" y="2417"/>
                </a:moveTo>
                <a:lnTo>
                  <a:pt x="1542" y="2418"/>
                </a:lnTo>
                <a:lnTo>
                  <a:pt x="1543" y="2418"/>
                </a:lnTo>
                <a:lnTo>
                  <a:pt x="1543" y="2417"/>
                </a:lnTo>
                <a:close/>
                <a:moveTo>
                  <a:pt x="1541" y="2431"/>
                </a:moveTo>
                <a:lnTo>
                  <a:pt x="1542" y="2431"/>
                </a:lnTo>
                <a:lnTo>
                  <a:pt x="1542" y="2431"/>
                </a:lnTo>
                <a:lnTo>
                  <a:pt x="1541" y="2430"/>
                </a:lnTo>
                <a:lnTo>
                  <a:pt x="1543" y="2429"/>
                </a:lnTo>
                <a:lnTo>
                  <a:pt x="1543" y="2428"/>
                </a:lnTo>
                <a:lnTo>
                  <a:pt x="1539" y="2429"/>
                </a:lnTo>
                <a:lnTo>
                  <a:pt x="1539" y="2431"/>
                </a:lnTo>
                <a:lnTo>
                  <a:pt x="1541" y="2430"/>
                </a:lnTo>
                <a:lnTo>
                  <a:pt x="1541" y="2431"/>
                </a:lnTo>
                <a:close/>
                <a:moveTo>
                  <a:pt x="1533" y="2420"/>
                </a:moveTo>
                <a:lnTo>
                  <a:pt x="1533" y="2418"/>
                </a:lnTo>
                <a:lnTo>
                  <a:pt x="1530" y="2418"/>
                </a:lnTo>
                <a:lnTo>
                  <a:pt x="1533" y="2420"/>
                </a:lnTo>
                <a:close/>
                <a:moveTo>
                  <a:pt x="1538" y="2429"/>
                </a:moveTo>
                <a:lnTo>
                  <a:pt x="1539" y="2428"/>
                </a:lnTo>
                <a:lnTo>
                  <a:pt x="1538" y="2425"/>
                </a:lnTo>
                <a:lnTo>
                  <a:pt x="1537" y="2428"/>
                </a:lnTo>
                <a:lnTo>
                  <a:pt x="1538" y="2429"/>
                </a:lnTo>
                <a:close/>
                <a:moveTo>
                  <a:pt x="1539" y="2424"/>
                </a:moveTo>
                <a:lnTo>
                  <a:pt x="1538" y="2423"/>
                </a:lnTo>
                <a:lnTo>
                  <a:pt x="1537" y="2423"/>
                </a:lnTo>
                <a:lnTo>
                  <a:pt x="1538" y="2425"/>
                </a:lnTo>
                <a:lnTo>
                  <a:pt x="1539" y="2424"/>
                </a:lnTo>
                <a:close/>
                <a:moveTo>
                  <a:pt x="1519" y="2485"/>
                </a:moveTo>
                <a:lnTo>
                  <a:pt x="1514" y="2485"/>
                </a:lnTo>
                <a:lnTo>
                  <a:pt x="1517" y="2488"/>
                </a:lnTo>
                <a:lnTo>
                  <a:pt x="1519" y="2486"/>
                </a:lnTo>
                <a:lnTo>
                  <a:pt x="1514" y="2492"/>
                </a:lnTo>
                <a:lnTo>
                  <a:pt x="1516" y="2493"/>
                </a:lnTo>
                <a:lnTo>
                  <a:pt x="1520" y="2489"/>
                </a:lnTo>
                <a:lnTo>
                  <a:pt x="1520" y="2489"/>
                </a:lnTo>
                <a:lnTo>
                  <a:pt x="1520" y="2488"/>
                </a:lnTo>
                <a:lnTo>
                  <a:pt x="1519" y="2485"/>
                </a:lnTo>
                <a:close/>
                <a:moveTo>
                  <a:pt x="1539" y="2517"/>
                </a:moveTo>
                <a:lnTo>
                  <a:pt x="1538" y="2516"/>
                </a:lnTo>
                <a:lnTo>
                  <a:pt x="1538" y="2517"/>
                </a:lnTo>
                <a:lnTo>
                  <a:pt x="1539" y="2517"/>
                </a:lnTo>
                <a:close/>
                <a:moveTo>
                  <a:pt x="1538" y="2523"/>
                </a:moveTo>
                <a:lnTo>
                  <a:pt x="1538" y="2523"/>
                </a:lnTo>
                <a:lnTo>
                  <a:pt x="1538" y="2517"/>
                </a:lnTo>
                <a:lnTo>
                  <a:pt x="1538" y="2517"/>
                </a:lnTo>
                <a:lnTo>
                  <a:pt x="1535" y="2516"/>
                </a:lnTo>
                <a:lnTo>
                  <a:pt x="1538" y="2523"/>
                </a:lnTo>
                <a:close/>
                <a:moveTo>
                  <a:pt x="1911" y="1708"/>
                </a:moveTo>
                <a:lnTo>
                  <a:pt x="1910" y="1711"/>
                </a:lnTo>
                <a:lnTo>
                  <a:pt x="1911" y="1712"/>
                </a:lnTo>
                <a:lnTo>
                  <a:pt x="1911" y="1712"/>
                </a:lnTo>
                <a:lnTo>
                  <a:pt x="1911" y="1708"/>
                </a:lnTo>
                <a:lnTo>
                  <a:pt x="1911" y="1708"/>
                </a:lnTo>
                <a:close/>
                <a:moveTo>
                  <a:pt x="1531" y="2475"/>
                </a:moveTo>
                <a:lnTo>
                  <a:pt x="1535" y="2477"/>
                </a:lnTo>
                <a:lnTo>
                  <a:pt x="1533" y="2474"/>
                </a:lnTo>
                <a:lnTo>
                  <a:pt x="1531" y="2475"/>
                </a:lnTo>
                <a:close/>
                <a:moveTo>
                  <a:pt x="1531" y="2416"/>
                </a:moveTo>
                <a:lnTo>
                  <a:pt x="1533" y="2418"/>
                </a:lnTo>
                <a:lnTo>
                  <a:pt x="1535" y="2416"/>
                </a:lnTo>
                <a:lnTo>
                  <a:pt x="1533" y="2414"/>
                </a:lnTo>
                <a:lnTo>
                  <a:pt x="1531" y="2416"/>
                </a:lnTo>
                <a:close/>
                <a:moveTo>
                  <a:pt x="1531" y="2466"/>
                </a:moveTo>
                <a:lnTo>
                  <a:pt x="1533" y="2470"/>
                </a:lnTo>
                <a:lnTo>
                  <a:pt x="1539" y="2467"/>
                </a:lnTo>
                <a:lnTo>
                  <a:pt x="1541" y="2467"/>
                </a:lnTo>
                <a:lnTo>
                  <a:pt x="1536" y="2466"/>
                </a:lnTo>
                <a:lnTo>
                  <a:pt x="1535" y="2466"/>
                </a:lnTo>
                <a:lnTo>
                  <a:pt x="1531" y="2466"/>
                </a:lnTo>
                <a:close/>
                <a:moveTo>
                  <a:pt x="1520" y="2486"/>
                </a:moveTo>
                <a:lnTo>
                  <a:pt x="1524" y="2486"/>
                </a:lnTo>
                <a:lnTo>
                  <a:pt x="1523" y="2485"/>
                </a:lnTo>
                <a:lnTo>
                  <a:pt x="1519" y="2482"/>
                </a:lnTo>
                <a:lnTo>
                  <a:pt x="1520" y="2486"/>
                </a:lnTo>
                <a:close/>
                <a:moveTo>
                  <a:pt x="1527" y="2520"/>
                </a:moveTo>
                <a:lnTo>
                  <a:pt x="1530" y="2524"/>
                </a:lnTo>
                <a:lnTo>
                  <a:pt x="1527" y="2524"/>
                </a:lnTo>
                <a:lnTo>
                  <a:pt x="1526" y="2520"/>
                </a:lnTo>
                <a:lnTo>
                  <a:pt x="1526" y="2520"/>
                </a:lnTo>
                <a:lnTo>
                  <a:pt x="1526" y="2524"/>
                </a:lnTo>
                <a:lnTo>
                  <a:pt x="1526" y="2527"/>
                </a:lnTo>
                <a:lnTo>
                  <a:pt x="1527" y="2528"/>
                </a:lnTo>
                <a:lnTo>
                  <a:pt x="1531" y="2526"/>
                </a:lnTo>
                <a:lnTo>
                  <a:pt x="1533" y="2527"/>
                </a:lnTo>
                <a:lnTo>
                  <a:pt x="1533" y="2524"/>
                </a:lnTo>
                <a:lnTo>
                  <a:pt x="1533" y="2522"/>
                </a:lnTo>
                <a:lnTo>
                  <a:pt x="1527" y="2520"/>
                </a:lnTo>
                <a:close/>
                <a:moveTo>
                  <a:pt x="1878" y="1695"/>
                </a:moveTo>
                <a:lnTo>
                  <a:pt x="1878" y="1695"/>
                </a:lnTo>
                <a:lnTo>
                  <a:pt x="1874" y="1695"/>
                </a:lnTo>
                <a:lnTo>
                  <a:pt x="1873" y="1697"/>
                </a:lnTo>
                <a:lnTo>
                  <a:pt x="1875" y="1697"/>
                </a:lnTo>
                <a:lnTo>
                  <a:pt x="1877" y="1697"/>
                </a:lnTo>
                <a:lnTo>
                  <a:pt x="1878" y="1695"/>
                </a:lnTo>
                <a:close/>
                <a:moveTo>
                  <a:pt x="3853" y="292"/>
                </a:moveTo>
                <a:lnTo>
                  <a:pt x="3849" y="292"/>
                </a:lnTo>
                <a:lnTo>
                  <a:pt x="3856" y="292"/>
                </a:lnTo>
                <a:lnTo>
                  <a:pt x="3853" y="292"/>
                </a:lnTo>
                <a:close/>
                <a:moveTo>
                  <a:pt x="1812" y="1608"/>
                </a:moveTo>
                <a:lnTo>
                  <a:pt x="1813" y="1608"/>
                </a:lnTo>
                <a:lnTo>
                  <a:pt x="1813" y="1608"/>
                </a:lnTo>
                <a:lnTo>
                  <a:pt x="1814" y="1607"/>
                </a:lnTo>
                <a:lnTo>
                  <a:pt x="1812" y="1608"/>
                </a:lnTo>
                <a:close/>
                <a:moveTo>
                  <a:pt x="1570" y="2596"/>
                </a:moveTo>
                <a:lnTo>
                  <a:pt x="1572" y="2600"/>
                </a:lnTo>
                <a:lnTo>
                  <a:pt x="1571" y="2596"/>
                </a:lnTo>
                <a:lnTo>
                  <a:pt x="1570" y="2596"/>
                </a:lnTo>
                <a:close/>
                <a:moveTo>
                  <a:pt x="1875" y="1697"/>
                </a:moveTo>
                <a:lnTo>
                  <a:pt x="1875" y="1699"/>
                </a:lnTo>
                <a:lnTo>
                  <a:pt x="1876" y="1698"/>
                </a:lnTo>
                <a:lnTo>
                  <a:pt x="1875" y="1697"/>
                </a:lnTo>
                <a:close/>
                <a:moveTo>
                  <a:pt x="755" y="833"/>
                </a:moveTo>
                <a:lnTo>
                  <a:pt x="752" y="834"/>
                </a:lnTo>
                <a:lnTo>
                  <a:pt x="756" y="836"/>
                </a:lnTo>
                <a:lnTo>
                  <a:pt x="756" y="834"/>
                </a:lnTo>
                <a:lnTo>
                  <a:pt x="756" y="834"/>
                </a:lnTo>
                <a:lnTo>
                  <a:pt x="755" y="833"/>
                </a:lnTo>
                <a:close/>
                <a:moveTo>
                  <a:pt x="1878" y="1697"/>
                </a:moveTo>
                <a:lnTo>
                  <a:pt x="1876" y="1698"/>
                </a:lnTo>
                <a:lnTo>
                  <a:pt x="1877" y="1698"/>
                </a:lnTo>
                <a:lnTo>
                  <a:pt x="1878" y="1697"/>
                </a:lnTo>
                <a:close/>
                <a:moveTo>
                  <a:pt x="1725" y="1563"/>
                </a:moveTo>
                <a:lnTo>
                  <a:pt x="1725" y="1565"/>
                </a:lnTo>
                <a:lnTo>
                  <a:pt x="1728" y="1564"/>
                </a:lnTo>
                <a:lnTo>
                  <a:pt x="1726" y="1565"/>
                </a:lnTo>
                <a:lnTo>
                  <a:pt x="1727" y="1564"/>
                </a:lnTo>
                <a:lnTo>
                  <a:pt x="1728" y="1563"/>
                </a:lnTo>
                <a:lnTo>
                  <a:pt x="1726" y="1563"/>
                </a:lnTo>
                <a:lnTo>
                  <a:pt x="1725" y="1563"/>
                </a:lnTo>
                <a:close/>
                <a:moveTo>
                  <a:pt x="1488" y="1629"/>
                </a:moveTo>
                <a:lnTo>
                  <a:pt x="1491" y="1629"/>
                </a:lnTo>
                <a:lnTo>
                  <a:pt x="1490" y="1627"/>
                </a:lnTo>
                <a:lnTo>
                  <a:pt x="1490" y="1626"/>
                </a:lnTo>
                <a:lnTo>
                  <a:pt x="1488" y="1629"/>
                </a:lnTo>
                <a:close/>
                <a:moveTo>
                  <a:pt x="1414" y="1550"/>
                </a:moveTo>
                <a:lnTo>
                  <a:pt x="1414" y="1550"/>
                </a:lnTo>
                <a:lnTo>
                  <a:pt x="1414" y="1551"/>
                </a:lnTo>
                <a:lnTo>
                  <a:pt x="1414" y="1550"/>
                </a:lnTo>
                <a:close/>
                <a:moveTo>
                  <a:pt x="1448" y="1736"/>
                </a:moveTo>
                <a:lnTo>
                  <a:pt x="1450" y="1736"/>
                </a:lnTo>
                <a:lnTo>
                  <a:pt x="1454" y="1732"/>
                </a:lnTo>
                <a:lnTo>
                  <a:pt x="1453" y="1732"/>
                </a:lnTo>
                <a:lnTo>
                  <a:pt x="1451" y="1732"/>
                </a:lnTo>
                <a:lnTo>
                  <a:pt x="1453" y="1728"/>
                </a:lnTo>
                <a:lnTo>
                  <a:pt x="1450" y="1730"/>
                </a:lnTo>
                <a:lnTo>
                  <a:pt x="1450" y="1732"/>
                </a:lnTo>
                <a:lnTo>
                  <a:pt x="1448" y="1736"/>
                </a:lnTo>
                <a:close/>
                <a:moveTo>
                  <a:pt x="1546" y="2394"/>
                </a:moveTo>
                <a:lnTo>
                  <a:pt x="1546" y="2395"/>
                </a:lnTo>
                <a:lnTo>
                  <a:pt x="1549" y="2395"/>
                </a:lnTo>
                <a:lnTo>
                  <a:pt x="1549" y="2395"/>
                </a:lnTo>
                <a:lnTo>
                  <a:pt x="1546" y="2394"/>
                </a:lnTo>
                <a:close/>
                <a:moveTo>
                  <a:pt x="1578" y="1515"/>
                </a:moveTo>
                <a:lnTo>
                  <a:pt x="1569" y="1519"/>
                </a:lnTo>
                <a:lnTo>
                  <a:pt x="1568" y="1520"/>
                </a:lnTo>
                <a:lnTo>
                  <a:pt x="1576" y="1517"/>
                </a:lnTo>
                <a:lnTo>
                  <a:pt x="1578" y="1515"/>
                </a:lnTo>
                <a:close/>
                <a:moveTo>
                  <a:pt x="1414" y="1551"/>
                </a:moveTo>
                <a:lnTo>
                  <a:pt x="1414" y="1551"/>
                </a:lnTo>
                <a:lnTo>
                  <a:pt x="1414" y="1551"/>
                </a:lnTo>
                <a:lnTo>
                  <a:pt x="1414" y="1551"/>
                </a:lnTo>
                <a:close/>
                <a:moveTo>
                  <a:pt x="1568" y="1520"/>
                </a:moveTo>
                <a:lnTo>
                  <a:pt x="1568" y="1521"/>
                </a:lnTo>
                <a:lnTo>
                  <a:pt x="1568" y="1520"/>
                </a:lnTo>
                <a:lnTo>
                  <a:pt x="1568" y="1520"/>
                </a:lnTo>
                <a:close/>
                <a:moveTo>
                  <a:pt x="1526" y="2528"/>
                </a:moveTo>
                <a:lnTo>
                  <a:pt x="1526" y="2527"/>
                </a:lnTo>
                <a:lnTo>
                  <a:pt x="1524" y="2528"/>
                </a:lnTo>
                <a:lnTo>
                  <a:pt x="1526" y="2528"/>
                </a:lnTo>
                <a:close/>
                <a:moveTo>
                  <a:pt x="1751" y="2536"/>
                </a:moveTo>
                <a:lnTo>
                  <a:pt x="1752" y="2535"/>
                </a:lnTo>
                <a:lnTo>
                  <a:pt x="1747" y="2533"/>
                </a:lnTo>
                <a:lnTo>
                  <a:pt x="1747" y="2535"/>
                </a:lnTo>
                <a:lnTo>
                  <a:pt x="1747" y="2536"/>
                </a:lnTo>
                <a:lnTo>
                  <a:pt x="1739" y="2535"/>
                </a:lnTo>
                <a:lnTo>
                  <a:pt x="1739" y="2539"/>
                </a:lnTo>
                <a:lnTo>
                  <a:pt x="1738" y="2539"/>
                </a:lnTo>
                <a:lnTo>
                  <a:pt x="1731" y="2536"/>
                </a:lnTo>
                <a:lnTo>
                  <a:pt x="1737" y="2540"/>
                </a:lnTo>
                <a:lnTo>
                  <a:pt x="1727" y="2540"/>
                </a:lnTo>
                <a:lnTo>
                  <a:pt x="1727" y="2542"/>
                </a:lnTo>
                <a:lnTo>
                  <a:pt x="1737" y="2543"/>
                </a:lnTo>
                <a:lnTo>
                  <a:pt x="1738" y="2543"/>
                </a:lnTo>
                <a:lnTo>
                  <a:pt x="1731" y="2544"/>
                </a:lnTo>
                <a:lnTo>
                  <a:pt x="1731" y="2547"/>
                </a:lnTo>
                <a:lnTo>
                  <a:pt x="1730" y="2547"/>
                </a:lnTo>
                <a:lnTo>
                  <a:pt x="1726" y="2548"/>
                </a:lnTo>
                <a:lnTo>
                  <a:pt x="1731" y="2550"/>
                </a:lnTo>
                <a:lnTo>
                  <a:pt x="1737" y="2549"/>
                </a:lnTo>
                <a:lnTo>
                  <a:pt x="1738" y="2547"/>
                </a:lnTo>
                <a:lnTo>
                  <a:pt x="1741" y="2547"/>
                </a:lnTo>
                <a:lnTo>
                  <a:pt x="1751" y="2537"/>
                </a:lnTo>
                <a:lnTo>
                  <a:pt x="1751" y="2536"/>
                </a:lnTo>
                <a:lnTo>
                  <a:pt x="1751" y="2536"/>
                </a:lnTo>
                <a:close/>
                <a:moveTo>
                  <a:pt x="1671" y="2608"/>
                </a:moveTo>
                <a:lnTo>
                  <a:pt x="1674" y="2609"/>
                </a:lnTo>
                <a:lnTo>
                  <a:pt x="1677" y="2608"/>
                </a:lnTo>
                <a:lnTo>
                  <a:pt x="1685" y="2608"/>
                </a:lnTo>
                <a:lnTo>
                  <a:pt x="1686" y="2606"/>
                </a:lnTo>
                <a:lnTo>
                  <a:pt x="1674" y="2608"/>
                </a:lnTo>
                <a:lnTo>
                  <a:pt x="1671" y="2608"/>
                </a:lnTo>
                <a:close/>
                <a:moveTo>
                  <a:pt x="1593" y="2592"/>
                </a:moveTo>
                <a:lnTo>
                  <a:pt x="1594" y="2592"/>
                </a:lnTo>
                <a:lnTo>
                  <a:pt x="1589" y="2590"/>
                </a:lnTo>
                <a:lnTo>
                  <a:pt x="1593" y="2592"/>
                </a:lnTo>
                <a:close/>
                <a:moveTo>
                  <a:pt x="1648" y="2600"/>
                </a:moveTo>
                <a:lnTo>
                  <a:pt x="1626" y="2587"/>
                </a:lnTo>
                <a:lnTo>
                  <a:pt x="1626" y="2586"/>
                </a:lnTo>
                <a:lnTo>
                  <a:pt x="1622" y="2580"/>
                </a:lnTo>
                <a:lnTo>
                  <a:pt x="1619" y="2575"/>
                </a:lnTo>
                <a:lnTo>
                  <a:pt x="1614" y="2572"/>
                </a:lnTo>
                <a:lnTo>
                  <a:pt x="1614" y="2570"/>
                </a:lnTo>
                <a:lnTo>
                  <a:pt x="1616" y="2569"/>
                </a:lnTo>
                <a:lnTo>
                  <a:pt x="1621" y="2571"/>
                </a:lnTo>
                <a:lnTo>
                  <a:pt x="1617" y="2567"/>
                </a:lnTo>
                <a:lnTo>
                  <a:pt x="1614" y="2563"/>
                </a:lnTo>
                <a:lnTo>
                  <a:pt x="1614" y="2560"/>
                </a:lnTo>
                <a:lnTo>
                  <a:pt x="1612" y="2557"/>
                </a:lnTo>
                <a:lnTo>
                  <a:pt x="1608" y="2561"/>
                </a:lnTo>
                <a:lnTo>
                  <a:pt x="1605" y="2555"/>
                </a:lnTo>
                <a:lnTo>
                  <a:pt x="1602" y="2557"/>
                </a:lnTo>
                <a:lnTo>
                  <a:pt x="1601" y="2564"/>
                </a:lnTo>
                <a:lnTo>
                  <a:pt x="1597" y="2564"/>
                </a:lnTo>
                <a:lnTo>
                  <a:pt x="1594" y="2562"/>
                </a:lnTo>
                <a:lnTo>
                  <a:pt x="1590" y="2563"/>
                </a:lnTo>
                <a:lnTo>
                  <a:pt x="1595" y="2564"/>
                </a:lnTo>
                <a:lnTo>
                  <a:pt x="1594" y="2568"/>
                </a:lnTo>
                <a:lnTo>
                  <a:pt x="1593" y="2568"/>
                </a:lnTo>
                <a:lnTo>
                  <a:pt x="1590" y="2566"/>
                </a:lnTo>
                <a:lnTo>
                  <a:pt x="1590" y="2567"/>
                </a:lnTo>
                <a:lnTo>
                  <a:pt x="1590" y="2574"/>
                </a:lnTo>
                <a:lnTo>
                  <a:pt x="1594" y="2576"/>
                </a:lnTo>
                <a:lnTo>
                  <a:pt x="1598" y="2576"/>
                </a:lnTo>
                <a:lnTo>
                  <a:pt x="1605" y="2576"/>
                </a:lnTo>
                <a:lnTo>
                  <a:pt x="1606" y="2579"/>
                </a:lnTo>
                <a:lnTo>
                  <a:pt x="1597" y="2581"/>
                </a:lnTo>
                <a:lnTo>
                  <a:pt x="1594" y="2585"/>
                </a:lnTo>
                <a:lnTo>
                  <a:pt x="1595" y="2589"/>
                </a:lnTo>
                <a:lnTo>
                  <a:pt x="1611" y="2596"/>
                </a:lnTo>
                <a:lnTo>
                  <a:pt x="1606" y="2597"/>
                </a:lnTo>
                <a:lnTo>
                  <a:pt x="1606" y="2597"/>
                </a:lnTo>
                <a:lnTo>
                  <a:pt x="1598" y="2594"/>
                </a:lnTo>
                <a:lnTo>
                  <a:pt x="1601" y="2598"/>
                </a:lnTo>
                <a:lnTo>
                  <a:pt x="1595" y="2592"/>
                </a:lnTo>
                <a:lnTo>
                  <a:pt x="1594" y="2594"/>
                </a:lnTo>
                <a:lnTo>
                  <a:pt x="1595" y="2596"/>
                </a:lnTo>
                <a:lnTo>
                  <a:pt x="1594" y="2596"/>
                </a:lnTo>
                <a:lnTo>
                  <a:pt x="1584" y="2591"/>
                </a:lnTo>
                <a:lnTo>
                  <a:pt x="1584" y="2591"/>
                </a:lnTo>
                <a:lnTo>
                  <a:pt x="1584" y="2591"/>
                </a:lnTo>
                <a:lnTo>
                  <a:pt x="1582" y="2590"/>
                </a:lnTo>
                <a:lnTo>
                  <a:pt x="1583" y="2592"/>
                </a:lnTo>
                <a:lnTo>
                  <a:pt x="1582" y="2592"/>
                </a:lnTo>
                <a:lnTo>
                  <a:pt x="1587" y="2594"/>
                </a:lnTo>
                <a:lnTo>
                  <a:pt x="1590" y="2597"/>
                </a:lnTo>
                <a:lnTo>
                  <a:pt x="1594" y="2600"/>
                </a:lnTo>
                <a:lnTo>
                  <a:pt x="1593" y="2600"/>
                </a:lnTo>
                <a:lnTo>
                  <a:pt x="1587" y="2597"/>
                </a:lnTo>
                <a:lnTo>
                  <a:pt x="1586" y="2599"/>
                </a:lnTo>
                <a:lnTo>
                  <a:pt x="1587" y="2596"/>
                </a:lnTo>
                <a:lnTo>
                  <a:pt x="1584" y="2596"/>
                </a:lnTo>
                <a:lnTo>
                  <a:pt x="1582" y="2596"/>
                </a:lnTo>
                <a:lnTo>
                  <a:pt x="1582" y="2597"/>
                </a:lnTo>
                <a:lnTo>
                  <a:pt x="1576" y="2596"/>
                </a:lnTo>
                <a:lnTo>
                  <a:pt x="1572" y="2596"/>
                </a:lnTo>
                <a:lnTo>
                  <a:pt x="1575" y="2600"/>
                </a:lnTo>
                <a:lnTo>
                  <a:pt x="1572" y="2600"/>
                </a:lnTo>
                <a:lnTo>
                  <a:pt x="1571" y="2600"/>
                </a:lnTo>
                <a:lnTo>
                  <a:pt x="1568" y="2600"/>
                </a:lnTo>
                <a:lnTo>
                  <a:pt x="1567" y="2600"/>
                </a:lnTo>
                <a:lnTo>
                  <a:pt x="1568" y="2601"/>
                </a:lnTo>
                <a:lnTo>
                  <a:pt x="1570" y="2601"/>
                </a:lnTo>
                <a:lnTo>
                  <a:pt x="1570" y="2603"/>
                </a:lnTo>
                <a:lnTo>
                  <a:pt x="1569" y="2602"/>
                </a:lnTo>
                <a:lnTo>
                  <a:pt x="1568" y="2604"/>
                </a:lnTo>
                <a:lnTo>
                  <a:pt x="1571" y="2604"/>
                </a:lnTo>
                <a:lnTo>
                  <a:pt x="1575" y="2603"/>
                </a:lnTo>
                <a:lnTo>
                  <a:pt x="1576" y="2598"/>
                </a:lnTo>
                <a:lnTo>
                  <a:pt x="1578" y="2602"/>
                </a:lnTo>
                <a:lnTo>
                  <a:pt x="1583" y="2601"/>
                </a:lnTo>
                <a:lnTo>
                  <a:pt x="1582" y="2603"/>
                </a:lnTo>
                <a:lnTo>
                  <a:pt x="1589" y="2601"/>
                </a:lnTo>
                <a:lnTo>
                  <a:pt x="1584" y="2603"/>
                </a:lnTo>
                <a:lnTo>
                  <a:pt x="1586" y="2605"/>
                </a:lnTo>
                <a:lnTo>
                  <a:pt x="1589" y="2603"/>
                </a:lnTo>
                <a:lnTo>
                  <a:pt x="1590" y="2601"/>
                </a:lnTo>
                <a:lnTo>
                  <a:pt x="1590" y="2603"/>
                </a:lnTo>
                <a:lnTo>
                  <a:pt x="1590" y="2605"/>
                </a:lnTo>
                <a:lnTo>
                  <a:pt x="1597" y="2603"/>
                </a:lnTo>
                <a:lnTo>
                  <a:pt x="1598" y="2601"/>
                </a:lnTo>
                <a:lnTo>
                  <a:pt x="1598" y="2603"/>
                </a:lnTo>
                <a:lnTo>
                  <a:pt x="1607" y="2607"/>
                </a:lnTo>
                <a:lnTo>
                  <a:pt x="1614" y="2605"/>
                </a:lnTo>
                <a:lnTo>
                  <a:pt x="1614" y="2607"/>
                </a:lnTo>
                <a:lnTo>
                  <a:pt x="1617" y="2607"/>
                </a:lnTo>
                <a:lnTo>
                  <a:pt x="1620" y="2608"/>
                </a:lnTo>
                <a:lnTo>
                  <a:pt x="1622" y="2608"/>
                </a:lnTo>
                <a:lnTo>
                  <a:pt x="1623" y="2608"/>
                </a:lnTo>
                <a:lnTo>
                  <a:pt x="1624" y="2613"/>
                </a:lnTo>
                <a:lnTo>
                  <a:pt x="1626" y="2612"/>
                </a:lnTo>
                <a:lnTo>
                  <a:pt x="1626" y="2616"/>
                </a:lnTo>
                <a:lnTo>
                  <a:pt x="1630" y="2616"/>
                </a:lnTo>
                <a:lnTo>
                  <a:pt x="1632" y="2612"/>
                </a:lnTo>
                <a:lnTo>
                  <a:pt x="1634" y="2612"/>
                </a:lnTo>
                <a:lnTo>
                  <a:pt x="1634" y="2616"/>
                </a:lnTo>
                <a:lnTo>
                  <a:pt x="1638" y="2616"/>
                </a:lnTo>
                <a:lnTo>
                  <a:pt x="1639" y="2611"/>
                </a:lnTo>
                <a:lnTo>
                  <a:pt x="1635" y="2609"/>
                </a:lnTo>
                <a:lnTo>
                  <a:pt x="1629" y="2608"/>
                </a:lnTo>
                <a:lnTo>
                  <a:pt x="1639" y="2608"/>
                </a:lnTo>
                <a:lnTo>
                  <a:pt x="1640" y="2608"/>
                </a:lnTo>
                <a:lnTo>
                  <a:pt x="1641" y="2608"/>
                </a:lnTo>
                <a:lnTo>
                  <a:pt x="1643" y="2609"/>
                </a:lnTo>
                <a:lnTo>
                  <a:pt x="1641" y="2609"/>
                </a:lnTo>
                <a:lnTo>
                  <a:pt x="1647" y="2611"/>
                </a:lnTo>
                <a:lnTo>
                  <a:pt x="1655" y="2607"/>
                </a:lnTo>
                <a:lnTo>
                  <a:pt x="1663" y="2610"/>
                </a:lnTo>
                <a:lnTo>
                  <a:pt x="1667" y="2604"/>
                </a:lnTo>
                <a:lnTo>
                  <a:pt x="1658" y="2604"/>
                </a:lnTo>
                <a:lnTo>
                  <a:pt x="1648" y="2600"/>
                </a:lnTo>
                <a:close/>
                <a:moveTo>
                  <a:pt x="1755" y="2542"/>
                </a:moveTo>
                <a:lnTo>
                  <a:pt x="1755" y="2543"/>
                </a:lnTo>
                <a:lnTo>
                  <a:pt x="1754" y="2543"/>
                </a:lnTo>
                <a:lnTo>
                  <a:pt x="1749" y="2546"/>
                </a:lnTo>
                <a:lnTo>
                  <a:pt x="1744" y="2550"/>
                </a:lnTo>
                <a:lnTo>
                  <a:pt x="1747" y="2554"/>
                </a:lnTo>
                <a:lnTo>
                  <a:pt x="1747" y="2549"/>
                </a:lnTo>
                <a:lnTo>
                  <a:pt x="1751" y="2550"/>
                </a:lnTo>
                <a:lnTo>
                  <a:pt x="1751" y="2549"/>
                </a:lnTo>
                <a:lnTo>
                  <a:pt x="1753" y="2547"/>
                </a:lnTo>
                <a:lnTo>
                  <a:pt x="1754" y="2547"/>
                </a:lnTo>
                <a:lnTo>
                  <a:pt x="1756" y="2549"/>
                </a:lnTo>
                <a:lnTo>
                  <a:pt x="1759" y="2547"/>
                </a:lnTo>
                <a:lnTo>
                  <a:pt x="1759" y="2546"/>
                </a:lnTo>
                <a:lnTo>
                  <a:pt x="1755" y="2544"/>
                </a:lnTo>
                <a:lnTo>
                  <a:pt x="1755" y="2542"/>
                </a:lnTo>
                <a:close/>
                <a:moveTo>
                  <a:pt x="1728" y="2546"/>
                </a:moveTo>
                <a:lnTo>
                  <a:pt x="1726" y="2542"/>
                </a:lnTo>
                <a:lnTo>
                  <a:pt x="1725" y="2542"/>
                </a:lnTo>
                <a:lnTo>
                  <a:pt x="1722" y="2542"/>
                </a:lnTo>
                <a:lnTo>
                  <a:pt x="1726" y="2546"/>
                </a:lnTo>
                <a:lnTo>
                  <a:pt x="1728" y="2546"/>
                </a:lnTo>
                <a:close/>
                <a:moveTo>
                  <a:pt x="1721" y="2544"/>
                </a:moveTo>
                <a:lnTo>
                  <a:pt x="1722" y="2542"/>
                </a:lnTo>
                <a:lnTo>
                  <a:pt x="1721" y="2542"/>
                </a:lnTo>
                <a:lnTo>
                  <a:pt x="1721" y="2544"/>
                </a:lnTo>
                <a:close/>
                <a:moveTo>
                  <a:pt x="1713" y="2309"/>
                </a:moveTo>
                <a:lnTo>
                  <a:pt x="1713" y="2307"/>
                </a:lnTo>
                <a:lnTo>
                  <a:pt x="1709" y="2305"/>
                </a:lnTo>
                <a:lnTo>
                  <a:pt x="1713" y="2309"/>
                </a:lnTo>
                <a:close/>
                <a:moveTo>
                  <a:pt x="3837" y="313"/>
                </a:moveTo>
                <a:lnTo>
                  <a:pt x="3830" y="314"/>
                </a:lnTo>
                <a:lnTo>
                  <a:pt x="3837" y="315"/>
                </a:lnTo>
                <a:lnTo>
                  <a:pt x="3837" y="313"/>
                </a:lnTo>
                <a:close/>
                <a:moveTo>
                  <a:pt x="1582" y="2590"/>
                </a:moveTo>
                <a:lnTo>
                  <a:pt x="1582" y="2590"/>
                </a:lnTo>
                <a:lnTo>
                  <a:pt x="1582" y="2589"/>
                </a:lnTo>
                <a:lnTo>
                  <a:pt x="1578" y="2586"/>
                </a:lnTo>
                <a:lnTo>
                  <a:pt x="1572" y="2585"/>
                </a:lnTo>
                <a:lnTo>
                  <a:pt x="1572" y="2587"/>
                </a:lnTo>
                <a:lnTo>
                  <a:pt x="1571" y="2585"/>
                </a:lnTo>
                <a:lnTo>
                  <a:pt x="1568" y="2584"/>
                </a:lnTo>
                <a:lnTo>
                  <a:pt x="1567" y="2586"/>
                </a:lnTo>
                <a:lnTo>
                  <a:pt x="1564" y="2585"/>
                </a:lnTo>
                <a:lnTo>
                  <a:pt x="1565" y="2589"/>
                </a:lnTo>
                <a:lnTo>
                  <a:pt x="1570" y="2594"/>
                </a:lnTo>
                <a:lnTo>
                  <a:pt x="1571" y="2592"/>
                </a:lnTo>
                <a:lnTo>
                  <a:pt x="1568" y="2586"/>
                </a:lnTo>
                <a:lnTo>
                  <a:pt x="1571" y="2590"/>
                </a:lnTo>
                <a:lnTo>
                  <a:pt x="1575" y="2592"/>
                </a:lnTo>
                <a:lnTo>
                  <a:pt x="1575" y="2591"/>
                </a:lnTo>
                <a:lnTo>
                  <a:pt x="1576" y="2594"/>
                </a:lnTo>
                <a:lnTo>
                  <a:pt x="1579" y="2596"/>
                </a:lnTo>
                <a:lnTo>
                  <a:pt x="1582" y="2592"/>
                </a:lnTo>
                <a:lnTo>
                  <a:pt x="1582" y="2592"/>
                </a:lnTo>
                <a:lnTo>
                  <a:pt x="1582" y="2590"/>
                </a:lnTo>
                <a:close/>
                <a:moveTo>
                  <a:pt x="1589" y="2593"/>
                </a:moveTo>
                <a:lnTo>
                  <a:pt x="1587" y="2587"/>
                </a:lnTo>
                <a:lnTo>
                  <a:pt x="1589" y="2588"/>
                </a:lnTo>
                <a:lnTo>
                  <a:pt x="1590" y="2588"/>
                </a:lnTo>
                <a:lnTo>
                  <a:pt x="1589" y="2579"/>
                </a:lnTo>
                <a:lnTo>
                  <a:pt x="1586" y="2583"/>
                </a:lnTo>
                <a:lnTo>
                  <a:pt x="1587" y="2588"/>
                </a:lnTo>
                <a:lnTo>
                  <a:pt x="1583" y="2588"/>
                </a:lnTo>
                <a:lnTo>
                  <a:pt x="1584" y="2591"/>
                </a:lnTo>
                <a:lnTo>
                  <a:pt x="1584" y="2591"/>
                </a:lnTo>
                <a:lnTo>
                  <a:pt x="1589" y="2593"/>
                </a:lnTo>
                <a:close/>
                <a:moveTo>
                  <a:pt x="3808" y="258"/>
                </a:moveTo>
                <a:lnTo>
                  <a:pt x="3802" y="258"/>
                </a:lnTo>
                <a:lnTo>
                  <a:pt x="3797" y="258"/>
                </a:lnTo>
                <a:lnTo>
                  <a:pt x="3796" y="258"/>
                </a:lnTo>
                <a:lnTo>
                  <a:pt x="3802" y="258"/>
                </a:lnTo>
                <a:lnTo>
                  <a:pt x="3808" y="258"/>
                </a:lnTo>
                <a:close/>
                <a:moveTo>
                  <a:pt x="3813" y="312"/>
                </a:moveTo>
                <a:lnTo>
                  <a:pt x="3813" y="310"/>
                </a:lnTo>
                <a:lnTo>
                  <a:pt x="3808" y="312"/>
                </a:lnTo>
                <a:lnTo>
                  <a:pt x="3813" y="312"/>
                </a:lnTo>
                <a:close/>
                <a:moveTo>
                  <a:pt x="3820" y="311"/>
                </a:moveTo>
                <a:lnTo>
                  <a:pt x="3815" y="314"/>
                </a:lnTo>
                <a:lnTo>
                  <a:pt x="3826" y="314"/>
                </a:lnTo>
                <a:lnTo>
                  <a:pt x="3820" y="311"/>
                </a:lnTo>
                <a:close/>
                <a:moveTo>
                  <a:pt x="1616" y="2608"/>
                </a:moveTo>
                <a:lnTo>
                  <a:pt x="1614" y="2608"/>
                </a:lnTo>
                <a:lnTo>
                  <a:pt x="1614" y="2607"/>
                </a:lnTo>
                <a:lnTo>
                  <a:pt x="1598" y="2608"/>
                </a:lnTo>
                <a:lnTo>
                  <a:pt x="1595" y="2609"/>
                </a:lnTo>
                <a:lnTo>
                  <a:pt x="1598" y="2613"/>
                </a:lnTo>
                <a:lnTo>
                  <a:pt x="1604" y="2612"/>
                </a:lnTo>
                <a:lnTo>
                  <a:pt x="1601" y="2613"/>
                </a:lnTo>
                <a:lnTo>
                  <a:pt x="1604" y="2616"/>
                </a:lnTo>
                <a:lnTo>
                  <a:pt x="1605" y="2616"/>
                </a:lnTo>
                <a:lnTo>
                  <a:pt x="1604" y="2618"/>
                </a:lnTo>
                <a:lnTo>
                  <a:pt x="1605" y="2620"/>
                </a:lnTo>
                <a:lnTo>
                  <a:pt x="1606" y="2620"/>
                </a:lnTo>
                <a:lnTo>
                  <a:pt x="1605" y="2615"/>
                </a:lnTo>
                <a:lnTo>
                  <a:pt x="1606" y="2612"/>
                </a:lnTo>
                <a:lnTo>
                  <a:pt x="1605" y="2612"/>
                </a:lnTo>
                <a:lnTo>
                  <a:pt x="1608" y="2609"/>
                </a:lnTo>
                <a:lnTo>
                  <a:pt x="1608" y="2613"/>
                </a:lnTo>
                <a:lnTo>
                  <a:pt x="1610" y="2612"/>
                </a:lnTo>
                <a:lnTo>
                  <a:pt x="1610" y="2616"/>
                </a:lnTo>
                <a:lnTo>
                  <a:pt x="1615" y="2616"/>
                </a:lnTo>
                <a:lnTo>
                  <a:pt x="1623" y="2616"/>
                </a:lnTo>
                <a:lnTo>
                  <a:pt x="1621" y="2612"/>
                </a:lnTo>
                <a:lnTo>
                  <a:pt x="1616" y="2612"/>
                </a:lnTo>
                <a:lnTo>
                  <a:pt x="1615" y="2612"/>
                </a:lnTo>
                <a:lnTo>
                  <a:pt x="1609" y="2608"/>
                </a:lnTo>
                <a:lnTo>
                  <a:pt x="1616" y="2612"/>
                </a:lnTo>
                <a:lnTo>
                  <a:pt x="1621" y="2608"/>
                </a:lnTo>
                <a:lnTo>
                  <a:pt x="1620" y="2608"/>
                </a:lnTo>
                <a:lnTo>
                  <a:pt x="1620" y="2608"/>
                </a:lnTo>
                <a:lnTo>
                  <a:pt x="1616" y="2608"/>
                </a:lnTo>
                <a:close/>
                <a:moveTo>
                  <a:pt x="2048" y="1903"/>
                </a:moveTo>
                <a:lnTo>
                  <a:pt x="2048" y="1904"/>
                </a:lnTo>
                <a:lnTo>
                  <a:pt x="2048" y="1904"/>
                </a:lnTo>
                <a:lnTo>
                  <a:pt x="2048" y="1904"/>
                </a:lnTo>
                <a:lnTo>
                  <a:pt x="2048" y="1904"/>
                </a:lnTo>
                <a:lnTo>
                  <a:pt x="2048" y="1903"/>
                </a:lnTo>
                <a:close/>
                <a:moveTo>
                  <a:pt x="2072" y="1865"/>
                </a:moveTo>
                <a:lnTo>
                  <a:pt x="2071" y="1866"/>
                </a:lnTo>
                <a:lnTo>
                  <a:pt x="2073" y="1865"/>
                </a:lnTo>
                <a:lnTo>
                  <a:pt x="2072" y="1865"/>
                </a:lnTo>
                <a:close/>
                <a:moveTo>
                  <a:pt x="3856" y="298"/>
                </a:moveTo>
                <a:lnTo>
                  <a:pt x="3849" y="300"/>
                </a:lnTo>
                <a:lnTo>
                  <a:pt x="3852" y="301"/>
                </a:lnTo>
                <a:lnTo>
                  <a:pt x="3856" y="298"/>
                </a:lnTo>
                <a:close/>
                <a:moveTo>
                  <a:pt x="2085" y="2596"/>
                </a:moveTo>
                <a:lnTo>
                  <a:pt x="2084" y="2596"/>
                </a:lnTo>
                <a:lnTo>
                  <a:pt x="2085" y="2599"/>
                </a:lnTo>
                <a:lnTo>
                  <a:pt x="2082" y="2596"/>
                </a:lnTo>
                <a:lnTo>
                  <a:pt x="2080" y="2596"/>
                </a:lnTo>
                <a:lnTo>
                  <a:pt x="2080" y="2590"/>
                </a:lnTo>
                <a:lnTo>
                  <a:pt x="2059" y="2589"/>
                </a:lnTo>
                <a:lnTo>
                  <a:pt x="2066" y="2592"/>
                </a:lnTo>
                <a:lnTo>
                  <a:pt x="2068" y="2592"/>
                </a:lnTo>
                <a:lnTo>
                  <a:pt x="2068" y="2596"/>
                </a:lnTo>
                <a:lnTo>
                  <a:pt x="2074" y="2596"/>
                </a:lnTo>
                <a:lnTo>
                  <a:pt x="2076" y="2596"/>
                </a:lnTo>
                <a:lnTo>
                  <a:pt x="2082" y="2601"/>
                </a:lnTo>
                <a:lnTo>
                  <a:pt x="2089" y="2608"/>
                </a:lnTo>
                <a:lnTo>
                  <a:pt x="2090" y="2608"/>
                </a:lnTo>
                <a:lnTo>
                  <a:pt x="2094" y="2608"/>
                </a:lnTo>
                <a:lnTo>
                  <a:pt x="2089" y="2602"/>
                </a:lnTo>
                <a:lnTo>
                  <a:pt x="2085" y="2596"/>
                </a:lnTo>
                <a:close/>
                <a:moveTo>
                  <a:pt x="1971" y="2044"/>
                </a:moveTo>
                <a:lnTo>
                  <a:pt x="1971" y="2046"/>
                </a:lnTo>
                <a:lnTo>
                  <a:pt x="1975" y="2044"/>
                </a:lnTo>
                <a:lnTo>
                  <a:pt x="1972" y="2042"/>
                </a:lnTo>
                <a:lnTo>
                  <a:pt x="1971" y="2044"/>
                </a:lnTo>
                <a:close/>
                <a:moveTo>
                  <a:pt x="1538" y="2539"/>
                </a:moveTo>
                <a:lnTo>
                  <a:pt x="1537" y="2538"/>
                </a:lnTo>
                <a:lnTo>
                  <a:pt x="1535" y="2539"/>
                </a:lnTo>
                <a:lnTo>
                  <a:pt x="1538" y="2542"/>
                </a:lnTo>
                <a:lnTo>
                  <a:pt x="1539" y="2539"/>
                </a:lnTo>
                <a:lnTo>
                  <a:pt x="1538" y="2539"/>
                </a:lnTo>
                <a:lnTo>
                  <a:pt x="1538" y="2539"/>
                </a:lnTo>
                <a:lnTo>
                  <a:pt x="1538" y="2539"/>
                </a:lnTo>
                <a:close/>
                <a:moveTo>
                  <a:pt x="1541" y="2542"/>
                </a:moveTo>
                <a:lnTo>
                  <a:pt x="1541" y="2539"/>
                </a:lnTo>
                <a:lnTo>
                  <a:pt x="1540" y="2539"/>
                </a:lnTo>
                <a:lnTo>
                  <a:pt x="1539" y="2539"/>
                </a:lnTo>
                <a:lnTo>
                  <a:pt x="1541" y="2542"/>
                </a:lnTo>
                <a:close/>
                <a:moveTo>
                  <a:pt x="3841" y="302"/>
                </a:moveTo>
                <a:lnTo>
                  <a:pt x="3846" y="302"/>
                </a:lnTo>
                <a:lnTo>
                  <a:pt x="3842" y="301"/>
                </a:lnTo>
                <a:lnTo>
                  <a:pt x="3837" y="302"/>
                </a:lnTo>
                <a:lnTo>
                  <a:pt x="3842" y="303"/>
                </a:lnTo>
                <a:lnTo>
                  <a:pt x="3841" y="302"/>
                </a:lnTo>
                <a:close/>
                <a:moveTo>
                  <a:pt x="1550" y="2576"/>
                </a:moveTo>
                <a:lnTo>
                  <a:pt x="1550" y="2578"/>
                </a:lnTo>
                <a:lnTo>
                  <a:pt x="1548" y="2576"/>
                </a:lnTo>
                <a:lnTo>
                  <a:pt x="1548" y="2576"/>
                </a:lnTo>
                <a:lnTo>
                  <a:pt x="1549" y="2576"/>
                </a:lnTo>
                <a:lnTo>
                  <a:pt x="1542" y="2569"/>
                </a:lnTo>
                <a:lnTo>
                  <a:pt x="1543" y="2567"/>
                </a:lnTo>
                <a:lnTo>
                  <a:pt x="1532" y="2566"/>
                </a:lnTo>
                <a:lnTo>
                  <a:pt x="1526" y="2561"/>
                </a:lnTo>
                <a:lnTo>
                  <a:pt x="1526" y="2562"/>
                </a:lnTo>
                <a:lnTo>
                  <a:pt x="1532" y="2569"/>
                </a:lnTo>
                <a:lnTo>
                  <a:pt x="1538" y="2568"/>
                </a:lnTo>
                <a:lnTo>
                  <a:pt x="1542" y="2572"/>
                </a:lnTo>
                <a:lnTo>
                  <a:pt x="1542" y="2573"/>
                </a:lnTo>
                <a:lnTo>
                  <a:pt x="1542" y="2573"/>
                </a:lnTo>
                <a:lnTo>
                  <a:pt x="1544" y="2576"/>
                </a:lnTo>
                <a:lnTo>
                  <a:pt x="1542" y="2576"/>
                </a:lnTo>
                <a:lnTo>
                  <a:pt x="1542" y="2575"/>
                </a:lnTo>
                <a:lnTo>
                  <a:pt x="1542" y="2579"/>
                </a:lnTo>
                <a:lnTo>
                  <a:pt x="1543" y="2578"/>
                </a:lnTo>
                <a:lnTo>
                  <a:pt x="1543" y="2578"/>
                </a:lnTo>
                <a:lnTo>
                  <a:pt x="1545" y="2580"/>
                </a:lnTo>
                <a:lnTo>
                  <a:pt x="1545" y="2580"/>
                </a:lnTo>
                <a:lnTo>
                  <a:pt x="1546" y="2581"/>
                </a:lnTo>
                <a:lnTo>
                  <a:pt x="1545" y="2583"/>
                </a:lnTo>
                <a:lnTo>
                  <a:pt x="1549" y="2581"/>
                </a:lnTo>
                <a:lnTo>
                  <a:pt x="1546" y="2579"/>
                </a:lnTo>
                <a:lnTo>
                  <a:pt x="1548" y="2578"/>
                </a:lnTo>
                <a:lnTo>
                  <a:pt x="1546" y="2576"/>
                </a:lnTo>
                <a:lnTo>
                  <a:pt x="1546" y="2576"/>
                </a:lnTo>
                <a:lnTo>
                  <a:pt x="1549" y="2579"/>
                </a:lnTo>
                <a:lnTo>
                  <a:pt x="1554" y="2580"/>
                </a:lnTo>
                <a:lnTo>
                  <a:pt x="1554" y="2576"/>
                </a:lnTo>
                <a:lnTo>
                  <a:pt x="1553" y="2576"/>
                </a:lnTo>
                <a:lnTo>
                  <a:pt x="1552" y="2576"/>
                </a:lnTo>
                <a:lnTo>
                  <a:pt x="1550" y="2576"/>
                </a:lnTo>
                <a:close/>
                <a:moveTo>
                  <a:pt x="3856" y="310"/>
                </a:moveTo>
                <a:lnTo>
                  <a:pt x="3854" y="310"/>
                </a:lnTo>
                <a:lnTo>
                  <a:pt x="3853" y="312"/>
                </a:lnTo>
                <a:lnTo>
                  <a:pt x="3856" y="310"/>
                </a:lnTo>
                <a:close/>
                <a:moveTo>
                  <a:pt x="1777" y="2539"/>
                </a:moveTo>
                <a:lnTo>
                  <a:pt x="1770" y="2539"/>
                </a:lnTo>
                <a:lnTo>
                  <a:pt x="1775" y="2540"/>
                </a:lnTo>
                <a:lnTo>
                  <a:pt x="1775" y="2543"/>
                </a:lnTo>
                <a:lnTo>
                  <a:pt x="1767" y="2543"/>
                </a:lnTo>
                <a:lnTo>
                  <a:pt x="1769" y="2545"/>
                </a:lnTo>
                <a:lnTo>
                  <a:pt x="1767" y="2547"/>
                </a:lnTo>
                <a:lnTo>
                  <a:pt x="1764" y="2547"/>
                </a:lnTo>
                <a:lnTo>
                  <a:pt x="1764" y="2547"/>
                </a:lnTo>
                <a:lnTo>
                  <a:pt x="1761" y="2547"/>
                </a:lnTo>
                <a:lnTo>
                  <a:pt x="1757" y="2544"/>
                </a:lnTo>
                <a:lnTo>
                  <a:pt x="1754" y="2540"/>
                </a:lnTo>
                <a:lnTo>
                  <a:pt x="1752" y="2539"/>
                </a:lnTo>
                <a:lnTo>
                  <a:pt x="1752" y="2538"/>
                </a:lnTo>
                <a:lnTo>
                  <a:pt x="1756" y="2536"/>
                </a:lnTo>
                <a:lnTo>
                  <a:pt x="1755" y="2535"/>
                </a:lnTo>
                <a:lnTo>
                  <a:pt x="1757" y="2535"/>
                </a:lnTo>
                <a:lnTo>
                  <a:pt x="1766" y="2535"/>
                </a:lnTo>
                <a:lnTo>
                  <a:pt x="1766" y="2536"/>
                </a:lnTo>
                <a:lnTo>
                  <a:pt x="1767" y="2535"/>
                </a:lnTo>
                <a:lnTo>
                  <a:pt x="1775" y="2535"/>
                </a:lnTo>
                <a:lnTo>
                  <a:pt x="1777" y="2539"/>
                </a:lnTo>
                <a:close/>
                <a:moveTo>
                  <a:pt x="1769" y="2539"/>
                </a:moveTo>
                <a:lnTo>
                  <a:pt x="1766" y="2536"/>
                </a:lnTo>
                <a:lnTo>
                  <a:pt x="1766" y="2536"/>
                </a:lnTo>
                <a:lnTo>
                  <a:pt x="1763" y="2536"/>
                </a:lnTo>
                <a:lnTo>
                  <a:pt x="1767" y="2540"/>
                </a:lnTo>
                <a:lnTo>
                  <a:pt x="1767" y="2539"/>
                </a:lnTo>
                <a:lnTo>
                  <a:pt x="1769" y="2539"/>
                </a:lnTo>
                <a:close/>
                <a:moveTo>
                  <a:pt x="1751" y="2537"/>
                </a:moveTo>
                <a:lnTo>
                  <a:pt x="1751" y="2539"/>
                </a:lnTo>
                <a:lnTo>
                  <a:pt x="1752" y="2538"/>
                </a:lnTo>
                <a:lnTo>
                  <a:pt x="1751" y="2536"/>
                </a:lnTo>
                <a:lnTo>
                  <a:pt x="1751" y="2537"/>
                </a:lnTo>
                <a:close/>
                <a:moveTo>
                  <a:pt x="1910" y="2120"/>
                </a:moveTo>
                <a:lnTo>
                  <a:pt x="1911" y="2116"/>
                </a:lnTo>
                <a:lnTo>
                  <a:pt x="1911" y="2113"/>
                </a:lnTo>
                <a:lnTo>
                  <a:pt x="1910" y="2113"/>
                </a:lnTo>
                <a:lnTo>
                  <a:pt x="1910" y="2120"/>
                </a:lnTo>
                <a:close/>
                <a:moveTo>
                  <a:pt x="1956" y="2056"/>
                </a:moveTo>
                <a:lnTo>
                  <a:pt x="1957" y="2058"/>
                </a:lnTo>
                <a:lnTo>
                  <a:pt x="1957" y="2055"/>
                </a:lnTo>
                <a:lnTo>
                  <a:pt x="1957" y="2053"/>
                </a:lnTo>
                <a:lnTo>
                  <a:pt x="1956" y="2056"/>
                </a:lnTo>
                <a:close/>
                <a:moveTo>
                  <a:pt x="1740" y="2533"/>
                </a:moveTo>
                <a:lnTo>
                  <a:pt x="1737" y="2532"/>
                </a:lnTo>
                <a:lnTo>
                  <a:pt x="1737" y="2535"/>
                </a:lnTo>
                <a:lnTo>
                  <a:pt x="1738" y="2535"/>
                </a:lnTo>
                <a:lnTo>
                  <a:pt x="1740" y="2533"/>
                </a:lnTo>
                <a:close/>
                <a:moveTo>
                  <a:pt x="1877" y="1692"/>
                </a:moveTo>
                <a:lnTo>
                  <a:pt x="1874" y="1695"/>
                </a:lnTo>
                <a:lnTo>
                  <a:pt x="1878" y="1692"/>
                </a:lnTo>
                <a:lnTo>
                  <a:pt x="1877" y="1692"/>
                </a:lnTo>
                <a:close/>
                <a:moveTo>
                  <a:pt x="4296" y="303"/>
                </a:moveTo>
                <a:lnTo>
                  <a:pt x="4296" y="303"/>
                </a:lnTo>
                <a:lnTo>
                  <a:pt x="4296" y="307"/>
                </a:lnTo>
                <a:lnTo>
                  <a:pt x="4300" y="307"/>
                </a:lnTo>
                <a:lnTo>
                  <a:pt x="4296" y="303"/>
                </a:lnTo>
                <a:close/>
                <a:moveTo>
                  <a:pt x="4247" y="241"/>
                </a:moveTo>
                <a:lnTo>
                  <a:pt x="4249" y="241"/>
                </a:lnTo>
                <a:lnTo>
                  <a:pt x="4247" y="238"/>
                </a:lnTo>
                <a:lnTo>
                  <a:pt x="4238" y="238"/>
                </a:lnTo>
                <a:lnTo>
                  <a:pt x="4243" y="240"/>
                </a:lnTo>
                <a:lnTo>
                  <a:pt x="4247" y="241"/>
                </a:lnTo>
                <a:close/>
                <a:moveTo>
                  <a:pt x="4258" y="242"/>
                </a:moveTo>
                <a:lnTo>
                  <a:pt x="4255" y="243"/>
                </a:lnTo>
                <a:lnTo>
                  <a:pt x="4259" y="243"/>
                </a:lnTo>
                <a:lnTo>
                  <a:pt x="4258" y="242"/>
                </a:lnTo>
                <a:close/>
                <a:moveTo>
                  <a:pt x="4357" y="341"/>
                </a:moveTo>
                <a:lnTo>
                  <a:pt x="4359" y="341"/>
                </a:lnTo>
                <a:lnTo>
                  <a:pt x="4356" y="340"/>
                </a:lnTo>
                <a:lnTo>
                  <a:pt x="4353" y="339"/>
                </a:lnTo>
                <a:lnTo>
                  <a:pt x="4349" y="341"/>
                </a:lnTo>
                <a:lnTo>
                  <a:pt x="4355" y="342"/>
                </a:lnTo>
                <a:lnTo>
                  <a:pt x="4357" y="341"/>
                </a:lnTo>
                <a:close/>
                <a:moveTo>
                  <a:pt x="4586" y="274"/>
                </a:moveTo>
                <a:lnTo>
                  <a:pt x="4587" y="273"/>
                </a:lnTo>
                <a:lnTo>
                  <a:pt x="4586" y="270"/>
                </a:lnTo>
                <a:lnTo>
                  <a:pt x="4590" y="267"/>
                </a:lnTo>
                <a:lnTo>
                  <a:pt x="4587" y="266"/>
                </a:lnTo>
                <a:lnTo>
                  <a:pt x="4583" y="265"/>
                </a:lnTo>
                <a:lnTo>
                  <a:pt x="4582" y="260"/>
                </a:lnTo>
                <a:lnTo>
                  <a:pt x="4582" y="260"/>
                </a:lnTo>
                <a:lnTo>
                  <a:pt x="4582" y="260"/>
                </a:lnTo>
                <a:lnTo>
                  <a:pt x="4579" y="265"/>
                </a:lnTo>
                <a:lnTo>
                  <a:pt x="4582" y="269"/>
                </a:lnTo>
                <a:lnTo>
                  <a:pt x="4578" y="274"/>
                </a:lnTo>
                <a:lnTo>
                  <a:pt x="4586" y="274"/>
                </a:lnTo>
                <a:close/>
                <a:moveTo>
                  <a:pt x="4587" y="318"/>
                </a:moveTo>
                <a:lnTo>
                  <a:pt x="4591" y="315"/>
                </a:lnTo>
                <a:lnTo>
                  <a:pt x="4587" y="312"/>
                </a:lnTo>
                <a:lnTo>
                  <a:pt x="4583" y="309"/>
                </a:lnTo>
                <a:lnTo>
                  <a:pt x="4578" y="306"/>
                </a:lnTo>
                <a:lnTo>
                  <a:pt x="4578" y="306"/>
                </a:lnTo>
                <a:lnTo>
                  <a:pt x="4578" y="310"/>
                </a:lnTo>
                <a:lnTo>
                  <a:pt x="4582" y="314"/>
                </a:lnTo>
                <a:lnTo>
                  <a:pt x="4587" y="318"/>
                </a:lnTo>
                <a:close/>
                <a:moveTo>
                  <a:pt x="1535" y="2528"/>
                </a:moveTo>
                <a:lnTo>
                  <a:pt x="1533" y="2524"/>
                </a:lnTo>
                <a:lnTo>
                  <a:pt x="1535" y="2531"/>
                </a:lnTo>
                <a:lnTo>
                  <a:pt x="1537" y="2531"/>
                </a:lnTo>
                <a:lnTo>
                  <a:pt x="1535" y="2528"/>
                </a:lnTo>
                <a:lnTo>
                  <a:pt x="1535" y="2528"/>
                </a:lnTo>
                <a:lnTo>
                  <a:pt x="1535" y="2528"/>
                </a:lnTo>
                <a:close/>
                <a:moveTo>
                  <a:pt x="4421" y="318"/>
                </a:moveTo>
                <a:lnTo>
                  <a:pt x="4415" y="318"/>
                </a:lnTo>
                <a:lnTo>
                  <a:pt x="4419" y="319"/>
                </a:lnTo>
                <a:lnTo>
                  <a:pt x="4421" y="318"/>
                </a:lnTo>
                <a:close/>
                <a:moveTo>
                  <a:pt x="4036" y="124"/>
                </a:moveTo>
                <a:lnTo>
                  <a:pt x="4028" y="120"/>
                </a:lnTo>
                <a:lnTo>
                  <a:pt x="4000" y="123"/>
                </a:lnTo>
                <a:lnTo>
                  <a:pt x="3998" y="125"/>
                </a:lnTo>
                <a:lnTo>
                  <a:pt x="3995" y="127"/>
                </a:lnTo>
                <a:lnTo>
                  <a:pt x="3993" y="125"/>
                </a:lnTo>
                <a:lnTo>
                  <a:pt x="3991" y="123"/>
                </a:lnTo>
                <a:lnTo>
                  <a:pt x="3981" y="129"/>
                </a:lnTo>
                <a:lnTo>
                  <a:pt x="3984" y="130"/>
                </a:lnTo>
                <a:lnTo>
                  <a:pt x="3987" y="132"/>
                </a:lnTo>
                <a:lnTo>
                  <a:pt x="3978" y="134"/>
                </a:lnTo>
                <a:lnTo>
                  <a:pt x="3966" y="142"/>
                </a:lnTo>
                <a:lnTo>
                  <a:pt x="3963" y="143"/>
                </a:lnTo>
                <a:lnTo>
                  <a:pt x="3963" y="146"/>
                </a:lnTo>
                <a:lnTo>
                  <a:pt x="3974" y="139"/>
                </a:lnTo>
                <a:lnTo>
                  <a:pt x="3973" y="142"/>
                </a:lnTo>
                <a:lnTo>
                  <a:pt x="3975" y="144"/>
                </a:lnTo>
                <a:lnTo>
                  <a:pt x="3977" y="146"/>
                </a:lnTo>
                <a:lnTo>
                  <a:pt x="3980" y="146"/>
                </a:lnTo>
                <a:lnTo>
                  <a:pt x="3980" y="152"/>
                </a:lnTo>
                <a:lnTo>
                  <a:pt x="3990" y="158"/>
                </a:lnTo>
                <a:lnTo>
                  <a:pt x="3999" y="156"/>
                </a:lnTo>
                <a:lnTo>
                  <a:pt x="4002" y="162"/>
                </a:lnTo>
                <a:lnTo>
                  <a:pt x="4017" y="162"/>
                </a:lnTo>
                <a:lnTo>
                  <a:pt x="4025" y="165"/>
                </a:lnTo>
                <a:lnTo>
                  <a:pt x="4040" y="167"/>
                </a:lnTo>
                <a:lnTo>
                  <a:pt x="4056" y="165"/>
                </a:lnTo>
                <a:lnTo>
                  <a:pt x="4065" y="162"/>
                </a:lnTo>
                <a:lnTo>
                  <a:pt x="4063" y="159"/>
                </a:lnTo>
                <a:lnTo>
                  <a:pt x="4050" y="154"/>
                </a:lnTo>
                <a:lnTo>
                  <a:pt x="4058" y="154"/>
                </a:lnTo>
                <a:lnTo>
                  <a:pt x="4061" y="148"/>
                </a:lnTo>
                <a:lnTo>
                  <a:pt x="4059" y="144"/>
                </a:lnTo>
                <a:lnTo>
                  <a:pt x="4061" y="140"/>
                </a:lnTo>
                <a:lnTo>
                  <a:pt x="4063" y="137"/>
                </a:lnTo>
                <a:lnTo>
                  <a:pt x="4066" y="136"/>
                </a:lnTo>
                <a:lnTo>
                  <a:pt x="4053" y="126"/>
                </a:lnTo>
                <a:lnTo>
                  <a:pt x="4044" y="126"/>
                </a:lnTo>
                <a:lnTo>
                  <a:pt x="4042" y="128"/>
                </a:lnTo>
                <a:lnTo>
                  <a:pt x="4044" y="128"/>
                </a:lnTo>
                <a:lnTo>
                  <a:pt x="4040" y="131"/>
                </a:lnTo>
                <a:lnTo>
                  <a:pt x="4033" y="129"/>
                </a:lnTo>
                <a:lnTo>
                  <a:pt x="4031" y="134"/>
                </a:lnTo>
                <a:lnTo>
                  <a:pt x="4025" y="135"/>
                </a:lnTo>
                <a:lnTo>
                  <a:pt x="4028" y="134"/>
                </a:lnTo>
                <a:lnTo>
                  <a:pt x="4036" y="124"/>
                </a:lnTo>
                <a:close/>
                <a:moveTo>
                  <a:pt x="4158" y="186"/>
                </a:moveTo>
                <a:lnTo>
                  <a:pt x="4165" y="189"/>
                </a:lnTo>
                <a:lnTo>
                  <a:pt x="4172" y="192"/>
                </a:lnTo>
                <a:lnTo>
                  <a:pt x="4174" y="190"/>
                </a:lnTo>
                <a:lnTo>
                  <a:pt x="4176" y="189"/>
                </a:lnTo>
                <a:lnTo>
                  <a:pt x="4158" y="186"/>
                </a:lnTo>
                <a:close/>
                <a:moveTo>
                  <a:pt x="4065" y="146"/>
                </a:moveTo>
                <a:lnTo>
                  <a:pt x="4065" y="143"/>
                </a:lnTo>
                <a:lnTo>
                  <a:pt x="4065" y="143"/>
                </a:lnTo>
                <a:lnTo>
                  <a:pt x="4063" y="146"/>
                </a:lnTo>
                <a:lnTo>
                  <a:pt x="4065" y="146"/>
                </a:lnTo>
                <a:close/>
                <a:moveTo>
                  <a:pt x="4065" y="140"/>
                </a:moveTo>
                <a:lnTo>
                  <a:pt x="4069" y="137"/>
                </a:lnTo>
                <a:lnTo>
                  <a:pt x="4065" y="137"/>
                </a:lnTo>
                <a:lnTo>
                  <a:pt x="4065" y="140"/>
                </a:lnTo>
                <a:close/>
                <a:moveTo>
                  <a:pt x="4172" y="212"/>
                </a:moveTo>
                <a:lnTo>
                  <a:pt x="4169" y="216"/>
                </a:lnTo>
                <a:lnTo>
                  <a:pt x="4170" y="218"/>
                </a:lnTo>
                <a:lnTo>
                  <a:pt x="4173" y="217"/>
                </a:lnTo>
                <a:lnTo>
                  <a:pt x="4176" y="216"/>
                </a:lnTo>
                <a:lnTo>
                  <a:pt x="4176" y="214"/>
                </a:lnTo>
                <a:lnTo>
                  <a:pt x="4174" y="213"/>
                </a:lnTo>
                <a:lnTo>
                  <a:pt x="4172" y="212"/>
                </a:lnTo>
                <a:close/>
                <a:moveTo>
                  <a:pt x="4065" y="177"/>
                </a:moveTo>
                <a:lnTo>
                  <a:pt x="4054" y="192"/>
                </a:lnTo>
                <a:lnTo>
                  <a:pt x="4056" y="196"/>
                </a:lnTo>
                <a:lnTo>
                  <a:pt x="4064" y="193"/>
                </a:lnTo>
                <a:lnTo>
                  <a:pt x="4083" y="186"/>
                </a:lnTo>
                <a:lnTo>
                  <a:pt x="4100" y="185"/>
                </a:lnTo>
                <a:lnTo>
                  <a:pt x="4103" y="186"/>
                </a:lnTo>
                <a:lnTo>
                  <a:pt x="4106" y="185"/>
                </a:lnTo>
                <a:lnTo>
                  <a:pt x="4132" y="181"/>
                </a:lnTo>
                <a:lnTo>
                  <a:pt x="4142" y="174"/>
                </a:lnTo>
                <a:lnTo>
                  <a:pt x="4139" y="166"/>
                </a:lnTo>
                <a:lnTo>
                  <a:pt x="4132" y="166"/>
                </a:lnTo>
                <a:lnTo>
                  <a:pt x="4130" y="166"/>
                </a:lnTo>
                <a:lnTo>
                  <a:pt x="4128" y="167"/>
                </a:lnTo>
                <a:lnTo>
                  <a:pt x="4128" y="165"/>
                </a:lnTo>
                <a:lnTo>
                  <a:pt x="4128" y="164"/>
                </a:lnTo>
                <a:lnTo>
                  <a:pt x="4128" y="162"/>
                </a:lnTo>
                <a:lnTo>
                  <a:pt x="4122" y="162"/>
                </a:lnTo>
                <a:lnTo>
                  <a:pt x="4122" y="159"/>
                </a:lnTo>
                <a:lnTo>
                  <a:pt x="4121" y="156"/>
                </a:lnTo>
                <a:lnTo>
                  <a:pt x="4114" y="157"/>
                </a:lnTo>
                <a:lnTo>
                  <a:pt x="4106" y="158"/>
                </a:lnTo>
                <a:lnTo>
                  <a:pt x="4099" y="165"/>
                </a:lnTo>
                <a:lnTo>
                  <a:pt x="4105" y="152"/>
                </a:lnTo>
                <a:lnTo>
                  <a:pt x="4108" y="151"/>
                </a:lnTo>
                <a:lnTo>
                  <a:pt x="4110" y="150"/>
                </a:lnTo>
                <a:lnTo>
                  <a:pt x="4097" y="146"/>
                </a:lnTo>
                <a:lnTo>
                  <a:pt x="4092" y="147"/>
                </a:lnTo>
                <a:lnTo>
                  <a:pt x="4092" y="152"/>
                </a:lnTo>
                <a:lnTo>
                  <a:pt x="4090" y="151"/>
                </a:lnTo>
                <a:lnTo>
                  <a:pt x="4088" y="147"/>
                </a:lnTo>
                <a:lnTo>
                  <a:pt x="4080" y="152"/>
                </a:lnTo>
                <a:lnTo>
                  <a:pt x="4079" y="155"/>
                </a:lnTo>
                <a:lnTo>
                  <a:pt x="4078" y="157"/>
                </a:lnTo>
                <a:lnTo>
                  <a:pt x="4088" y="161"/>
                </a:lnTo>
                <a:lnTo>
                  <a:pt x="4078" y="158"/>
                </a:lnTo>
                <a:lnTo>
                  <a:pt x="4076" y="163"/>
                </a:lnTo>
                <a:lnTo>
                  <a:pt x="4078" y="166"/>
                </a:lnTo>
                <a:lnTo>
                  <a:pt x="4081" y="169"/>
                </a:lnTo>
                <a:lnTo>
                  <a:pt x="4070" y="167"/>
                </a:lnTo>
                <a:lnTo>
                  <a:pt x="4065" y="177"/>
                </a:lnTo>
                <a:close/>
                <a:moveTo>
                  <a:pt x="4158" y="185"/>
                </a:moveTo>
                <a:lnTo>
                  <a:pt x="4162" y="184"/>
                </a:lnTo>
                <a:lnTo>
                  <a:pt x="4158" y="181"/>
                </a:lnTo>
                <a:lnTo>
                  <a:pt x="4154" y="183"/>
                </a:lnTo>
                <a:lnTo>
                  <a:pt x="4151" y="185"/>
                </a:lnTo>
                <a:lnTo>
                  <a:pt x="4153" y="186"/>
                </a:lnTo>
                <a:lnTo>
                  <a:pt x="4158" y="185"/>
                </a:lnTo>
                <a:close/>
                <a:moveTo>
                  <a:pt x="4942" y="404"/>
                </a:moveTo>
                <a:lnTo>
                  <a:pt x="4940" y="403"/>
                </a:lnTo>
                <a:lnTo>
                  <a:pt x="4945" y="406"/>
                </a:lnTo>
                <a:lnTo>
                  <a:pt x="4942" y="404"/>
                </a:lnTo>
                <a:close/>
                <a:moveTo>
                  <a:pt x="5064" y="439"/>
                </a:moveTo>
                <a:lnTo>
                  <a:pt x="5068" y="439"/>
                </a:lnTo>
                <a:lnTo>
                  <a:pt x="5068" y="439"/>
                </a:lnTo>
                <a:lnTo>
                  <a:pt x="5068" y="433"/>
                </a:lnTo>
                <a:lnTo>
                  <a:pt x="5068" y="430"/>
                </a:lnTo>
                <a:lnTo>
                  <a:pt x="5055" y="426"/>
                </a:lnTo>
                <a:lnTo>
                  <a:pt x="5051" y="429"/>
                </a:lnTo>
                <a:lnTo>
                  <a:pt x="5047" y="432"/>
                </a:lnTo>
                <a:lnTo>
                  <a:pt x="5056" y="435"/>
                </a:lnTo>
                <a:lnTo>
                  <a:pt x="5064" y="439"/>
                </a:lnTo>
                <a:close/>
                <a:moveTo>
                  <a:pt x="4958" y="442"/>
                </a:moveTo>
                <a:lnTo>
                  <a:pt x="4958" y="442"/>
                </a:lnTo>
                <a:lnTo>
                  <a:pt x="4958" y="438"/>
                </a:lnTo>
                <a:lnTo>
                  <a:pt x="4955" y="438"/>
                </a:lnTo>
                <a:lnTo>
                  <a:pt x="4955" y="443"/>
                </a:lnTo>
                <a:lnTo>
                  <a:pt x="4956" y="442"/>
                </a:lnTo>
                <a:lnTo>
                  <a:pt x="4958" y="442"/>
                </a:lnTo>
                <a:close/>
                <a:moveTo>
                  <a:pt x="4953" y="440"/>
                </a:moveTo>
                <a:lnTo>
                  <a:pt x="4954" y="439"/>
                </a:lnTo>
                <a:lnTo>
                  <a:pt x="4954" y="439"/>
                </a:lnTo>
                <a:lnTo>
                  <a:pt x="4954" y="439"/>
                </a:lnTo>
                <a:lnTo>
                  <a:pt x="4952" y="441"/>
                </a:lnTo>
                <a:lnTo>
                  <a:pt x="4952" y="441"/>
                </a:lnTo>
                <a:lnTo>
                  <a:pt x="4952" y="441"/>
                </a:lnTo>
                <a:lnTo>
                  <a:pt x="4953" y="440"/>
                </a:lnTo>
                <a:close/>
                <a:moveTo>
                  <a:pt x="5224" y="400"/>
                </a:moveTo>
                <a:lnTo>
                  <a:pt x="5234" y="403"/>
                </a:lnTo>
                <a:lnTo>
                  <a:pt x="5254" y="399"/>
                </a:lnTo>
                <a:lnTo>
                  <a:pt x="5262" y="394"/>
                </a:lnTo>
                <a:lnTo>
                  <a:pt x="5254" y="391"/>
                </a:lnTo>
                <a:lnTo>
                  <a:pt x="5247" y="387"/>
                </a:lnTo>
                <a:lnTo>
                  <a:pt x="5225" y="387"/>
                </a:lnTo>
                <a:lnTo>
                  <a:pt x="5224" y="387"/>
                </a:lnTo>
                <a:lnTo>
                  <a:pt x="5209" y="395"/>
                </a:lnTo>
                <a:lnTo>
                  <a:pt x="5205" y="399"/>
                </a:lnTo>
                <a:lnTo>
                  <a:pt x="5208" y="406"/>
                </a:lnTo>
                <a:lnTo>
                  <a:pt x="5224" y="400"/>
                </a:lnTo>
                <a:close/>
                <a:moveTo>
                  <a:pt x="1857" y="2186"/>
                </a:moveTo>
                <a:lnTo>
                  <a:pt x="1861" y="2186"/>
                </a:lnTo>
                <a:lnTo>
                  <a:pt x="1865" y="2183"/>
                </a:lnTo>
                <a:lnTo>
                  <a:pt x="1858" y="2185"/>
                </a:lnTo>
                <a:lnTo>
                  <a:pt x="1857" y="2186"/>
                </a:lnTo>
                <a:close/>
                <a:moveTo>
                  <a:pt x="4951" y="443"/>
                </a:moveTo>
                <a:lnTo>
                  <a:pt x="4952" y="441"/>
                </a:lnTo>
                <a:lnTo>
                  <a:pt x="4950" y="443"/>
                </a:lnTo>
                <a:lnTo>
                  <a:pt x="4951" y="445"/>
                </a:lnTo>
                <a:lnTo>
                  <a:pt x="4951" y="443"/>
                </a:lnTo>
                <a:close/>
                <a:moveTo>
                  <a:pt x="5083" y="435"/>
                </a:moveTo>
                <a:lnTo>
                  <a:pt x="5083" y="431"/>
                </a:lnTo>
                <a:lnTo>
                  <a:pt x="5079" y="433"/>
                </a:lnTo>
                <a:lnTo>
                  <a:pt x="5083" y="435"/>
                </a:lnTo>
                <a:lnTo>
                  <a:pt x="5083" y="435"/>
                </a:lnTo>
                <a:close/>
                <a:moveTo>
                  <a:pt x="4775" y="292"/>
                </a:moveTo>
                <a:lnTo>
                  <a:pt x="4786" y="292"/>
                </a:lnTo>
                <a:lnTo>
                  <a:pt x="4799" y="288"/>
                </a:lnTo>
                <a:lnTo>
                  <a:pt x="4800" y="286"/>
                </a:lnTo>
                <a:lnTo>
                  <a:pt x="4800" y="285"/>
                </a:lnTo>
                <a:lnTo>
                  <a:pt x="4803" y="281"/>
                </a:lnTo>
                <a:lnTo>
                  <a:pt x="4796" y="284"/>
                </a:lnTo>
                <a:lnTo>
                  <a:pt x="4792" y="278"/>
                </a:lnTo>
                <a:lnTo>
                  <a:pt x="4786" y="277"/>
                </a:lnTo>
                <a:lnTo>
                  <a:pt x="4781" y="276"/>
                </a:lnTo>
                <a:lnTo>
                  <a:pt x="4775" y="277"/>
                </a:lnTo>
                <a:lnTo>
                  <a:pt x="4770" y="278"/>
                </a:lnTo>
                <a:lnTo>
                  <a:pt x="4769" y="277"/>
                </a:lnTo>
                <a:lnTo>
                  <a:pt x="4770" y="274"/>
                </a:lnTo>
                <a:lnTo>
                  <a:pt x="4767" y="274"/>
                </a:lnTo>
                <a:lnTo>
                  <a:pt x="4752" y="274"/>
                </a:lnTo>
                <a:lnTo>
                  <a:pt x="4750" y="278"/>
                </a:lnTo>
                <a:lnTo>
                  <a:pt x="4747" y="278"/>
                </a:lnTo>
                <a:lnTo>
                  <a:pt x="4744" y="275"/>
                </a:lnTo>
                <a:lnTo>
                  <a:pt x="4741" y="273"/>
                </a:lnTo>
                <a:lnTo>
                  <a:pt x="4743" y="270"/>
                </a:lnTo>
                <a:lnTo>
                  <a:pt x="4741" y="268"/>
                </a:lnTo>
                <a:lnTo>
                  <a:pt x="4739" y="267"/>
                </a:lnTo>
                <a:lnTo>
                  <a:pt x="4739" y="267"/>
                </a:lnTo>
                <a:lnTo>
                  <a:pt x="4739" y="267"/>
                </a:lnTo>
                <a:lnTo>
                  <a:pt x="4738" y="268"/>
                </a:lnTo>
                <a:lnTo>
                  <a:pt x="4733" y="278"/>
                </a:lnTo>
                <a:lnTo>
                  <a:pt x="4765" y="292"/>
                </a:lnTo>
                <a:lnTo>
                  <a:pt x="4775" y="292"/>
                </a:lnTo>
                <a:close/>
                <a:moveTo>
                  <a:pt x="4694" y="329"/>
                </a:moveTo>
                <a:lnTo>
                  <a:pt x="4682" y="319"/>
                </a:lnTo>
                <a:lnTo>
                  <a:pt x="4678" y="318"/>
                </a:lnTo>
                <a:lnTo>
                  <a:pt x="4673" y="318"/>
                </a:lnTo>
                <a:lnTo>
                  <a:pt x="4661" y="318"/>
                </a:lnTo>
                <a:lnTo>
                  <a:pt x="4651" y="329"/>
                </a:lnTo>
                <a:lnTo>
                  <a:pt x="4645" y="331"/>
                </a:lnTo>
                <a:lnTo>
                  <a:pt x="4639" y="333"/>
                </a:lnTo>
                <a:lnTo>
                  <a:pt x="4643" y="334"/>
                </a:lnTo>
                <a:lnTo>
                  <a:pt x="4656" y="330"/>
                </a:lnTo>
                <a:lnTo>
                  <a:pt x="4678" y="335"/>
                </a:lnTo>
                <a:lnTo>
                  <a:pt x="4695" y="337"/>
                </a:lnTo>
                <a:lnTo>
                  <a:pt x="4694" y="333"/>
                </a:lnTo>
                <a:lnTo>
                  <a:pt x="4695" y="330"/>
                </a:lnTo>
                <a:lnTo>
                  <a:pt x="4694" y="329"/>
                </a:lnTo>
                <a:close/>
                <a:moveTo>
                  <a:pt x="4660" y="314"/>
                </a:moveTo>
                <a:lnTo>
                  <a:pt x="4661" y="310"/>
                </a:lnTo>
                <a:lnTo>
                  <a:pt x="4655" y="307"/>
                </a:lnTo>
                <a:lnTo>
                  <a:pt x="4650" y="308"/>
                </a:lnTo>
                <a:lnTo>
                  <a:pt x="4646" y="310"/>
                </a:lnTo>
                <a:lnTo>
                  <a:pt x="4646" y="314"/>
                </a:lnTo>
                <a:lnTo>
                  <a:pt x="4650" y="318"/>
                </a:lnTo>
                <a:lnTo>
                  <a:pt x="4655" y="316"/>
                </a:lnTo>
                <a:lnTo>
                  <a:pt x="4660" y="314"/>
                </a:lnTo>
                <a:close/>
                <a:moveTo>
                  <a:pt x="4598" y="278"/>
                </a:moveTo>
                <a:lnTo>
                  <a:pt x="4604" y="282"/>
                </a:lnTo>
                <a:lnTo>
                  <a:pt x="4613" y="287"/>
                </a:lnTo>
                <a:lnTo>
                  <a:pt x="4614" y="288"/>
                </a:lnTo>
                <a:lnTo>
                  <a:pt x="4616" y="290"/>
                </a:lnTo>
                <a:lnTo>
                  <a:pt x="4623" y="293"/>
                </a:lnTo>
                <a:lnTo>
                  <a:pt x="4631" y="295"/>
                </a:lnTo>
                <a:lnTo>
                  <a:pt x="4637" y="293"/>
                </a:lnTo>
                <a:lnTo>
                  <a:pt x="4638" y="291"/>
                </a:lnTo>
                <a:lnTo>
                  <a:pt x="4638" y="290"/>
                </a:lnTo>
                <a:lnTo>
                  <a:pt x="4639" y="290"/>
                </a:lnTo>
                <a:lnTo>
                  <a:pt x="4642" y="290"/>
                </a:lnTo>
                <a:lnTo>
                  <a:pt x="4645" y="290"/>
                </a:lnTo>
                <a:lnTo>
                  <a:pt x="4661" y="288"/>
                </a:lnTo>
                <a:lnTo>
                  <a:pt x="4677" y="287"/>
                </a:lnTo>
                <a:lnTo>
                  <a:pt x="4678" y="290"/>
                </a:lnTo>
                <a:lnTo>
                  <a:pt x="4674" y="290"/>
                </a:lnTo>
                <a:lnTo>
                  <a:pt x="4677" y="291"/>
                </a:lnTo>
                <a:lnTo>
                  <a:pt x="4680" y="292"/>
                </a:lnTo>
                <a:lnTo>
                  <a:pt x="4682" y="290"/>
                </a:lnTo>
                <a:lnTo>
                  <a:pt x="4683" y="288"/>
                </a:lnTo>
                <a:lnTo>
                  <a:pt x="4697" y="287"/>
                </a:lnTo>
                <a:lnTo>
                  <a:pt x="4690" y="284"/>
                </a:lnTo>
                <a:lnTo>
                  <a:pt x="4682" y="281"/>
                </a:lnTo>
                <a:lnTo>
                  <a:pt x="4678" y="277"/>
                </a:lnTo>
                <a:lnTo>
                  <a:pt x="4674" y="274"/>
                </a:lnTo>
                <a:lnTo>
                  <a:pt x="4674" y="267"/>
                </a:lnTo>
                <a:lnTo>
                  <a:pt x="4677" y="265"/>
                </a:lnTo>
                <a:lnTo>
                  <a:pt x="4680" y="264"/>
                </a:lnTo>
                <a:lnTo>
                  <a:pt x="4683" y="264"/>
                </a:lnTo>
                <a:lnTo>
                  <a:pt x="4686" y="265"/>
                </a:lnTo>
                <a:lnTo>
                  <a:pt x="4686" y="267"/>
                </a:lnTo>
                <a:lnTo>
                  <a:pt x="4684" y="270"/>
                </a:lnTo>
                <a:lnTo>
                  <a:pt x="4682" y="273"/>
                </a:lnTo>
                <a:lnTo>
                  <a:pt x="4680" y="275"/>
                </a:lnTo>
                <a:lnTo>
                  <a:pt x="4687" y="281"/>
                </a:lnTo>
                <a:lnTo>
                  <a:pt x="4695" y="283"/>
                </a:lnTo>
                <a:lnTo>
                  <a:pt x="4702" y="285"/>
                </a:lnTo>
                <a:lnTo>
                  <a:pt x="4706" y="284"/>
                </a:lnTo>
                <a:lnTo>
                  <a:pt x="4709" y="284"/>
                </a:lnTo>
                <a:lnTo>
                  <a:pt x="4713" y="280"/>
                </a:lnTo>
                <a:lnTo>
                  <a:pt x="4717" y="276"/>
                </a:lnTo>
                <a:lnTo>
                  <a:pt x="4714" y="276"/>
                </a:lnTo>
                <a:lnTo>
                  <a:pt x="4712" y="275"/>
                </a:lnTo>
                <a:lnTo>
                  <a:pt x="4714" y="273"/>
                </a:lnTo>
                <a:lnTo>
                  <a:pt x="4723" y="270"/>
                </a:lnTo>
                <a:lnTo>
                  <a:pt x="4701" y="260"/>
                </a:lnTo>
                <a:lnTo>
                  <a:pt x="4682" y="258"/>
                </a:lnTo>
                <a:lnTo>
                  <a:pt x="4664" y="249"/>
                </a:lnTo>
                <a:lnTo>
                  <a:pt x="4668" y="255"/>
                </a:lnTo>
                <a:lnTo>
                  <a:pt x="4660" y="254"/>
                </a:lnTo>
                <a:lnTo>
                  <a:pt x="4657" y="265"/>
                </a:lnTo>
                <a:lnTo>
                  <a:pt x="4660" y="266"/>
                </a:lnTo>
                <a:lnTo>
                  <a:pt x="4650" y="266"/>
                </a:lnTo>
                <a:lnTo>
                  <a:pt x="4650" y="262"/>
                </a:lnTo>
                <a:lnTo>
                  <a:pt x="4647" y="261"/>
                </a:lnTo>
                <a:lnTo>
                  <a:pt x="4643" y="260"/>
                </a:lnTo>
                <a:lnTo>
                  <a:pt x="4643" y="259"/>
                </a:lnTo>
                <a:lnTo>
                  <a:pt x="4642" y="258"/>
                </a:lnTo>
                <a:lnTo>
                  <a:pt x="4643" y="258"/>
                </a:lnTo>
                <a:lnTo>
                  <a:pt x="4643" y="257"/>
                </a:lnTo>
                <a:lnTo>
                  <a:pt x="4643" y="256"/>
                </a:lnTo>
                <a:lnTo>
                  <a:pt x="4642" y="255"/>
                </a:lnTo>
                <a:lnTo>
                  <a:pt x="4637" y="254"/>
                </a:lnTo>
                <a:lnTo>
                  <a:pt x="4632" y="253"/>
                </a:lnTo>
                <a:lnTo>
                  <a:pt x="4630" y="251"/>
                </a:lnTo>
                <a:lnTo>
                  <a:pt x="4628" y="250"/>
                </a:lnTo>
                <a:lnTo>
                  <a:pt x="4622" y="250"/>
                </a:lnTo>
                <a:lnTo>
                  <a:pt x="4622" y="254"/>
                </a:lnTo>
                <a:lnTo>
                  <a:pt x="4621" y="251"/>
                </a:lnTo>
                <a:lnTo>
                  <a:pt x="4613" y="254"/>
                </a:lnTo>
                <a:lnTo>
                  <a:pt x="4606" y="259"/>
                </a:lnTo>
                <a:lnTo>
                  <a:pt x="4612" y="266"/>
                </a:lnTo>
                <a:lnTo>
                  <a:pt x="4604" y="266"/>
                </a:lnTo>
                <a:lnTo>
                  <a:pt x="4602" y="266"/>
                </a:lnTo>
                <a:lnTo>
                  <a:pt x="4604" y="268"/>
                </a:lnTo>
                <a:lnTo>
                  <a:pt x="4600" y="270"/>
                </a:lnTo>
                <a:lnTo>
                  <a:pt x="4605" y="270"/>
                </a:lnTo>
                <a:lnTo>
                  <a:pt x="4604" y="274"/>
                </a:lnTo>
                <a:lnTo>
                  <a:pt x="4606" y="274"/>
                </a:lnTo>
                <a:lnTo>
                  <a:pt x="4606" y="278"/>
                </a:lnTo>
                <a:lnTo>
                  <a:pt x="4598" y="278"/>
                </a:lnTo>
                <a:close/>
                <a:moveTo>
                  <a:pt x="1945" y="35"/>
                </a:moveTo>
                <a:lnTo>
                  <a:pt x="1922" y="36"/>
                </a:lnTo>
                <a:lnTo>
                  <a:pt x="1934" y="46"/>
                </a:lnTo>
                <a:lnTo>
                  <a:pt x="1955" y="52"/>
                </a:lnTo>
                <a:lnTo>
                  <a:pt x="1961" y="57"/>
                </a:lnTo>
                <a:lnTo>
                  <a:pt x="1965" y="55"/>
                </a:lnTo>
                <a:lnTo>
                  <a:pt x="1960" y="52"/>
                </a:lnTo>
                <a:lnTo>
                  <a:pt x="1969" y="46"/>
                </a:lnTo>
                <a:lnTo>
                  <a:pt x="1945" y="35"/>
                </a:lnTo>
                <a:close/>
                <a:moveTo>
                  <a:pt x="4780" y="234"/>
                </a:moveTo>
                <a:lnTo>
                  <a:pt x="4773" y="234"/>
                </a:lnTo>
                <a:lnTo>
                  <a:pt x="4767" y="238"/>
                </a:lnTo>
                <a:lnTo>
                  <a:pt x="4777" y="238"/>
                </a:lnTo>
                <a:lnTo>
                  <a:pt x="4780" y="234"/>
                </a:lnTo>
                <a:close/>
                <a:moveTo>
                  <a:pt x="4606" y="385"/>
                </a:moveTo>
                <a:lnTo>
                  <a:pt x="4600" y="386"/>
                </a:lnTo>
                <a:lnTo>
                  <a:pt x="4606" y="387"/>
                </a:lnTo>
                <a:lnTo>
                  <a:pt x="4612" y="389"/>
                </a:lnTo>
                <a:lnTo>
                  <a:pt x="4616" y="386"/>
                </a:lnTo>
                <a:lnTo>
                  <a:pt x="4612" y="385"/>
                </a:lnTo>
                <a:lnTo>
                  <a:pt x="4606" y="385"/>
                </a:lnTo>
                <a:close/>
                <a:moveTo>
                  <a:pt x="4661" y="253"/>
                </a:moveTo>
                <a:lnTo>
                  <a:pt x="4657" y="251"/>
                </a:lnTo>
                <a:lnTo>
                  <a:pt x="4656" y="253"/>
                </a:lnTo>
                <a:lnTo>
                  <a:pt x="4657" y="254"/>
                </a:lnTo>
                <a:lnTo>
                  <a:pt x="4661" y="253"/>
                </a:lnTo>
                <a:close/>
                <a:moveTo>
                  <a:pt x="1534" y="2473"/>
                </a:moveTo>
                <a:lnTo>
                  <a:pt x="1534" y="2472"/>
                </a:lnTo>
                <a:lnTo>
                  <a:pt x="1531" y="2469"/>
                </a:lnTo>
                <a:lnTo>
                  <a:pt x="1527" y="2469"/>
                </a:lnTo>
                <a:lnTo>
                  <a:pt x="1530" y="2471"/>
                </a:lnTo>
                <a:lnTo>
                  <a:pt x="1530" y="2474"/>
                </a:lnTo>
                <a:lnTo>
                  <a:pt x="1530" y="2475"/>
                </a:lnTo>
                <a:lnTo>
                  <a:pt x="1533" y="2474"/>
                </a:lnTo>
                <a:lnTo>
                  <a:pt x="1531" y="2471"/>
                </a:lnTo>
                <a:lnTo>
                  <a:pt x="1534" y="2473"/>
                </a:lnTo>
                <a:close/>
                <a:moveTo>
                  <a:pt x="1542" y="2432"/>
                </a:moveTo>
                <a:lnTo>
                  <a:pt x="1539" y="2431"/>
                </a:lnTo>
                <a:lnTo>
                  <a:pt x="1541" y="2435"/>
                </a:lnTo>
                <a:lnTo>
                  <a:pt x="1542" y="2433"/>
                </a:lnTo>
                <a:lnTo>
                  <a:pt x="1542" y="2432"/>
                </a:lnTo>
                <a:lnTo>
                  <a:pt x="1542" y="2432"/>
                </a:lnTo>
                <a:close/>
                <a:moveTo>
                  <a:pt x="3964" y="136"/>
                </a:moveTo>
                <a:lnTo>
                  <a:pt x="3970" y="132"/>
                </a:lnTo>
                <a:lnTo>
                  <a:pt x="3975" y="129"/>
                </a:lnTo>
                <a:lnTo>
                  <a:pt x="3969" y="128"/>
                </a:lnTo>
                <a:lnTo>
                  <a:pt x="3961" y="127"/>
                </a:lnTo>
                <a:lnTo>
                  <a:pt x="3955" y="126"/>
                </a:lnTo>
                <a:lnTo>
                  <a:pt x="3934" y="125"/>
                </a:lnTo>
                <a:lnTo>
                  <a:pt x="3935" y="129"/>
                </a:lnTo>
                <a:lnTo>
                  <a:pt x="3934" y="131"/>
                </a:lnTo>
                <a:lnTo>
                  <a:pt x="3948" y="132"/>
                </a:lnTo>
                <a:lnTo>
                  <a:pt x="3953" y="136"/>
                </a:lnTo>
                <a:lnTo>
                  <a:pt x="3946" y="137"/>
                </a:lnTo>
                <a:lnTo>
                  <a:pt x="3955" y="136"/>
                </a:lnTo>
                <a:lnTo>
                  <a:pt x="3964" y="136"/>
                </a:lnTo>
                <a:close/>
                <a:moveTo>
                  <a:pt x="3932" y="142"/>
                </a:moveTo>
                <a:lnTo>
                  <a:pt x="3936" y="143"/>
                </a:lnTo>
                <a:lnTo>
                  <a:pt x="3941" y="143"/>
                </a:lnTo>
                <a:lnTo>
                  <a:pt x="3935" y="142"/>
                </a:lnTo>
                <a:lnTo>
                  <a:pt x="3929" y="140"/>
                </a:lnTo>
                <a:lnTo>
                  <a:pt x="3932" y="142"/>
                </a:lnTo>
                <a:close/>
                <a:moveTo>
                  <a:pt x="3977" y="127"/>
                </a:moveTo>
                <a:lnTo>
                  <a:pt x="3977" y="128"/>
                </a:lnTo>
                <a:lnTo>
                  <a:pt x="3983" y="127"/>
                </a:lnTo>
                <a:lnTo>
                  <a:pt x="3977" y="127"/>
                </a:lnTo>
                <a:close/>
                <a:moveTo>
                  <a:pt x="3934" y="126"/>
                </a:moveTo>
                <a:lnTo>
                  <a:pt x="3934" y="125"/>
                </a:lnTo>
                <a:lnTo>
                  <a:pt x="3931" y="126"/>
                </a:lnTo>
                <a:lnTo>
                  <a:pt x="3934" y="126"/>
                </a:lnTo>
                <a:close/>
                <a:moveTo>
                  <a:pt x="3948" y="204"/>
                </a:moveTo>
                <a:lnTo>
                  <a:pt x="3944" y="203"/>
                </a:lnTo>
                <a:lnTo>
                  <a:pt x="3946" y="204"/>
                </a:lnTo>
                <a:lnTo>
                  <a:pt x="3948" y="204"/>
                </a:lnTo>
                <a:close/>
                <a:moveTo>
                  <a:pt x="1538" y="2451"/>
                </a:moveTo>
                <a:lnTo>
                  <a:pt x="1537" y="2451"/>
                </a:lnTo>
                <a:lnTo>
                  <a:pt x="1537" y="2452"/>
                </a:lnTo>
                <a:lnTo>
                  <a:pt x="1538" y="2451"/>
                </a:lnTo>
                <a:lnTo>
                  <a:pt x="1538" y="2451"/>
                </a:lnTo>
                <a:lnTo>
                  <a:pt x="1538" y="2451"/>
                </a:lnTo>
                <a:lnTo>
                  <a:pt x="1538" y="2451"/>
                </a:lnTo>
                <a:close/>
                <a:moveTo>
                  <a:pt x="3941" y="115"/>
                </a:moveTo>
                <a:lnTo>
                  <a:pt x="3939" y="116"/>
                </a:lnTo>
                <a:lnTo>
                  <a:pt x="3951" y="117"/>
                </a:lnTo>
                <a:lnTo>
                  <a:pt x="3951" y="117"/>
                </a:lnTo>
                <a:lnTo>
                  <a:pt x="3960" y="122"/>
                </a:lnTo>
                <a:lnTo>
                  <a:pt x="3948" y="122"/>
                </a:lnTo>
                <a:lnTo>
                  <a:pt x="3973" y="128"/>
                </a:lnTo>
                <a:lnTo>
                  <a:pt x="3988" y="121"/>
                </a:lnTo>
                <a:lnTo>
                  <a:pt x="4022" y="118"/>
                </a:lnTo>
                <a:lnTo>
                  <a:pt x="4027" y="117"/>
                </a:lnTo>
                <a:lnTo>
                  <a:pt x="4024" y="115"/>
                </a:lnTo>
                <a:lnTo>
                  <a:pt x="4022" y="108"/>
                </a:lnTo>
                <a:lnTo>
                  <a:pt x="4021" y="107"/>
                </a:lnTo>
                <a:lnTo>
                  <a:pt x="4022" y="102"/>
                </a:lnTo>
                <a:lnTo>
                  <a:pt x="4036" y="100"/>
                </a:lnTo>
                <a:lnTo>
                  <a:pt x="4017" y="93"/>
                </a:lnTo>
                <a:lnTo>
                  <a:pt x="4003" y="81"/>
                </a:lnTo>
                <a:lnTo>
                  <a:pt x="3994" y="81"/>
                </a:lnTo>
                <a:lnTo>
                  <a:pt x="3993" y="83"/>
                </a:lnTo>
                <a:lnTo>
                  <a:pt x="3992" y="85"/>
                </a:lnTo>
                <a:lnTo>
                  <a:pt x="4000" y="85"/>
                </a:lnTo>
                <a:lnTo>
                  <a:pt x="3963" y="92"/>
                </a:lnTo>
                <a:lnTo>
                  <a:pt x="3964" y="94"/>
                </a:lnTo>
                <a:lnTo>
                  <a:pt x="3958" y="96"/>
                </a:lnTo>
                <a:lnTo>
                  <a:pt x="3954" y="99"/>
                </a:lnTo>
                <a:lnTo>
                  <a:pt x="3960" y="98"/>
                </a:lnTo>
                <a:lnTo>
                  <a:pt x="3966" y="96"/>
                </a:lnTo>
                <a:lnTo>
                  <a:pt x="3960" y="104"/>
                </a:lnTo>
                <a:lnTo>
                  <a:pt x="3958" y="107"/>
                </a:lnTo>
                <a:lnTo>
                  <a:pt x="3945" y="112"/>
                </a:lnTo>
                <a:lnTo>
                  <a:pt x="3957" y="114"/>
                </a:lnTo>
                <a:lnTo>
                  <a:pt x="3944" y="114"/>
                </a:lnTo>
                <a:lnTo>
                  <a:pt x="3941" y="115"/>
                </a:lnTo>
                <a:close/>
                <a:moveTo>
                  <a:pt x="3902" y="220"/>
                </a:moveTo>
                <a:lnTo>
                  <a:pt x="3899" y="220"/>
                </a:lnTo>
                <a:lnTo>
                  <a:pt x="3901" y="224"/>
                </a:lnTo>
                <a:lnTo>
                  <a:pt x="3902" y="220"/>
                </a:lnTo>
                <a:close/>
                <a:moveTo>
                  <a:pt x="1900" y="1721"/>
                </a:moveTo>
                <a:lnTo>
                  <a:pt x="1900" y="1721"/>
                </a:lnTo>
                <a:lnTo>
                  <a:pt x="1900" y="1720"/>
                </a:lnTo>
                <a:lnTo>
                  <a:pt x="1900" y="1719"/>
                </a:lnTo>
                <a:lnTo>
                  <a:pt x="1900" y="1719"/>
                </a:lnTo>
                <a:lnTo>
                  <a:pt x="1900" y="1721"/>
                </a:lnTo>
                <a:close/>
                <a:moveTo>
                  <a:pt x="3876" y="287"/>
                </a:moveTo>
                <a:lnTo>
                  <a:pt x="3875" y="285"/>
                </a:lnTo>
                <a:lnTo>
                  <a:pt x="3865" y="288"/>
                </a:lnTo>
                <a:lnTo>
                  <a:pt x="3872" y="290"/>
                </a:lnTo>
                <a:lnTo>
                  <a:pt x="3871" y="288"/>
                </a:lnTo>
                <a:lnTo>
                  <a:pt x="3874" y="287"/>
                </a:lnTo>
                <a:lnTo>
                  <a:pt x="3876" y="287"/>
                </a:lnTo>
                <a:close/>
                <a:moveTo>
                  <a:pt x="3919" y="88"/>
                </a:moveTo>
                <a:lnTo>
                  <a:pt x="3927" y="88"/>
                </a:lnTo>
                <a:lnTo>
                  <a:pt x="3934" y="89"/>
                </a:lnTo>
                <a:lnTo>
                  <a:pt x="3938" y="87"/>
                </a:lnTo>
                <a:lnTo>
                  <a:pt x="3942" y="85"/>
                </a:lnTo>
                <a:lnTo>
                  <a:pt x="3938" y="84"/>
                </a:lnTo>
                <a:lnTo>
                  <a:pt x="3934" y="82"/>
                </a:lnTo>
                <a:lnTo>
                  <a:pt x="3916" y="84"/>
                </a:lnTo>
                <a:lnTo>
                  <a:pt x="3918" y="86"/>
                </a:lnTo>
                <a:lnTo>
                  <a:pt x="3919" y="88"/>
                </a:lnTo>
                <a:close/>
                <a:moveTo>
                  <a:pt x="3913" y="216"/>
                </a:moveTo>
                <a:lnTo>
                  <a:pt x="3908" y="214"/>
                </a:lnTo>
                <a:lnTo>
                  <a:pt x="3906" y="216"/>
                </a:lnTo>
                <a:lnTo>
                  <a:pt x="3908" y="219"/>
                </a:lnTo>
                <a:lnTo>
                  <a:pt x="3913" y="216"/>
                </a:lnTo>
                <a:close/>
                <a:moveTo>
                  <a:pt x="1900" y="1719"/>
                </a:moveTo>
                <a:lnTo>
                  <a:pt x="1900" y="1719"/>
                </a:lnTo>
                <a:lnTo>
                  <a:pt x="1900" y="1719"/>
                </a:lnTo>
                <a:lnTo>
                  <a:pt x="1900" y="1719"/>
                </a:lnTo>
                <a:close/>
                <a:moveTo>
                  <a:pt x="4029" y="237"/>
                </a:moveTo>
                <a:lnTo>
                  <a:pt x="4029" y="237"/>
                </a:lnTo>
                <a:lnTo>
                  <a:pt x="4029" y="235"/>
                </a:lnTo>
                <a:lnTo>
                  <a:pt x="4028" y="232"/>
                </a:lnTo>
                <a:lnTo>
                  <a:pt x="4026" y="235"/>
                </a:lnTo>
                <a:lnTo>
                  <a:pt x="4029" y="237"/>
                </a:lnTo>
                <a:close/>
                <a:moveTo>
                  <a:pt x="1870" y="1698"/>
                </a:moveTo>
                <a:lnTo>
                  <a:pt x="1871" y="1697"/>
                </a:lnTo>
                <a:lnTo>
                  <a:pt x="1871" y="1696"/>
                </a:lnTo>
                <a:lnTo>
                  <a:pt x="1870" y="1696"/>
                </a:lnTo>
                <a:lnTo>
                  <a:pt x="1869" y="1698"/>
                </a:lnTo>
                <a:lnTo>
                  <a:pt x="1870" y="1697"/>
                </a:lnTo>
                <a:lnTo>
                  <a:pt x="1870" y="1698"/>
                </a:lnTo>
                <a:close/>
                <a:moveTo>
                  <a:pt x="3988" y="249"/>
                </a:moveTo>
                <a:lnTo>
                  <a:pt x="3992" y="247"/>
                </a:lnTo>
                <a:lnTo>
                  <a:pt x="3987" y="247"/>
                </a:lnTo>
                <a:lnTo>
                  <a:pt x="3988" y="249"/>
                </a:lnTo>
                <a:close/>
                <a:moveTo>
                  <a:pt x="1533" y="2501"/>
                </a:moveTo>
                <a:lnTo>
                  <a:pt x="1531" y="2500"/>
                </a:lnTo>
                <a:lnTo>
                  <a:pt x="1530" y="2501"/>
                </a:lnTo>
                <a:lnTo>
                  <a:pt x="1530" y="2493"/>
                </a:lnTo>
                <a:lnTo>
                  <a:pt x="1530" y="2484"/>
                </a:lnTo>
                <a:lnTo>
                  <a:pt x="1530" y="2483"/>
                </a:lnTo>
                <a:lnTo>
                  <a:pt x="1526" y="2483"/>
                </a:lnTo>
                <a:lnTo>
                  <a:pt x="1524" y="2486"/>
                </a:lnTo>
                <a:lnTo>
                  <a:pt x="1527" y="2489"/>
                </a:lnTo>
                <a:lnTo>
                  <a:pt x="1526" y="2492"/>
                </a:lnTo>
                <a:lnTo>
                  <a:pt x="1526" y="2489"/>
                </a:lnTo>
                <a:lnTo>
                  <a:pt x="1524" y="2487"/>
                </a:lnTo>
                <a:lnTo>
                  <a:pt x="1523" y="2487"/>
                </a:lnTo>
                <a:lnTo>
                  <a:pt x="1520" y="2489"/>
                </a:lnTo>
                <a:lnTo>
                  <a:pt x="1525" y="2492"/>
                </a:lnTo>
                <a:lnTo>
                  <a:pt x="1525" y="2493"/>
                </a:lnTo>
                <a:lnTo>
                  <a:pt x="1522" y="2492"/>
                </a:lnTo>
                <a:lnTo>
                  <a:pt x="1522" y="2494"/>
                </a:lnTo>
                <a:lnTo>
                  <a:pt x="1519" y="2495"/>
                </a:lnTo>
                <a:lnTo>
                  <a:pt x="1514" y="2495"/>
                </a:lnTo>
                <a:lnTo>
                  <a:pt x="1514" y="2499"/>
                </a:lnTo>
                <a:lnTo>
                  <a:pt x="1520" y="2499"/>
                </a:lnTo>
                <a:lnTo>
                  <a:pt x="1519" y="2503"/>
                </a:lnTo>
                <a:lnTo>
                  <a:pt x="1514" y="2503"/>
                </a:lnTo>
                <a:lnTo>
                  <a:pt x="1514" y="2507"/>
                </a:lnTo>
                <a:lnTo>
                  <a:pt x="1517" y="2507"/>
                </a:lnTo>
                <a:lnTo>
                  <a:pt x="1522" y="2507"/>
                </a:lnTo>
                <a:lnTo>
                  <a:pt x="1522" y="2505"/>
                </a:lnTo>
                <a:lnTo>
                  <a:pt x="1526" y="2504"/>
                </a:lnTo>
                <a:lnTo>
                  <a:pt x="1526" y="2507"/>
                </a:lnTo>
                <a:lnTo>
                  <a:pt x="1526" y="2507"/>
                </a:lnTo>
                <a:lnTo>
                  <a:pt x="1526" y="2509"/>
                </a:lnTo>
                <a:lnTo>
                  <a:pt x="1531" y="2506"/>
                </a:lnTo>
                <a:lnTo>
                  <a:pt x="1533" y="2501"/>
                </a:lnTo>
                <a:lnTo>
                  <a:pt x="1533" y="2501"/>
                </a:lnTo>
                <a:lnTo>
                  <a:pt x="1533" y="2501"/>
                </a:lnTo>
                <a:close/>
                <a:moveTo>
                  <a:pt x="1531" y="2500"/>
                </a:moveTo>
                <a:lnTo>
                  <a:pt x="1534" y="2498"/>
                </a:lnTo>
                <a:lnTo>
                  <a:pt x="1533" y="2497"/>
                </a:lnTo>
                <a:lnTo>
                  <a:pt x="1531" y="2497"/>
                </a:lnTo>
                <a:lnTo>
                  <a:pt x="1531" y="2500"/>
                </a:lnTo>
                <a:close/>
                <a:moveTo>
                  <a:pt x="3992" y="249"/>
                </a:moveTo>
                <a:lnTo>
                  <a:pt x="3992" y="251"/>
                </a:lnTo>
                <a:lnTo>
                  <a:pt x="3994" y="251"/>
                </a:lnTo>
                <a:lnTo>
                  <a:pt x="3992" y="249"/>
                </a:lnTo>
                <a:close/>
                <a:moveTo>
                  <a:pt x="4013" y="219"/>
                </a:moveTo>
                <a:lnTo>
                  <a:pt x="3995" y="226"/>
                </a:lnTo>
                <a:lnTo>
                  <a:pt x="4008" y="226"/>
                </a:lnTo>
                <a:lnTo>
                  <a:pt x="4014" y="221"/>
                </a:lnTo>
                <a:lnTo>
                  <a:pt x="4013" y="219"/>
                </a:lnTo>
                <a:close/>
                <a:moveTo>
                  <a:pt x="4010" y="235"/>
                </a:moveTo>
                <a:lnTo>
                  <a:pt x="4013" y="234"/>
                </a:lnTo>
                <a:lnTo>
                  <a:pt x="4006" y="235"/>
                </a:lnTo>
                <a:lnTo>
                  <a:pt x="4010" y="235"/>
                </a:lnTo>
                <a:close/>
                <a:moveTo>
                  <a:pt x="3988" y="235"/>
                </a:moveTo>
                <a:lnTo>
                  <a:pt x="3993" y="235"/>
                </a:lnTo>
                <a:lnTo>
                  <a:pt x="3998" y="234"/>
                </a:lnTo>
                <a:lnTo>
                  <a:pt x="3994" y="232"/>
                </a:lnTo>
                <a:lnTo>
                  <a:pt x="3988" y="235"/>
                </a:lnTo>
                <a:close/>
                <a:moveTo>
                  <a:pt x="1968" y="1736"/>
                </a:moveTo>
                <a:lnTo>
                  <a:pt x="1969" y="1733"/>
                </a:lnTo>
                <a:lnTo>
                  <a:pt x="1968" y="1735"/>
                </a:lnTo>
                <a:lnTo>
                  <a:pt x="1968" y="1737"/>
                </a:lnTo>
                <a:lnTo>
                  <a:pt x="1968" y="1737"/>
                </a:lnTo>
                <a:lnTo>
                  <a:pt x="1968" y="1737"/>
                </a:lnTo>
                <a:lnTo>
                  <a:pt x="1969" y="1736"/>
                </a:lnTo>
                <a:lnTo>
                  <a:pt x="1969" y="1736"/>
                </a:lnTo>
                <a:lnTo>
                  <a:pt x="1968" y="1736"/>
                </a:lnTo>
                <a:close/>
                <a:moveTo>
                  <a:pt x="3945" y="138"/>
                </a:moveTo>
                <a:lnTo>
                  <a:pt x="3934" y="136"/>
                </a:lnTo>
                <a:lnTo>
                  <a:pt x="3942" y="138"/>
                </a:lnTo>
                <a:lnTo>
                  <a:pt x="3945" y="138"/>
                </a:lnTo>
                <a:close/>
                <a:moveTo>
                  <a:pt x="4008" y="251"/>
                </a:moveTo>
                <a:lnTo>
                  <a:pt x="4008" y="250"/>
                </a:lnTo>
                <a:lnTo>
                  <a:pt x="4012" y="250"/>
                </a:lnTo>
                <a:lnTo>
                  <a:pt x="4014" y="250"/>
                </a:lnTo>
                <a:lnTo>
                  <a:pt x="4014" y="250"/>
                </a:lnTo>
                <a:lnTo>
                  <a:pt x="4017" y="247"/>
                </a:lnTo>
                <a:lnTo>
                  <a:pt x="3998" y="246"/>
                </a:lnTo>
                <a:lnTo>
                  <a:pt x="3993" y="249"/>
                </a:lnTo>
                <a:lnTo>
                  <a:pt x="4008" y="253"/>
                </a:lnTo>
                <a:lnTo>
                  <a:pt x="4008" y="251"/>
                </a:lnTo>
                <a:close/>
                <a:moveTo>
                  <a:pt x="3966" y="254"/>
                </a:moveTo>
                <a:lnTo>
                  <a:pt x="3968" y="253"/>
                </a:lnTo>
                <a:lnTo>
                  <a:pt x="3966" y="253"/>
                </a:lnTo>
                <a:lnTo>
                  <a:pt x="3966" y="253"/>
                </a:lnTo>
                <a:lnTo>
                  <a:pt x="3966" y="254"/>
                </a:lnTo>
                <a:close/>
                <a:moveTo>
                  <a:pt x="3975" y="238"/>
                </a:moveTo>
                <a:lnTo>
                  <a:pt x="3983" y="238"/>
                </a:lnTo>
                <a:lnTo>
                  <a:pt x="3977" y="236"/>
                </a:lnTo>
                <a:lnTo>
                  <a:pt x="3975" y="238"/>
                </a:lnTo>
                <a:close/>
                <a:moveTo>
                  <a:pt x="1534" y="2477"/>
                </a:moveTo>
                <a:lnTo>
                  <a:pt x="1535" y="2477"/>
                </a:lnTo>
                <a:lnTo>
                  <a:pt x="1531" y="2477"/>
                </a:lnTo>
                <a:lnTo>
                  <a:pt x="1531" y="2478"/>
                </a:lnTo>
                <a:lnTo>
                  <a:pt x="1533" y="2477"/>
                </a:lnTo>
                <a:lnTo>
                  <a:pt x="1533" y="2477"/>
                </a:lnTo>
                <a:lnTo>
                  <a:pt x="1534" y="2477"/>
                </a:lnTo>
                <a:close/>
                <a:moveTo>
                  <a:pt x="4021" y="246"/>
                </a:moveTo>
                <a:lnTo>
                  <a:pt x="4018" y="243"/>
                </a:lnTo>
                <a:lnTo>
                  <a:pt x="4017" y="249"/>
                </a:lnTo>
                <a:lnTo>
                  <a:pt x="4018" y="251"/>
                </a:lnTo>
                <a:lnTo>
                  <a:pt x="4021" y="246"/>
                </a:lnTo>
                <a:close/>
                <a:moveTo>
                  <a:pt x="1552" y="1367"/>
                </a:moveTo>
                <a:lnTo>
                  <a:pt x="1551" y="1367"/>
                </a:lnTo>
                <a:lnTo>
                  <a:pt x="1551" y="1370"/>
                </a:lnTo>
                <a:lnTo>
                  <a:pt x="1552" y="1367"/>
                </a:lnTo>
                <a:close/>
                <a:moveTo>
                  <a:pt x="3402" y="80"/>
                </a:moveTo>
                <a:lnTo>
                  <a:pt x="3398" y="79"/>
                </a:lnTo>
                <a:lnTo>
                  <a:pt x="3399" y="80"/>
                </a:lnTo>
                <a:lnTo>
                  <a:pt x="3402" y="80"/>
                </a:lnTo>
                <a:close/>
                <a:moveTo>
                  <a:pt x="1543" y="1412"/>
                </a:moveTo>
                <a:lnTo>
                  <a:pt x="1542" y="1412"/>
                </a:lnTo>
                <a:lnTo>
                  <a:pt x="1543" y="1414"/>
                </a:lnTo>
                <a:lnTo>
                  <a:pt x="1543" y="1412"/>
                </a:lnTo>
                <a:close/>
                <a:moveTo>
                  <a:pt x="3434" y="96"/>
                </a:moveTo>
                <a:lnTo>
                  <a:pt x="3439" y="102"/>
                </a:lnTo>
                <a:lnTo>
                  <a:pt x="3451" y="99"/>
                </a:lnTo>
                <a:lnTo>
                  <a:pt x="3426" y="89"/>
                </a:lnTo>
                <a:lnTo>
                  <a:pt x="3418" y="91"/>
                </a:lnTo>
                <a:lnTo>
                  <a:pt x="3406" y="88"/>
                </a:lnTo>
                <a:lnTo>
                  <a:pt x="3402" y="91"/>
                </a:lnTo>
                <a:lnTo>
                  <a:pt x="3434" y="96"/>
                </a:lnTo>
                <a:close/>
                <a:moveTo>
                  <a:pt x="1597" y="1038"/>
                </a:moveTo>
                <a:lnTo>
                  <a:pt x="1596" y="1041"/>
                </a:lnTo>
                <a:lnTo>
                  <a:pt x="1599" y="1041"/>
                </a:lnTo>
                <a:lnTo>
                  <a:pt x="1597" y="1038"/>
                </a:lnTo>
                <a:close/>
                <a:moveTo>
                  <a:pt x="3420" y="81"/>
                </a:moveTo>
                <a:lnTo>
                  <a:pt x="3418" y="82"/>
                </a:lnTo>
                <a:lnTo>
                  <a:pt x="3432" y="85"/>
                </a:lnTo>
                <a:lnTo>
                  <a:pt x="3451" y="80"/>
                </a:lnTo>
                <a:lnTo>
                  <a:pt x="3429" y="77"/>
                </a:lnTo>
                <a:lnTo>
                  <a:pt x="3434" y="82"/>
                </a:lnTo>
                <a:lnTo>
                  <a:pt x="3420" y="81"/>
                </a:lnTo>
                <a:lnTo>
                  <a:pt x="3420" y="81"/>
                </a:lnTo>
                <a:lnTo>
                  <a:pt x="3420" y="81"/>
                </a:lnTo>
                <a:close/>
                <a:moveTo>
                  <a:pt x="3420" y="81"/>
                </a:moveTo>
                <a:lnTo>
                  <a:pt x="3417" y="81"/>
                </a:lnTo>
                <a:lnTo>
                  <a:pt x="3420" y="81"/>
                </a:lnTo>
                <a:lnTo>
                  <a:pt x="3420" y="81"/>
                </a:lnTo>
                <a:close/>
                <a:moveTo>
                  <a:pt x="1595" y="1026"/>
                </a:moveTo>
                <a:lnTo>
                  <a:pt x="1599" y="1030"/>
                </a:lnTo>
                <a:lnTo>
                  <a:pt x="1597" y="1026"/>
                </a:lnTo>
                <a:lnTo>
                  <a:pt x="1595" y="1026"/>
                </a:lnTo>
                <a:close/>
                <a:moveTo>
                  <a:pt x="1565" y="1361"/>
                </a:moveTo>
                <a:lnTo>
                  <a:pt x="1569" y="1365"/>
                </a:lnTo>
                <a:lnTo>
                  <a:pt x="1566" y="1361"/>
                </a:lnTo>
                <a:lnTo>
                  <a:pt x="1565" y="1361"/>
                </a:lnTo>
                <a:close/>
                <a:moveTo>
                  <a:pt x="1571" y="1366"/>
                </a:moveTo>
                <a:lnTo>
                  <a:pt x="1570" y="1365"/>
                </a:lnTo>
                <a:lnTo>
                  <a:pt x="1569" y="1365"/>
                </a:lnTo>
                <a:lnTo>
                  <a:pt x="1569" y="1366"/>
                </a:lnTo>
                <a:lnTo>
                  <a:pt x="1571" y="1366"/>
                </a:lnTo>
                <a:close/>
                <a:moveTo>
                  <a:pt x="3462" y="76"/>
                </a:moveTo>
                <a:lnTo>
                  <a:pt x="3451" y="71"/>
                </a:lnTo>
                <a:lnTo>
                  <a:pt x="3437" y="74"/>
                </a:lnTo>
                <a:lnTo>
                  <a:pt x="3455" y="77"/>
                </a:lnTo>
                <a:lnTo>
                  <a:pt x="3462" y="76"/>
                </a:lnTo>
                <a:close/>
                <a:moveTo>
                  <a:pt x="1550" y="1406"/>
                </a:moveTo>
                <a:lnTo>
                  <a:pt x="1549" y="1408"/>
                </a:lnTo>
                <a:lnTo>
                  <a:pt x="1555" y="1412"/>
                </a:lnTo>
                <a:lnTo>
                  <a:pt x="1555" y="1408"/>
                </a:lnTo>
                <a:lnTo>
                  <a:pt x="1550" y="1406"/>
                </a:lnTo>
                <a:close/>
                <a:moveTo>
                  <a:pt x="3385" y="107"/>
                </a:moveTo>
                <a:lnTo>
                  <a:pt x="3390" y="107"/>
                </a:lnTo>
                <a:lnTo>
                  <a:pt x="3387" y="104"/>
                </a:lnTo>
                <a:lnTo>
                  <a:pt x="3383" y="104"/>
                </a:lnTo>
                <a:lnTo>
                  <a:pt x="3387" y="105"/>
                </a:lnTo>
                <a:lnTo>
                  <a:pt x="3385" y="107"/>
                </a:lnTo>
                <a:close/>
                <a:moveTo>
                  <a:pt x="3399" y="112"/>
                </a:moveTo>
                <a:lnTo>
                  <a:pt x="3402" y="108"/>
                </a:lnTo>
                <a:lnTo>
                  <a:pt x="3398" y="107"/>
                </a:lnTo>
                <a:lnTo>
                  <a:pt x="3401" y="105"/>
                </a:lnTo>
                <a:lnTo>
                  <a:pt x="3395" y="104"/>
                </a:lnTo>
                <a:lnTo>
                  <a:pt x="3394" y="105"/>
                </a:lnTo>
                <a:lnTo>
                  <a:pt x="3395" y="107"/>
                </a:lnTo>
                <a:lnTo>
                  <a:pt x="3392" y="108"/>
                </a:lnTo>
                <a:lnTo>
                  <a:pt x="3399" y="112"/>
                </a:lnTo>
                <a:close/>
                <a:moveTo>
                  <a:pt x="3409" y="100"/>
                </a:moveTo>
                <a:lnTo>
                  <a:pt x="3425" y="96"/>
                </a:lnTo>
                <a:lnTo>
                  <a:pt x="3413" y="94"/>
                </a:lnTo>
                <a:lnTo>
                  <a:pt x="3395" y="96"/>
                </a:lnTo>
                <a:lnTo>
                  <a:pt x="3402" y="98"/>
                </a:lnTo>
                <a:lnTo>
                  <a:pt x="3409" y="100"/>
                </a:lnTo>
                <a:close/>
                <a:moveTo>
                  <a:pt x="3380" y="120"/>
                </a:moveTo>
                <a:lnTo>
                  <a:pt x="3388" y="120"/>
                </a:lnTo>
                <a:lnTo>
                  <a:pt x="3394" y="118"/>
                </a:lnTo>
                <a:lnTo>
                  <a:pt x="3387" y="114"/>
                </a:lnTo>
                <a:lnTo>
                  <a:pt x="3380" y="114"/>
                </a:lnTo>
                <a:lnTo>
                  <a:pt x="3369" y="118"/>
                </a:lnTo>
                <a:lnTo>
                  <a:pt x="3373" y="120"/>
                </a:lnTo>
                <a:lnTo>
                  <a:pt x="3380" y="120"/>
                </a:lnTo>
                <a:close/>
                <a:moveTo>
                  <a:pt x="1591" y="1038"/>
                </a:moveTo>
                <a:lnTo>
                  <a:pt x="1585" y="1038"/>
                </a:lnTo>
                <a:lnTo>
                  <a:pt x="1591" y="1038"/>
                </a:lnTo>
                <a:lnTo>
                  <a:pt x="1591" y="1038"/>
                </a:lnTo>
                <a:close/>
                <a:moveTo>
                  <a:pt x="3439" y="86"/>
                </a:moveTo>
                <a:lnTo>
                  <a:pt x="3447" y="88"/>
                </a:lnTo>
                <a:lnTo>
                  <a:pt x="3451" y="87"/>
                </a:lnTo>
                <a:lnTo>
                  <a:pt x="3455" y="85"/>
                </a:lnTo>
                <a:lnTo>
                  <a:pt x="3440" y="85"/>
                </a:lnTo>
                <a:lnTo>
                  <a:pt x="3439" y="86"/>
                </a:lnTo>
                <a:close/>
                <a:moveTo>
                  <a:pt x="3448" y="96"/>
                </a:moveTo>
                <a:lnTo>
                  <a:pt x="3459" y="94"/>
                </a:lnTo>
                <a:lnTo>
                  <a:pt x="3447" y="89"/>
                </a:lnTo>
                <a:lnTo>
                  <a:pt x="3426" y="88"/>
                </a:lnTo>
                <a:lnTo>
                  <a:pt x="3448" y="96"/>
                </a:lnTo>
                <a:close/>
                <a:moveTo>
                  <a:pt x="1327" y="1234"/>
                </a:moveTo>
                <a:lnTo>
                  <a:pt x="1324" y="1232"/>
                </a:lnTo>
                <a:lnTo>
                  <a:pt x="1324" y="1237"/>
                </a:lnTo>
                <a:lnTo>
                  <a:pt x="1327" y="1234"/>
                </a:lnTo>
                <a:close/>
                <a:moveTo>
                  <a:pt x="1278" y="1241"/>
                </a:moveTo>
                <a:lnTo>
                  <a:pt x="1282" y="1242"/>
                </a:lnTo>
                <a:lnTo>
                  <a:pt x="1283" y="1241"/>
                </a:lnTo>
                <a:lnTo>
                  <a:pt x="1280" y="1238"/>
                </a:lnTo>
                <a:lnTo>
                  <a:pt x="1278" y="1241"/>
                </a:lnTo>
                <a:close/>
                <a:moveTo>
                  <a:pt x="3451" y="89"/>
                </a:moveTo>
                <a:lnTo>
                  <a:pt x="3460" y="93"/>
                </a:lnTo>
                <a:lnTo>
                  <a:pt x="3466" y="91"/>
                </a:lnTo>
                <a:lnTo>
                  <a:pt x="3455" y="88"/>
                </a:lnTo>
                <a:lnTo>
                  <a:pt x="3451" y="89"/>
                </a:lnTo>
                <a:close/>
                <a:moveTo>
                  <a:pt x="3469" y="78"/>
                </a:moveTo>
                <a:lnTo>
                  <a:pt x="3460" y="81"/>
                </a:lnTo>
                <a:lnTo>
                  <a:pt x="3475" y="81"/>
                </a:lnTo>
                <a:lnTo>
                  <a:pt x="3469" y="78"/>
                </a:lnTo>
                <a:close/>
                <a:moveTo>
                  <a:pt x="3471" y="96"/>
                </a:moveTo>
                <a:lnTo>
                  <a:pt x="3466" y="94"/>
                </a:lnTo>
                <a:lnTo>
                  <a:pt x="3454" y="97"/>
                </a:lnTo>
                <a:lnTo>
                  <a:pt x="3451" y="97"/>
                </a:lnTo>
                <a:lnTo>
                  <a:pt x="3462" y="100"/>
                </a:lnTo>
                <a:lnTo>
                  <a:pt x="3471" y="96"/>
                </a:lnTo>
                <a:close/>
                <a:moveTo>
                  <a:pt x="3418" y="116"/>
                </a:moveTo>
                <a:lnTo>
                  <a:pt x="3415" y="114"/>
                </a:lnTo>
                <a:lnTo>
                  <a:pt x="3409" y="117"/>
                </a:lnTo>
                <a:lnTo>
                  <a:pt x="3413" y="119"/>
                </a:lnTo>
                <a:lnTo>
                  <a:pt x="3418" y="116"/>
                </a:lnTo>
                <a:close/>
                <a:moveTo>
                  <a:pt x="1354" y="1381"/>
                </a:moveTo>
                <a:lnTo>
                  <a:pt x="1353" y="1381"/>
                </a:lnTo>
                <a:lnTo>
                  <a:pt x="1351" y="1386"/>
                </a:lnTo>
                <a:lnTo>
                  <a:pt x="1354" y="1381"/>
                </a:lnTo>
                <a:close/>
                <a:moveTo>
                  <a:pt x="3478" y="126"/>
                </a:moveTo>
                <a:lnTo>
                  <a:pt x="3475" y="126"/>
                </a:lnTo>
                <a:lnTo>
                  <a:pt x="3466" y="128"/>
                </a:lnTo>
                <a:lnTo>
                  <a:pt x="3473" y="129"/>
                </a:lnTo>
                <a:lnTo>
                  <a:pt x="3478" y="127"/>
                </a:lnTo>
                <a:lnTo>
                  <a:pt x="3478" y="126"/>
                </a:lnTo>
                <a:close/>
                <a:moveTo>
                  <a:pt x="3472" y="66"/>
                </a:moveTo>
                <a:lnTo>
                  <a:pt x="3475" y="62"/>
                </a:lnTo>
                <a:lnTo>
                  <a:pt x="3455" y="64"/>
                </a:lnTo>
                <a:lnTo>
                  <a:pt x="3451" y="69"/>
                </a:lnTo>
                <a:lnTo>
                  <a:pt x="3455" y="69"/>
                </a:lnTo>
                <a:lnTo>
                  <a:pt x="3472" y="66"/>
                </a:lnTo>
                <a:close/>
                <a:moveTo>
                  <a:pt x="3467" y="257"/>
                </a:moveTo>
                <a:lnTo>
                  <a:pt x="3466" y="258"/>
                </a:lnTo>
                <a:lnTo>
                  <a:pt x="3474" y="255"/>
                </a:lnTo>
                <a:lnTo>
                  <a:pt x="3474" y="255"/>
                </a:lnTo>
                <a:lnTo>
                  <a:pt x="3467" y="257"/>
                </a:lnTo>
                <a:close/>
                <a:moveTo>
                  <a:pt x="1360" y="1444"/>
                </a:moveTo>
                <a:lnTo>
                  <a:pt x="1358" y="1444"/>
                </a:lnTo>
                <a:lnTo>
                  <a:pt x="1354" y="1445"/>
                </a:lnTo>
                <a:lnTo>
                  <a:pt x="1360" y="1444"/>
                </a:lnTo>
                <a:close/>
                <a:moveTo>
                  <a:pt x="3466" y="69"/>
                </a:moveTo>
                <a:lnTo>
                  <a:pt x="3459" y="69"/>
                </a:lnTo>
                <a:lnTo>
                  <a:pt x="3458" y="71"/>
                </a:lnTo>
                <a:lnTo>
                  <a:pt x="3466" y="69"/>
                </a:lnTo>
                <a:close/>
                <a:moveTo>
                  <a:pt x="3474" y="257"/>
                </a:moveTo>
                <a:lnTo>
                  <a:pt x="3469" y="258"/>
                </a:lnTo>
                <a:lnTo>
                  <a:pt x="3471" y="258"/>
                </a:lnTo>
                <a:lnTo>
                  <a:pt x="3474" y="257"/>
                </a:lnTo>
                <a:close/>
                <a:moveTo>
                  <a:pt x="3442" y="105"/>
                </a:moveTo>
                <a:lnTo>
                  <a:pt x="3451" y="108"/>
                </a:lnTo>
                <a:lnTo>
                  <a:pt x="3455" y="105"/>
                </a:lnTo>
                <a:lnTo>
                  <a:pt x="3444" y="105"/>
                </a:lnTo>
                <a:lnTo>
                  <a:pt x="3442" y="105"/>
                </a:lnTo>
                <a:close/>
                <a:moveTo>
                  <a:pt x="1484" y="1355"/>
                </a:moveTo>
                <a:lnTo>
                  <a:pt x="1483" y="1355"/>
                </a:lnTo>
                <a:lnTo>
                  <a:pt x="1481" y="1357"/>
                </a:lnTo>
                <a:lnTo>
                  <a:pt x="1483" y="1357"/>
                </a:lnTo>
                <a:lnTo>
                  <a:pt x="1484" y="1357"/>
                </a:lnTo>
                <a:lnTo>
                  <a:pt x="1484" y="1355"/>
                </a:lnTo>
                <a:close/>
                <a:moveTo>
                  <a:pt x="1503" y="1315"/>
                </a:moveTo>
                <a:lnTo>
                  <a:pt x="1507" y="1318"/>
                </a:lnTo>
                <a:lnTo>
                  <a:pt x="1507" y="1310"/>
                </a:lnTo>
                <a:lnTo>
                  <a:pt x="1504" y="1315"/>
                </a:lnTo>
                <a:lnTo>
                  <a:pt x="1503" y="1315"/>
                </a:lnTo>
                <a:close/>
                <a:moveTo>
                  <a:pt x="1477" y="1351"/>
                </a:moveTo>
                <a:lnTo>
                  <a:pt x="1483" y="1355"/>
                </a:lnTo>
                <a:lnTo>
                  <a:pt x="1481" y="1351"/>
                </a:lnTo>
                <a:lnTo>
                  <a:pt x="1477" y="1351"/>
                </a:lnTo>
                <a:close/>
                <a:moveTo>
                  <a:pt x="1469" y="1289"/>
                </a:moveTo>
                <a:lnTo>
                  <a:pt x="1466" y="1287"/>
                </a:lnTo>
                <a:lnTo>
                  <a:pt x="1470" y="1289"/>
                </a:lnTo>
                <a:lnTo>
                  <a:pt x="1471" y="1290"/>
                </a:lnTo>
                <a:lnTo>
                  <a:pt x="1482" y="1290"/>
                </a:lnTo>
                <a:lnTo>
                  <a:pt x="1481" y="1289"/>
                </a:lnTo>
                <a:lnTo>
                  <a:pt x="1469" y="1289"/>
                </a:lnTo>
                <a:close/>
                <a:moveTo>
                  <a:pt x="1543" y="1372"/>
                </a:moveTo>
                <a:lnTo>
                  <a:pt x="1538" y="1376"/>
                </a:lnTo>
                <a:lnTo>
                  <a:pt x="1538" y="1377"/>
                </a:lnTo>
                <a:lnTo>
                  <a:pt x="1547" y="1376"/>
                </a:lnTo>
                <a:lnTo>
                  <a:pt x="1550" y="1371"/>
                </a:lnTo>
                <a:lnTo>
                  <a:pt x="1547" y="1374"/>
                </a:lnTo>
                <a:lnTo>
                  <a:pt x="1543" y="1372"/>
                </a:lnTo>
                <a:close/>
                <a:moveTo>
                  <a:pt x="1499" y="1305"/>
                </a:moveTo>
                <a:lnTo>
                  <a:pt x="1500" y="1306"/>
                </a:lnTo>
                <a:lnTo>
                  <a:pt x="1497" y="1303"/>
                </a:lnTo>
                <a:lnTo>
                  <a:pt x="1499" y="1305"/>
                </a:lnTo>
                <a:close/>
                <a:moveTo>
                  <a:pt x="1472" y="1350"/>
                </a:moveTo>
                <a:lnTo>
                  <a:pt x="1476" y="1351"/>
                </a:lnTo>
                <a:lnTo>
                  <a:pt x="1477" y="1351"/>
                </a:lnTo>
                <a:lnTo>
                  <a:pt x="1476" y="1350"/>
                </a:lnTo>
                <a:lnTo>
                  <a:pt x="1472" y="1350"/>
                </a:lnTo>
                <a:close/>
                <a:moveTo>
                  <a:pt x="1474" y="1310"/>
                </a:moveTo>
                <a:lnTo>
                  <a:pt x="1474" y="1313"/>
                </a:lnTo>
                <a:lnTo>
                  <a:pt x="1474" y="1317"/>
                </a:lnTo>
                <a:lnTo>
                  <a:pt x="1474" y="1317"/>
                </a:lnTo>
                <a:lnTo>
                  <a:pt x="1473" y="1318"/>
                </a:lnTo>
                <a:lnTo>
                  <a:pt x="1474" y="1319"/>
                </a:lnTo>
                <a:lnTo>
                  <a:pt x="1474" y="1317"/>
                </a:lnTo>
                <a:lnTo>
                  <a:pt x="1476" y="1318"/>
                </a:lnTo>
                <a:lnTo>
                  <a:pt x="1475" y="1319"/>
                </a:lnTo>
                <a:lnTo>
                  <a:pt x="1474" y="1319"/>
                </a:lnTo>
                <a:lnTo>
                  <a:pt x="1474" y="1320"/>
                </a:lnTo>
                <a:lnTo>
                  <a:pt x="1475" y="1319"/>
                </a:lnTo>
                <a:lnTo>
                  <a:pt x="1480" y="1324"/>
                </a:lnTo>
                <a:lnTo>
                  <a:pt x="1482" y="1320"/>
                </a:lnTo>
                <a:lnTo>
                  <a:pt x="1481" y="1310"/>
                </a:lnTo>
                <a:lnTo>
                  <a:pt x="1474" y="1310"/>
                </a:lnTo>
                <a:close/>
                <a:moveTo>
                  <a:pt x="1484" y="1324"/>
                </a:moveTo>
                <a:lnTo>
                  <a:pt x="1482" y="1328"/>
                </a:lnTo>
                <a:lnTo>
                  <a:pt x="1482" y="1326"/>
                </a:lnTo>
                <a:lnTo>
                  <a:pt x="1482" y="1324"/>
                </a:lnTo>
                <a:lnTo>
                  <a:pt x="1482" y="1322"/>
                </a:lnTo>
                <a:lnTo>
                  <a:pt x="1480" y="1330"/>
                </a:lnTo>
                <a:lnTo>
                  <a:pt x="1483" y="1334"/>
                </a:lnTo>
                <a:lnTo>
                  <a:pt x="1486" y="1334"/>
                </a:lnTo>
                <a:lnTo>
                  <a:pt x="1486" y="1331"/>
                </a:lnTo>
                <a:lnTo>
                  <a:pt x="1486" y="1331"/>
                </a:lnTo>
                <a:lnTo>
                  <a:pt x="1486" y="1331"/>
                </a:lnTo>
                <a:lnTo>
                  <a:pt x="1486" y="1326"/>
                </a:lnTo>
                <a:lnTo>
                  <a:pt x="1484" y="1324"/>
                </a:lnTo>
                <a:close/>
                <a:moveTo>
                  <a:pt x="1489" y="1287"/>
                </a:moveTo>
                <a:lnTo>
                  <a:pt x="1492" y="1288"/>
                </a:lnTo>
                <a:lnTo>
                  <a:pt x="1492" y="1287"/>
                </a:lnTo>
                <a:lnTo>
                  <a:pt x="1489" y="1287"/>
                </a:lnTo>
                <a:close/>
                <a:moveTo>
                  <a:pt x="1407" y="1366"/>
                </a:moveTo>
                <a:lnTo>
                  <a:pt x="1409" y="1371"/>
                </a:lnTo>
                <a:lnTo>
                  <a:pt x="1410" y="1371"/>
                </a:lnTo>
                <a:lnTo>
                  <a:pt x="1417" y="1368"/>
                </a:lnTo>
                <a:lnTo>
                  <a:pt x="1414" y="1363"/>
                </a:lnTo>
                <a:lnTo>
                  <a:pt x="1410" y="1363"/>
                </a:lnTo>
                <a:lnTo>
                  <a:pt x="1409" y="1363"/>
                </a:lnTo>
                <a:lnTo>
                  <a:pt x="1410" y="1366"/>
                </a:lnTo>
                <a:lnTo>
                  <a:pt x="1409" y="1367"/>
                </a:lnTo>
                <a:lnTo>
                  <a:pt x="1407" y="1366"/>
                </a:lnTo>
                <a:close/>
                <a:moveTo>
                  <a:pt x="1488" y="1313"/>
                </a:moveTo>
                <a:lnTo>
                  <a:pt x="1491" y="1311"/>
                </a:lnTo>
                <a:lnTo>
                  <a:pt x="1486" y="1311"/>
                </a:lnTo>
                <a:lnTo>
                  <a:pt x="1488" y="1313"/>
                </a:lnTo>
                <a:close/>
                <a:moveTo>
                  <a:pt x="1491" y="1299"/>
                </a:moveTo>
                <a:lnTo>
                  <a:pt x="1491" y="1294"/>
                </a:lnTo>
                <a:lnTo>
                  <a:pt x="1488" y="1298"/>
                </a:lnTo>
                <a:lnTo>
                  <a:pt x="1491" y="1299"/>
                </a:lnTo>
                <a:close/>
                <a:moveTo>
                  <a:pt x="1487" y="1360"/>
                </a:moveTo>
                <a:lnTo>
                  <a:pt x="1487" y="1359"/>
                </a:lnTo>
                <a:lnTo>
                  <a:pt x="1483" y="1357"/>
                </a:lnTo>
                <a:lnTo>
                  <a:pt x="1487" y="1360"/>
                </a:lnTo>
                <a:close/>
                <a:moveTo>
                  <a:pt x="1491" y="1294"/>
                </a:moveTo>
                <a:lnTo>
                  <a:pt x="1494" y="1291"/>
                </a:lnTo>
                <a:lnTo>
                  <a:pt x="1494" y="1288"/>
                </a:lnTo>
                <a:lnTo>
                  <a:pt x="1492" y="1288"/>
                </a:lnTo>
                <a:lnTo>
                  <a:pt x="1491" y="1291"/>
                </a:lnTo>
                <a:lnTo>
                  <a:pt x="1491" y="1294"/>
                </a:lnTo>
                <a:close/>
                <a:moveTo>
                  <a:pt x="1500" y="1306"/>
                </a:moveTo>
                <a:lnTo>
                  <a:pt x="1507" y="1310"/>
                </a:lnTo>
                <a:lnTo>
                  <a:pt x="1503" y="1306"/>
                </a:lnTo>
                <a:lnTo>
                  <a:pt x="1500" y="1306"/>
                </a:lnTo>
                <a:close/>
                <a:moveTo>
                  <a:pt x="1533" y="1349"/>
                </a:moveTo>
                <a:lnTo>
                  <a:pt x="1536" y="1349"/>
                </a:lnTo>
                <a:lnTo>
                  <a:pt x="1537" y="1349"/>
                </a:lnTo>
                <a:lnTo>
                  <a:pt x="1532" y="1346"/>
                </a:lnTo>
                <a:lnTo>
                  <a:pt x="1533" y="1349"/>
                </a:lnTo>
                <a:close/>
                <a:moveTo>
                  <a:pt x="1540" y="1348"/>
                </a:moveTo>
                <a:lnTo>
                  <a:pt x="1537" y="1349"/>
                </a:lnTo>
                <a:lnTo>
                  <a:pt x="1538" y="1353"/>
                </a:lnTo>
                <a:lnTo>
                  <a:pt x="1540" y="1348"/>
                </a:lnTo>
                <a:close/>
                <a:moveTo>
                  <a:pt x="1534" y="1073"/>
                </a:moveTo>
                <a:lnTo>
                  <a:pt x="1534" y="1074"/>
                </a:lnTo>
                <a:lnTo>
                  <a:pt x="1535" y="1074"/>
                </a:lnTo>
                <a:lnTo>
                  <a:pt x="1537" y="1072"/>
                </a:lnTo>
                <a:lnTo>
                  <a:pt x="1534" y="1073"/>
                </a:lnTo>
                <a:close/>
                <a:moveTo>
                  <a:pt x="1529" y="1326"/>
                </a:moveTo>
                <a:lnTo>
                  <a:pt x="1530" y="1329"/>
                </a:lnTo>
                <a:lnTo>
                  <a:pt x="1530" y="1326"/>
                </a:lnTo>
                <a:lnTo>
                  <a:pt x="1529" y="1326"/>
                </a:lnTo>
                <a:close/>
                <a:moveTo>
                  <a:pt x="1484" y="1411"/>
                </a:moveTo>
                <a:lnTo>
                  <a:pt x="1479" y="1415"/>
                </a:lnTo>
                <a:lnTo>
                  <a:pt x="1477" y="1419"/>
                </a:lnTo>
                <a:lnTo>
                  <a:pt x="1480" y="1419"/>
                </a:lnTo>
                <a:lnTo>
                  <a:pt x="1485" y="1427"/>
                </a:lnTo>
                <a:lnTo>
                  <a:pt x="1489" y="1427"/>
                </a:lnTo>
                <a:lnTo>
                  <a:pt x="1492" y="1428"/>
                </a:lnTo>
                <a:lnTo>
                  <a:pt x="1493" y="1424"/>
                </a:lnTo>
                <a:lnTo>
                  <a:pt x="1494" y="1424"/>
                </a:lnTo>
                <a:lnTo>
                  <a:pt x="1497" y="1420"/>
                </a:lnTo>
                <a:lnTo>
                  <a:pt x="1500" y="1423"/>
                </a:lnTo>
                <a:lnTo>
                  <a:pt x="1501" y="1424"/>
                </a:lnTo>
                <a:lnTo>
                  <a:pt x="1504" y="1423"/>
                </a:lnTo>
                <a:lnTo>
                  <a:pt x="1503" y="1419"/>
                </a:lnTo>
                <a:lnTo>
                  <a:pt x="1492" y="1413"/>
                </a:lnTo>
                <a:lnTo>
                  <a:pt x="1484" y="1411"/>
                </a:lnTo>
                <a:close/>
                <a:moveTo>
                  <a:pt x="1559" y="1391"/>
                </a:moveTo>
                <a:lnTo>
                  <a:pt x="1555" y="1389"/>
                </a:lnTo>
                <a:lnTo>
                  <a:pt x="1553" y="1389"/>
                </a:lnTo>
                <a:lnTo>
                  <a:pt x="1559" y="1391"/>
                </a:lnTo>
                <a:close/>
                <a:moveTo>
                  <a:pt x="1549" y="1355"/>
                </a:moveTo>
                <a:lnTo>
                  <a:pt x="1554" y="1356"/>
                </a:lnTo>
                <a:lnTo>
                  <a:pt x="1554" y="1355"/>
                </a:lnTo>
                <a:lnTo>
                  <a:pt x="1551" y="1353"/>
                </a:lnTo>
                <a:lnTo>
                  <a:pt x="1549" y="1355"/>
                </a:lnTo>
                <a:close/>
                <a:moveTo>
                  <a:pt x="1511" y="1317"/>
                </a:moveTo>
                <a:lnTo>
                  <a:pt x="1516" y="1322"/>
                </a:lnTo>
                <a:lnTo>
                  <a:pt x="1516" y="1322"/>
                </a:lnTo>
                <a:lnTo>
                  <a:pt x="1511" y="1317"/>
                </a:lnTo>
                <a:close/>
                <a:moveTo>
                  <a:pt x="1521" y="1100"/>
                </a:moveTo>
                <a:lnTo>
                  <a:pt x="1525" y="1094"/>
                </a:lnTo>
                <a:lnTo>
                  <a:pt x="1522" y="1098"/>
                </a:lnTo>
                <a:lnTo>
                  <a:pt x="1521" y="1100"/>
                </a:lnTo>
                <a:close/>
                <a:moveTo>
                  <a:pt x="1525" y="1333"/>
                </a:moveTo>
                <a:lnTo>
                  <a:pt x="1524" y="1333"/>
                </a:lnTo>
                <a:lnTo>
                  <a:pt x="1525" y="1334"/>
                </a:lnTo>
                <a:lnTo>
                  <a:pt x="1525" y="1333"/>
                </a:lnTo>
                <a:close/>
                <a:moveTo>
                  <a:pt x="1613" y="2620"/>
                </a:moveTo>
                <a:lnTo>
                  <a:pt x="1620" y="2620"/>
                </a:lnTo>
                <a:lnTo>
                  <a:pt x="1625" y="2624"/>
                </a:lnTo>
                <a:lnTo>
                  <a:pt x="1626" y="2620"/>
                </a:lnTo>
                <a:lnTo>
                  <a:pt x="1623" y="2618"/>
                </a:lnTo>
                <a:lnTo>
                  <a:pt x="1615" y="2616"/>
                </a:lnTo>
                <a:lnTo>
                  <a:pt x="1612" y="2618"/>
                </a:lnTo>
                <a:lnTo>
                  <a:pt x="1613" y="2620"/>
                </a:lnTo>
                <a:close/>
                <a:moveTo>
                  <a:pt x="1521" y="1343"/>
                </a:moveTo>
                <a:lnTo>
                  <a:pt x="1522" y="1346"/>
                </a:lnTo>
                <a:lnTo>
                  <a:pt x="1522" y="1345"/>
                </a:lnTo>
                <a:lnTo>
                  <a:pt x="1521" y="1341"/>
                </a:lnTo>
                <a:lnTo>
                  <a:pt x="1516" y="1333"/>
                </a:lnTo>
                <a:lnTo>
                  <a:pt x="1521" y="1343"/>
                </a:lnTo>
                <a:close/>
                <a:moveTo>
                  <a:pt x="1518" y="1147"/>
                </a:moveTo>
                <a:lnTo>
                  <a:pt x="1518" y="1146"/>
                </a:lnTo>
                <a:lnTo>
                  <a:pt x="1517" y="1147"/>
                </a:lnTo>
                <a:lnTo>
                  <a:pt x="1518" y="1147"/>
                </a:lnTo>
                <a:close/>
                <a:moveTo>
                  <a:pt x="1519" y="1145"/>
                </a:moveTo>
                <a:lnTo>
                  <a:pt x="1519" y="1139"/>
                </a:lnTo>
                <a:lnTo>
                  <a:pt x="1518" y="1146"/>
                </a:lnTo>
                <a:lnTo>
                  <a:pt x="1519" y="1145"/>
                </a:lnTo>
                <a:close/>
                <a:moveTo>
                  <a:pt x="1516" y="1326"/>
                </a:moveTo>
                <a:lnTo>
                  <a:pt x="1519" y="1326"/>
                </a:lnTo>
                <a:lnTo>
                  <a:pt x="1516" y="1322"/>
                </a:lnTo>
                <a:lnTo>
                  <a:pt x="1515" y="1326"/>
                </a:lnTo>
                <a:lnTo>
                  <a:pt x="1516" y="1326"/>
                </a:lnTo>
                <a:close/>
                <a:moveTo>
                  <a:pt x="1530" y="2550"/>
                </a:moveTo>
                <a:lnTo>
                  <a:pt x="1526" y="2550"/>
                </a:lnTo>
                <a:lnTo>
                  <a:pt x="1526" y="2551"/>
                </a:lnTo>
                <a:lnTo>
                  <a:pt x="1530" y="2550"/>
                </a:lnTo>
                <a:close/>
                <a:moveTo>
                  <a:pt x="1526" y="2539"/>
                </a:moveTo>
                <a:lnTo>
                  <a:pt x="1526" y="2542"/>
                </a:lnTo>
                <a:lnTo>
                  <a:pt x="1526" y="2539"/>
                </a:lnTo>
                <a:lnTo>
                  <a:pt x="1526" y="2539"/>
                </a:lnTo>
                <a:close/>
                <a:moveTo>
                  <a:pt x="1530" y="2542"/>
                </a:moveTo>
                <a:lnTo>
                  <a:pt x="1526" y="2542"/>
                </a:lnTo>
                <a:lnTo>
                  <a:pt x="1526" y="2549"/>
                </a:lnTo>
                <a:lnTo>
                  <a:pt x="1530" y="2542"/>
                </a:lnTo>
                <a:close/>
                <a:moveTo>
                  <a:pt x="1526" y="2549"/>
                </a:moveTo>
                <a:lnTo>
                  <a:pt x="1526" y="2550"/>
                </a:lnTo>
                <a:lnTo>
                  <a:pt x="1530" y="2546"/>
                </a:lnTo>
                <a:lnTo>
                  <a:pt x="1526" y="2549"/>
                </a:lnTo>
                <a:close/>
                <a:moveTo>
                  <a:pt x="1560" y="2580"/>
                </a:moveTo>
                <a:lnTo>
                  <a:pt x="1558" y="2582"/>
                </a:lnTo>
                <a:lnTo>
                  <a:pt x="1558" y="2580"/>
                </a:lnTo>
                <a:lnTo>
                  <a:pt x="1557" y="2580"/>
                </a:lnTo>
                <a:lnTo>
                  <a:pt x="1556" y="2577"/>
                </a:lnTo>
                <a:lnTo>
                  <a:pt x="1553" y="2584"/>
                </a:lnTo>
                <a:lnTo>
                  <a:pt x="1546" y="2584"/>
                </a:lnTo>
                <a:lnTo>
                  <a:pt x="1546" y="2584"/>
                </a:lnTo>
                <a:lnTo>
                  <a:pt x="1549" y="2588"/>
                </a:lnTo>
                <a:lnTo>
                  <a:pt x="1552" y="2588"/>
                </a:lnTo>
                <a:lnTo>
                  <a:pt x="1557" y="2588"/>
                </a:lnTo>
                <a:lnTo>
                  <a:pt x="1556" y="2588"/>
                </a:lnTo>
                <a:lnTo>
                  <a:pt x="1552" y="2590"/>
                </a:lnTo>
                <a:lnTo>
                  <a:pt x="1554" y="2590"/>
                </a:lnTo>
                <a:lnTo>
                  <a:pt x="1558" y="2589"/>
                </a:lnTo>
                <a:lnTo>
                  <a:pt x="1558" y="2585"/>
                </a:lnTo>
                <a:lnTo>
                  <a:pt x="1563" y="2584"/>
                </a:lnTo>
                <a:lnTo>
                  <a:pt x="1560" y="2580"/>
                </a:lnTo>
                <a:close/>
                <a:moveTo>
                  <a:pt x="3799" y="278"/>
                </a:moveTo>
                <a:lnTo>
                  <a:pt x="3799" y="278"/>
                </a:lnTo>
                <a:lnTo>
                  <a:pt x="3803" y="280"/>
                </a:lnTo>
                <a:lnTo>
                  <a:pt x="3803" y="278"/>
                </a:lnTo>
                <a:lnTo>
                  <a:pt x="3808" y="278"/>
                </a:lnTo>
                <a:lnTo>
                  <a:pt x="3804" y="274"/>
                </a:lnTo>
                <a:lnTo>
                  <a:pt x="3805" y="270"/>
                </a:lnTo>
                <a:lnTo>
                  <a:pt x="3796" y="276"/>
                </a:lnTo>
                <a:lnTo>
                  <a:pt x="3799" y="278"/>
                </a:lnTo>
                <a:lnTo>
                  <a:pt x="3799" y="278"/>
                </a:lnTo>
                <a:close/>
                <a:moveTo>
                  <a:pt x="1549" y="2590"/>
                </a:moveTo>
                <a:lnTo>
                  <a:pt x="1550" y="2589"/>
                </a:lnTo>
                <a:lnTo>
                  <a:pt x="1546" y="2589"/>
                </a:lnTo>
                <a:lnTo>
                  <a:pt x="1549" y="2590"/>
                </a:lnTo>
                <a:close/>
                <a:moveTo>
                  <a:pt x="1526" y="2516"/>
                </a:moveTo>
                <a:lnTo>
                  <a:pt x="1526" y="2515"/>
                </a:lnTo>
                <a:lnTo>
                  <a:pt x="1526" y="2515"/>
                </a:lnTo>
                <a:lnTo>
                  <a:pt x="1526" y="2516"/>
                </a:lnTo>
                <a:lnTo>
                  <a:pt x="1527" y="2516"/>
                </a:lnTo>
                <a:lnTo>
                  <a:pt x="1530" y="2515"/>
                </a:lnTo>
                <a:lnTo>
                  <a:pt x="1529" y="2515"/>
                </a:lnTo>
                <a:lnTo>
                  <a:pt x="1526" y="2516"/>
                </a:lnTo>
                <a:close/>
                <a:moveTo>
                  <a:pt x="3768" y="296"/>
                </a:moveTo>
                <a:lnTo>
                  <a:pt x="3763" y="296"/>
                </a:lnTo>
                <a:lnTo>
                  <a:pt x="3767" y="300"/>
                </a:lnTo>
                <a:lnTo>
                  <a:pt x="3768" y="296"/>
                </a:lnTo>
                <a:close/>
                <a:moveTo>
                  <a:pt x="1524" y="2522"/>
                </a:moveTo>
                <a:lnTo>
                  <a:pt x="1524" y="2520"/>
                </a:lnTo>
                <a:lnTo>
                  <a:pt x="1523" y="2520"/>
                </a:lnTo>
                <a:lnTo>
                  <a:pt x="1524" y="2522"/>
                </a:lnTo>
                <a:close/>
                <a:moveTo>
                  <a:pt x="1560" y="2596"/>
                </a:moveTo>
                <a:lnTo>
                  <a:pt x="1564" y="2594"/>
                </a:lnTo>
                <a:lnTo>
                  <a:pt x="1560" y="2594"/>
                </a:lnTo>
                <a:lnTo>
                  <a:pt x="1560" y="2596"/>
                </a:lnTo>
                <a:close/>
                <a:moveTo>
                  <a:pt x="3780" y="94"/>
                </a:moveTo>
                <a:lnTo>
                  <a:pt x="3763" y="93"/>
                </a:lnTo>
                <a:lnTo>
                  <a:pt x="3760" y="97"/>
                </a:lnTo>
                <a:lnTo>
                  <a:pt x="3771" y="97"/>
                </a:lnTo>
                <a:lnTo>
                  <a:pt x="3780" y="94"/>
                </a:lnTo>
                <a:close/>
                <a:moveTo>
                  <a:pt x="1524" y="2545"/>
                </a:moveTo>
                <a:lnTo>
                  <a:pt x="1524" y="2549"/>
                </a:lnTo>
                <a:lnTo>
                  <a:pt x="1526" y="2542"/>
                </a:lnTo>
                <a:lnTo>
                  <a:pt x="1526" y="2542"/>
                </a:lnTo>
                <a:lnTo>
                  <a:pt x="1524" y="2545"/>
                </a:lnTo>
                <a:close/>
                <a:moveTo>
                  <a:pt x="1520" y="2532"/>
                </a:moveTo>
                <a:lnTo>
                  <a:pt x="1519" y="2539"/>
                </a:lnTo>
                <a:lnTo>
                  <a:pt x="1523" y="2538"/>
                </a:lnTo>
                <a:lnTo>
                  <a:pt x="1524" y="2532"/>
                </a:lnTo>
                <a:lnTo>
                  <a:pt x="1520" y="2532"/>
                </a:lnTo>
                <a:close/>
                <a:moveTo>
                  <a:pt x="1527" y="2532"/>
                </a:moveTo>
                <a:lnTo>
                  <a:pt x="1530" y="2534"/>
                </a:lnTo>
                <a:lnTo>
                  <a:pt x="1530" y="2532"/>
                </a:lnTo>
                <a:lnTo>
                  <a:pt x="1530" y="2531"/>
                </a:lnTo>
                <a:lnTo>
                  <a:pt x="1526" y="2531"/>
                </a:lnTo>
                <a:lnTo>
                  <a:pt x="1526" y="2532"/>
                </a:lnTo>
                <a:lnTo>
                  <a:pt x="1526" y="2532"/>
                </a:lnTo>
                <a:lnTo>
                  <a:pt x="1524" y="2536"/>
                </a:lnTo>
                <a:lnTo>
                  <a:pt x="1527" y="2532"/>
                </a:lnTo>
                <a:close/>
                <a:moveTo>
                  <a:pt x="1597" y="2616"/>
                </a:moveTo>
                <a:lnTo>
                  <a:pt x="1597" y="2613"/>
                </a:lnTo>
                <a:lnTo>
                  <a:pt x="1595" y="2613"/>
                </a:lnTo>
                <a:lnTo>
                  <a:pt x="1597" y="2616"/>
                </a:lnTo>
                <a:close/>
                <a:moveTo>
                  <a:pt x="1635" y="2619"/>
                </a:moveTo>
                <a:lnTo>
                  <a:pt x="1632" y="2621"/>
                </a:lnTo>
                <a:lnTo>
                  <a:pt x="1632" y="2623"/>
                </a:lnTo>
                <a:lnTo>
                  <a:pt x="1635" y="2624"/>
                </a:lnTo>
                <a:lnTo>
                  <a:pt x="1638" y="2623"/>
                </a:lnTo>
                <a:lnTo>
                  <a:pt x="1635" y="2619"/>
                </a:lnTo>
                <a:close/>
                <a:moveTo>
                  <a:pt x="1639" y="2626"/>
                </a:moveTo>
                <a:lnTo>
                  <a:pt x="1639" y="2624"/>
                </a:lnTo>
                <a:lnTo>
                  <a:pt x="1638" y="2626"/>
                </a:lnTo>
                <a:lnTo>
                  <a:pt x="1639" y="2626"/>
                </a:lnTo>
                <a:close/>
                <a:moveTo>
                  <a:pt x="1635" y="2624"/>
                </a:moveTo>
                <a:lnTo>
                  <a:pt x="1634" y="2624"/>
                </a:lnTo>
                <a:lnTo>
                  <a:pt x="1638" y="2626"/>
                </a:lnTo>
                <a:lnTo>
                  <a:pt x="1638" y="2624"/>
                </a:lnTo>
                <a:lnTo>
                  <a:pt x="1635" y="2624"/>
                </a:lnTo>
                <a:close/>
                <a:moveTo>
                  <a:pt x="1639" y="2616"/>
                </a:moveTo>
                <a:lnTo>
                  <a:pt x="1642" y="2616"/>
                </a:lnTo>
                <a:lnTo>
                  <a:pt x="1642" y="2613"/>
                </a:lnTo>
                <a:lnTo>
                  <a:pt x="1641" y="2613"/>
                </a:lnTo>
                <a:lnTo>
                  <a:pt x="1639" y="2616"/>
                </a:lnTo>
                <a:close/>
                <a:moveTo>
                  <a:pt x="1630" y="2619"/>
                </a:moveTo>
                <a:lnTo>
                  <a:pt x="1629" y="2619"/>
                </a:lnTo>
                <a:lnTo>
                  <a:pt x="1632" y="2619"/>
                </a:lnTo>
                <a:lnTo>
                  <a:pt x="1630" y="2619"/>
                </a:lnTo>
                <a:close/>
                <a:moveTo>
                  <a:pt x="1646" y="2613"/>
                </a:moveTo>
                <a:lnTo>
                  <a:pt x="1648" y="2612"/>
                </a:lnTo>
                <a:lnTo>
                  <a:pt x="1645" y="2612"/>
                </a:lnTo>
                <a:lnTo>
                  <a:pt x="1646" y="2613"/>
                </a:lnTo>
                <a:close/>
                <a:moveTo>
                  <a:pt x="1560" y="2592"/>
                </a:moveTo>
                <a:lnTo>
                  <a:pt x="1564" y="2592"/>
                </a:lnTo>
                <a:lnTo>
                  <a:pt x="1565" y="2590"/>
                </a:lnTo>
                <a:lnTo>
                  <a:pt x="1564" y="2589"/>
                </a:lnTo>
                <a:lnTo>
                  <a:pt x="1560" y="2592"/>
                </a:lnTo>
                <a:close/>
                <a:moveTo>
                  <a:pt x="1640" y="2608"/>
                </a:moveTo>
                <a:lnTo>
                  <a:pt x="1639" y="2608"/>
                </a:lnTo>
                <a:lnTo>
                  <a:pt x="1641" y="2609"/>
                </a:lnTo>
                <a:lnTo>
                  <a:pt x="1640" y="2608"/>
                </a:lnTo>
                <a:close/>
                <a:moveTo>
                  <a:pt x="1583" y="2608"/>
                </a:moveTo>
                <a:lnTo>
                  <a:pt x="1582" y="2610"/>
                </a:lnTo>
                <a:lnTo>
                  <a:pt x="1586" y="2612"/>
                </a:lnTo>
                <a:lnTo>
                  <a:pt x="1590" y="2608"/>
                </a:lnTo>
                <a:lnTo>
                  <a:pt x="1587" y="2608"/>
                </a:lnTo>
                <a:lnTo>
                  <a:pt x="1583" y="2608"/>
                </a:lnTo>
                <a:close/>
                <a:moveTo>
                  <a:pt x="1630" y="2626"/>
                </a:moveTo>
                <a:lnTo>
                  <a:pt x="1632" y="2624"/>
                </a:lnTo>
                <a:lnTo>
                  <a:pt x="1627" y="2624"/>
                </a:lnTo>
                <a:lnTo>
                  <a:pt x="1630" y="2626"/>
                </a:lnTo>
                <a:close/>
                <a:moveTo>
                  <a:pt x="1583" y="2607"/>
                </a:moveTo>
                <a:lnTo>
                  <a:pt x="1576" y="2603"/>
                </a:lnTo>
                <a:lnTo>
                  <a:pt x="1575" y="2605"/>
                </a:lnTo>
                <a:lnTo>
                  <a:pt x="1582" y="2607"/>
                </a:lnTo>
                <a:lnTo>
                  <a:pt x="1583" y="2607"/>
                </a:lnTo>
                <a:close/>
                <a:moveTo>
                  <a:pt x="1567" y="2600"/>
                </a:moveTo>
                <a:lnTo>
                  <a:pt x="1568" y="2602"/>
                </a:lnTo>
                <a:lnTo>
                  <a:pt x="1568" y="2601"/>
                </a:lnTo>
                <a:lnTo>
                  <a:pt x="1567" y="2600"/>
                </a:lnTo>
                <a:close/>
                <a:moveTo>
                  <a:pt x="1601" y="2617"/>
                </a:moveTo>
                <a:lnTo>
                  <a:pt x="1602" y="2616"/>
                </a:lnTo>
                <a:lnTo>
                  <a:pt x="1601" y="2616"/>
                </a:lnTo>
                <a:lnTo>
                  <a:pt x="1601" y="2617"/>
                </a:lnTo>
                <a:close/>
                <a:moveTo>
                  <a:pt x="1596" y="2605"/>
                </a:moveTo>
                <a:lnTo>
                  <a:pt x="1594" y="2607"/>
                </a:lnTo>
                <a:lnTo>
                  <a:pt x="1594" y="2608"/>
                </a:lnTo>
                <a:lnTo>
                  <a:pt x="1606" y="2607"/>
                </a:lnTo>
                <a:lnTo>
                  <a:pt x="1596" y="2605"/>
                </a:lnTo>
                <a:close/>
                <a:moveTo>
                  <a:pt x="3767" y="351"/>
                </a:moveTo>
                <a:lnTo>
                  <a:pt x="3767" y="346"/>
                </a:lnTo>
                <a:lnTo>
                  <a:pt x="3761" y="341"/>
                </a:lnTo>
                <a:lnTo>
                  <a:pt x="3751" y="346"/>
                </a:lnTo>
                <a:lnTo>
                  <a:pt x="3751" y="349"/>
                </a:lnTo>
                <a:lnTo>
                  <a:pt x="3763" y="352"/>
                </a:lnTo>
                <a:lnTo>
                  <a:pt x="3767" y="351"/>
                </a:lnTo>
                <a:close/>
                <a:moveTo>
                  <a:pt x="1530" y="2515"/>
                </a:moveTo>
                <a:lnTo>
                  <a:pt x="1526" y="2515"/>
                </a:lnTo>
                <a:lnTo>
                  <a:pt x="1526" y="2515"/>
                </a:lnTo>
                <a:lnTo>
                  <a:pt x="1529" y="2515"/>
                </a:lnTo>
                <a:lnTo>
                  <a:pt x="1530" y="2515"/>
                </a:lnTo>
                <a:close/>
                <a:moveTo>
                  <a:pt x="3474" y="115"/>
                </a:moveTo>
                <a:lnTo>
                  <a:pt x="3460" y="109"/>
                </a:lnTo>
                <a:lnTo>
                  <a:pt x="3439" y="109"/>
                </a:lnTo>
                <a:lnTo>
                  <a:pt x="3441" y="112"/>
                </a:lnTo>
                <a:lnTo>
                  <a:pt x="3441" y="120"/>
                </a:lnTo>
                <a:lnTo>
                  <a:pt x="3448" y="126"/>
                </a:lnTo>
                <a:lnTo>
                  <a:pt x="3454" y="126"/>
                </a:lnTo>
                <a:lnTo>
                  <a:pt x="3451" y="122"/>
                </a:lnTo>
                <a:lnTo>
                  <a:pt x="3454" y="120"/>
                </a:lnTo>
                <a:lnTo>
                  <a:pt x="3460" y="121"/>
                </a:lnTo>
                <a:lnTo>
                  <a:pt x="3462" y="118"/>
                </a:lnTo>
                <a:lnTo>
                  <a:pt x="3455" y="118"/>
                </a:lnTo>
                <a:lnTo>
                  <a:pt x="3460" y="117"/>
                </a:lnTo>
                <a:lnTo>
                  <a:pt x="3474" y="115"/>
                </a:lnTo>
                <a:close/>
                <a:moveTo>
                  <a:pt x="3482" y="251"/>
                </a:moveTo>
                <a:lnTo>
                  <a:pt x="3481" y="253"/>
                </a:lnTo>
                <a:lnTo>
                  <a:pt x="3487" y="251"/>
                </a:lnTo>
                <a:lnTo>
                  <a:pt x="3492" y="249"/>
                </a:lnTo>
                <a:lnTo>
                  <a:pt x="3487" y="250"/>
                </a:lnTo>
                <a:lnTo>
                  <a:pt x="3482" y="251"/>
                </a:lnTo>
                <a:close/>
                <a:moveTo>
                  <a:pt x="3437" y="123"/>
                </a:moveTo>
                <a:lnTo>
                  <a:pt x="3437" y="116"/>
                </a:lnTo>
                <a:lnTo>
                  <a:pt x="3421" y="114"/>
                </a:lnTo>
                <a:lnTo>
                  <a:pt x="3421" y="117"/>
                </a:lnTo>
                <a:lnTo>
                  <a:pt x="3421" y="119"/>
                </a:lnTo>
                <a:lnTo>
                  <a:pt x="3421" y="126"/>
                </a:lnTo>
                <a:lnTo>
                  <a:pt x="3438" y="125"/>
                </a:lnTo>
                <a:lnTo>
                  <a:pt x="3437" y="123"/>
                </a:lnTo>
                <a:close/>
                <a:moveTo>
                  <a:pt x="1424" y="1575"/>
                </a:moveTo>
                <a:lnTo>
                  <a:pt x="1423" y="1577"/>
                </a:lnTo>
                <a:lnTo>
                  <a:pt x="1423" y="1579"/>
                </a:lnTo>
                <a:lnTo>
                  <a:pt x="1426" y="1582"/>
                </a:lnTo>
                <a:lnTo>
                  <a:pt x="1424" y="1579"/>
                </a:lnTo>
                <a:lnTo>
                  <a:pt x="1424" y="1575"/>
                </a:lnTo>
                <a:close/>
                <a:moveTo>
                  <a:pt x="3511" y="69"/>
                </a:moveTo>
                <a:lnTo>
                  <a:pt x="3508" y="69"/>
                </a:lnTo>
                <a:lnTo>
                  <a:pt x="3514" y="71"/>
                </a:lnTo>
                <a:lnTo>
                  <a:pt x="3511" y="69"/>
                </a:lnTo>
                <a:close/>
                <a:moveTo>
                  <a:pt x="3499" y="94"/>
                </a:moveTo>
                <a:lnTo>
                  <a:pt x="3508" y="89"/>
                </a:lnTo>
                <a:lnTo>
                  <a:pt x="3494" y="89"/>
                </a:lnTo>
                <a:lnTo>
                  <a:pt x="3485" y="91"/>
                </a:lnTo>
                <a:lnTo>
                  <a:pt x="3492" y="92"/>
                </a:lnTo>
                <a:lnTo>
                  <a:pt x="3499" y="94"/>
                </a:lnTo>
                <a:close/>
                <a:moveTo>
                  <a:pt x="3472" y="104"/>
                </a:moveTo>
                <a:lnTo>
                  <a:pt x="3475" y="105"/>
                </a:lnTo>
                <a:lnTo>
                  <a:pt x="3474" y="107"/>
                </a:lnTo>
                <a:lnTo>
                  <a:pt x="3478" y="112"/>
                </a:lnTo>
                <a:lnTo>
                  <a:pt x="3483" y="109"/>
                </a:lnTo>
                <a:lnTo>
                  <a:pt x="3488" y="108"/>
                </a:lnTo>
                <a:lnTo>
                  <a:pt x="3499" y="112"/>
                </a:lnTo>
                <a:lnTo>
                  <a:pt x="3508" y="105"/>
                </a:lnTo>
                <a:lnTo>
                  <a:pt x="3511" y="104"/>
                </a:lnTo>
                <a:lnTo>
                  <a:pt x="3514" y="104"/>
                </a:lnTo>
                <a:lnTo>
                  <a:pt x="3514" y="103"/>
                </a:lnTo>
                <a:lnTo>
                  <a:pt x="3513" y="102"/>
                </a:lnTo>
                <a:lnTo>
                  <a:pt x="3515" y="99"/>
                </a:lnTo>
                <a:lnTo>
                  <a:pt x="3511" y="96"/>
                </a:lnTo>
                <a:lnTo>
                  <a:pt x="3480" y="97"/>
                </a:lnTo>
                <a:lnTo>
                  <a:pt x="3474" y="102"/>
                </a:lnTo>
                <a:lnTo>
                  <a:pt x="3472" y="104"/>
                </a:lnTo>
                <a:close/>
                <a:moveTo>
                  <a:pt x="3421" y="126"/>
                </a:moveTo>
                <a:lnTo>
                  <a:pt x="3421" y="126"/>
                </a:lnTo>
                <a:lnTo>
                  <a:pt x="3420" y="126"/>
                </a:lnTo>
                <a:lnTo>
                  <a:pt x="3421" y="126"/>
                </a:lnTo>
                <a:close/>
                <a:moveTo>
                  <a:pt x="3398" y="116"/>
                </a:moveTo>
                <a:lnTo>
                  <a:pt x="3399" y="119"/>
                </a:lnTo>
                <a:lnTo>
                  <a:pt x="3402" y="116"/>
                </a:lnTo>
                <a:lnTo>
                  <a:pt x="3399" y="114"/>
                </a:lnTo>
                <a:lnTo>
                  <a:pt x="3398" y="116"/>
                </a:lnTo>
                <a:close/>
                <a:moveTo>
                  <a:pt x="1204" y="1298"/>
                </a:moveTo>
                <a:lnTo>
                  <a:pt x="1204" y="1298"/>
                </a:lnTo>
                <a:lnTo>
                  <a:pt x="1204" y="1298"/>
                </a:lnTo>
                <a:lnTo>
                  <a:pt x="1204" y="1298"/>
                </a:lnTo>
                <a:close/>
                <a:moveTo>
                  <a:pt x="3411" y="105"/>
                </a:moveTo>
                <a:lnTo>
                  <a:pt x="3406" y="107"/>
                </a:lnTo>
                <a:lnTo>
                  <a:pt x="3413" y="108"/>
                </a:lnTo>
                <a:lnTo>
                  <a:pt x="3411" y="105"/>
                </a:lnTo>
                <a:close/>
                <a:moveTo>
                  <a:pt x="1210" y="1264"/>
                </a:moveTo>
                <a:lnTo>
                  <a:pt x="1216" y="1258"/>
                </a:lnTo>
                <a:lnTo>
                  <a:pt x="1210" y="1261"/>
                </a:lnTo>
                <a:lnTo>
                  <a:pt x="1210" y="1264"/>
                </a:lnTo>
                <a:close/>
                <a:moveTo>
                  <a:pt x="3406" y="108"/>
                </a:moveTo>
                <a:lnTo>
                  <a:pt x="3402" y="112"/>
                </a:lnTo>
                <a:lnTo>
                  <a:pt x="3401" y="112"/>
                </a:lnTo>
                <a:lnTo>
                  <a:pt x="3409" y="112"/>
                </a:lnTo>
                <a:lnTo>
                  <a:pt x="3406" y="108"/>
                </a:lnTo>
                <a:close/>
                <a:moveTo>
                  <a:pt x="1200" y="1370"/>
                </a:moveTo>
                <a:lnTo>
                  <a:pt x="1201" y="1367"/>
                </a:lnTo>
                <a:lnTo>
                  <a:pt x="1200" y="1369"/>
                </a:lnTo>
                <a:lnTo>
                  <a:pt x="1200" y="1370"/>
                </a:lnTo>
                <a:close/>
                <a:moveTo>
                  <a:pt x="3432" y="100"/>
                </a:moveTo>
                <a:lnTo>
                  <a:pt x="3418" y="101"/>
                </a:lnTo>
                <a:lnTo>
                  <a:pt x="3417" y="101"/>
                </a:lnTo>
                <a:lnTo>
                  <a:pt x="3424" y="104"/>
                </a:lnTo>
                <a:lnTo>
                  <a:pt x="3439" y="102"/>
                </a:lnTo>
                <a:lnTo>
                  <a:pt x="3432" y="100"/>
                </a:lnTo>
                <a:close/>
                <a:moveTo>
                  <a:pt x="1338" y="1422"/>
                </a:moveTo>
                <a:lnTo>
                  <a:pt x="1338" y="1420"/>
                </a:lnTo>
                <a:lnTo>
                  <a:pt x="1336" y="1424"/>
                </a:lnTo>
                <a:lnTo>
                  <a:pt x="1338" y="1422"/>
                </a:lnTo>
                <a:close/>
                <a:moveTo>
                  <a:pt x="3719" y="342"/>
                </a:moveTo>
                <a:lnTo>
                  <a:pt x="3728" y="342"/>
                </a:lnTo>
                <a:lnTo>
                  <a:pt x="3718" y="340"/>
                </a:lnTo>
                <a:lnTo>
                  <a:pt x="3719" y="342"/>
                </a:lnTo>
                <a:close/>
                <a:moveTo>
                  <a:pt x="3539" y="69"/>
                </a:moveTo>
                <a:lnTo>
                  <a:pt x="3531" y="69"/>
                </a:lnTo>
                <a:lnTo>
                  <a:pt x="3522" y="69"/>
                </a:lnTo>
                <a:lnTo>
                  <a:pt x="3533" y="71"/>
                </a:lnTo>
                <a:lnTo>
                  <a:pt x="3539" y="69"/>
                </a:lnTo>
                <a:close/>
                <a:moveTo>
                  <a:pt x="3694" y="341"/>
                </a:moveTo>
                <a:lnTo>
                  <a:pt x="3700" y="342"/>
                </a:lnTo>
                <a:lnTo>
                  <a:pt x="3700" y="342"/>
                </a:lnTo>
                <a:lnTo>
                  <a:pt x="3700" y="342"/>
                </a:lnTo>
                <a:lnTo>
                  <a:pt x="3692" y="339"/>
                </a:lnTo>
                <a:lnTo>
                  <a:pt x="3687" y="342"/>
                </a:lnTo>
                <a:lnTo>
                  <a:pt x="3694" y="347"/>
                </a:lnTo>
                <a:lnTo>
                  <a:pt x="3694" y="341"/>
                </a:lnTo>
                <a:close/>
                <a:moveTo>
                  <a:pt x="3708" y="332"/>
                </a:moveTo>
                <a:lnTo>
                  <a:pt x="3708" y="334"/>
                </a:lnTo>
                <a:lnTo>
                  <a:pt x="3715" y="334"/>
                </a:lnTo>
                <a:lnTo>
                  <a:pt x="3718" y="330"/>
                </a:lnTo>
                <a:lnTo>
                  <a:pt x="3710" y="330"/>
                </a:lnTo>
                <a:lnTo>
                  <a:pt x="3707" y="332"/>
                </a:lnTo>
                <a:lnTo>
                  <a:pt x="3710" y="331"/>
                </a:lnTo>
                <a:lnTo>
                  <a:pt x="3708" y="332"/>
                </a:lnTo>
                <a:close/>
                <a:moveTo>
                  <a:pt x="1529" y="2515"/>
                </a:moveTo>
                <a:lnTo>
                  <a:pt x="1531" y="2516"/>
                </a:lnTo>
                <a:lnTo>
                  <a:pt x="1530" y="2520"/>
                </a:lnTo>
                <a:lnTo>
                  <a:pt x="1535" y="2523"/>
                </a:lnTo>
                <a:lnTo>
                  <a:pt x="1537" y="2523"/>
                </a:lnTo>
                <a:lnTo>
                  <a:pt x="1533" y="2516"/>
                </a:lnTo>
                <a:lnTo>
                  <a:pt x="1530" y="2515"/>
                </a:lnTo>
                <a:lnTo>
                  <a:pt x="1530" y="2515"/>
                </a:lnTo>
                <a:lnTo>
                  <a:pt x="1530" y="2515"/>
                </a:lnTo>
                <a:lnTo>
                  <a:pt x="1529" y="2515"/>
                </a:lnTo>
                <a:close/>
                <a:moveTo>
                  <a:pt x="3728" y="143"/>
                </a:moveTo>
                <a:lnTo>
                  <a:pt x="3741" y="142"/>
                </a:lnTo>
                <a:lnTo>
                  <a:pt x="3716" y="139"/>
                </a:lnTo>
                <a:lnTo>
                  <a:pt x="3726" y="142"/>
                </a:lnTo>
                <a:lnTo>
                  <a:pt x="3728" y="143"/>
                </a:lnTo>
                <a:close/>
                <a:moveTo>
                  <a:pt x="1519" y="2519"/>
                </a:moveTo>
                <a:lnTo>
                  <a:pt x="1517" y="2515"/>
                </a:lnTo>
                <a:lnTo>
                  <a:pt x="1517" y="2515"/>
                </a:lnTo>
                <a:lnTo>
                  <a:pt x="1517" y="2515"/>
                </a:lnTo>
                <a:lnTo>
                  <a:pt x="1517" y="2515"/>
                </a:lnTo>
                <a:lnTo>
                  <a:pt x="1517" y="2515"/>
                </a:lnTo>
                <a:lnTo>
                  <a:pt x="1519" y="2510"/>
                </a:lnTo>
                <a:lnTo>
                  <a:pt x="1521" y="2511"/>
                </a:lnTo>
                <a:lnTo>
                  <a:pt x="1523" y="2511"/>
                </a:lnTo>
                <a:lnTo>
                  <a:pt x="1523" y="2511"/>
                </a:lnTo>
                <a:lnTo>
                  <a:pt x="1526" y="2509"/>
                </a:lnTo>
                <a:lnTo>
                  <a:pt x="1526" y="2511"/>
                </a:lnTo>
                <a:lnTo>
                  <a:pt x="1523" y="2512"/>
                </a:lnTo>
                <a:lnTo>
                  <a:pt x="1520" y="2515"/>
                </a:lnTo>
                <a:lnTo>
                  <a:pt x="1523" y="2515"/>
                </a:lnTo>
                <a:lnTo>
                  <a:pt x="1520" y="2516"/>
                </a:lnTo>
                <a:lnTo>
                  <a:pt x="1519" y="2522"/>
                </a:lnTo>
                <a:lnTo>
                  <a:pt x="1516" y="2519"/>
                </a:lnTo>
                <a:lnTo>
                  <a:pt x="1519" y="2519"/>
                </a:lnTo>
                <a:close/>
                <a:moveTo>
                  <a:pt x="1520" y="2515"/>
                </a:moveTo>
                <a:lnTo>
                  <a:pt x="1519" y="2514"/>
                </a:lnTo>
                <a:lnTo>
                  <a:pt x="1520" y="2512"/>
                </a:lnTo>
                <a:lnTo>
                  <a:pt x="1517" y="2515"/>
                </a:lnTo>
                <a:lnTo>
                  <a:pt x="1520" y="2515"/>
                </a:lnTo>
                <a:close/>
                <a:moveTo>
                  <a:pt x="3673" y="352"/>
                </a:moveTo>
                <a:lnTo>
                  <a:pt x="3669" y="352"/>
                </a:lnTo>
                <a:lnTo>
                  <a:pt x="3673" y="353"/>
                </a:lnTo>
                <a:lnTo>
                  <a:pt x="3673" y="352"/>
                </a:lnTo>
                <a:close/>
                <a:moveTo>
                  <a:pt x="3514" y="68"/>
                </a:moveTo>
                <a:lnTo>
                  <a:pt x="3514" y="69"/>
                </a:lnTo>
                <a:lnTo>
                  <a:pt x="3522" y="69"/>
                </a:lnTo>
                <a:lnTo>
                  <a:pt x="3514" y="68"/>
                </a:lnTo>
                <a:close/>
                <a:moveTo>
                  <a:pt x="1522" y="2511"/>
                </a:moveTo>
                <a:lnTo>
                  <a:pt x="1523" y="2511"/>
                </a:lnTo>
                <a:lnTo>
                  <a:pt x="1522" y="2509"/>
                </a:lnTo>
                <a:lnTo>
                  <a:pt x="1522" y="2511"/>
                </a:lnTo>
                <a:close/>
                <a:moveTo>
                  <a:pt x="3650" y="333"/>
                </a:moveTo>
                <a:lnTo>
                  <a:pt x="3650" y="333"/>
                </a:lnTo>
                <a:lnTo>
                  <a:pt x="3650" y="333"/>
                </a:lnTo>
                <a:lnTo>
                  <a:pt x="3650" y="333"/>
                </a:lnTo>
                <a:close/>
                <a:moveTo>
                  <a:pt x="1466" y="2214"/>
                </a:moveTo>
                <a:lnTo>
                  <a:pt x="1469" y="2213"/>
                </a:lnTo>
                <a:lnTo>
                  <a:pt x="1467" y="2213"/>
                </a:lnTo>
                <a:lnTo>
                  <a:pt x="1466" y="2214"/>
                </a:lnTo>
                <a:close/>
                <a:moveTo>
                  <a:pt x="3521" y="95"/>
                </a:moveTo>
                <a:lnTo>
                  <a:pt x="3519" y="96"/>
                </a:lnTo>
                <a:lnTo>
                  <a:pt x="3531" y="102"/>
                </a:lnTo>
                <a:lnTo>
                  <a:pt x="3550" y="99"/>
                </a:lnTo>
                <a:lnTo>
                  <a:pt x="3562" y="93"/>
                </a:lnTo>
                <a:lnTo>
                  <a:pt x="3562" y="91"/>
                </a:lnTo>
                <a:lnTo>
                  <a:pt x="3559" y="85"/>
                </a:lnTo>
                <a:lnTo>
                  <a:pt x="3550" y="84"/>
                </a:lnTo>
                <a:lnTo>
                  <a:pt x="3545" y="85"/>
                </a:lnTo>
                <a:lnTo>
                  <a:pt x="3544" y="91"/>
                </a:lnTo>
                <a:lnTo>
                  <a:pt x="3530" y="93"/>
                </a:lnTo>
                <a:lnTo>
                  <a:pt x="3521" y="95"/>
                </a:lnTo>
                <a:close/>
                <a:moveTo>
                  <a:pt x="3634" y="342"/>
                </a:moveTo>
                <a:lnTo>
                  <a:pt x="3653" y="337"/>
                </a:lnTo>
                <a:lnTo>
                  <a:pt x="3651" y="334"/>
                </a:lnTo>
                <a:lnTo>
                  <a:pt x="3646" y="335"/>
                </a:lnTo>
                <a:lnTo>
                  <a:pt x="3650" y="333"/>
                </a:lnTo>
                <a:lnTo>
                  <a:pt x="3648" y="333"/>
                </a:lnTo>
                <a:lnTo>
                  <a:pt x="3642" y="334"/>
                </a:lnTo>
                <a:lnTo>
                  <a:pt x="3642" y="335"/>
                </a:lnTo>
                <a:lnTo>
                  <a:pt x="3641" y="335"/>
                </a:lnTo>
                <a:lnTo>
                  <a:pt x="3647" y="330"/>
                </a:lnTo>
                <a:lnTo>
                  <a:pt x="3642" y="330"/>
                </a:lnTo>
                <a:lnTo>
                  <a:pt x="3636" y="329"/>
                </a:lnTo>
                <a:lnTo>
                  <a:pt x="3632" y="331"/>
                </a:lnTo>
                <a:lnTo>
                  <a:pt x="3629" y="333"/>
                </a:lnTo>
                <a:lnTo>
                  <a:pt x="3630" y="337"/>
                </a:lnTo>
                <a:lnTo>
                  <a:pt x="3626" y="342"/>
                </a:lnTo>
                <a:lnTo>
                  <a:pt x="3634" y="342"/>
                </a:lnTo>
                <a:close/>
                <a:moveTo>
                  <a:pt x="4033" y="230"/>
                </a:moveTo>
                <a:lnTo>
                  <a:pt x="4031" y="230"/>
                </a:lnTo>
                <a:lnTo>
                  <a:pt x="4033" y="231"/>
                </a:lnTo>
                <a:lnTo>
                  <a:pt x="4033" y="230"/>
                </a:lnTo>
                <a:close/>
                <a:moveTo>
                  <a:pt x="1162" y="454"/>
                </a:moveTo>
                <a:lnTo>
                  <a:pt x="1159" y="451"/>
                </a:lnTo>
                <a:lnTo>
                  <a:pt x="1158" y="454"/>
                </a:lnTo>
                <a:lnTo>
                  <a:pt x="1162" y="456"/>
                </a:lnTo>
                <a:lnTo>
                  <a:pt x="1162" y="454"/>
                </a:lnTo>
                <a:close/>
                <a:moveTo>
                  <a:pt x="1159" y="470"/>
                </a:moveTo>
                <a:lnTo>
                  <a:pt x="1158" y="473"/>
                </a:lnTo>
                <a:lnTo>
                  <a:pt x="1159" y="474"/>
                </a:lnTo>
                <a:lnTo>
                  <a:pt x="1159" y="470"/>
                </a:lnTo>
                <a:close/>
                <a:moveTo>
                  <a:pt x="1149" y="420"/>
                </a:moveTo>
                <a:lnTo>
                  <a:pt x="1147" y="420"/>
                </a:lnTo>
                <a:lnTo>
                  <a:pt x="1149" y="422"/>
                </a:lnTo>
                <a:lnTo>
                  <a:pt x="1149" y="420"/>
                </a:lnTo>
                <a:close/>
                <a:moveTo>
                  <a:pt x="1158" y="413"/>
                </a:moveTo>
                <a:lnTo>
                  <a:pt x="1155" y="410"/>
                </a:lnTo>
                <a:lnTo>
                  <a:pt x="1151" y="410"/>
                </a:lnTo>
                <a:lnTo>
                  <a:pt x="1151" y="413"/>
                </a:lnTo>
                <a:lnTo>
                  <a:pt x="1158" y="417"/>
                </a:lnTo>
                <a:lnTo>
                  <a:pt x="1158" y="413"/>
                </a:lnTo>
                <a:close/>
                <a:moveTo>
                  <a:pt x="1146" y="443"/>
                </a:moveTo>
                <a:lnTo>
                  <a:pt x="1145" y="442"/>
                </a:lnTo>
                <a:lnTo>
                  <a:pt x="1142" y="440"/>
                </a:lnTo>
                <a:lnTo>
                  <a:pt x="1140" y="442"/>
                </a:lnTo>
                <a:lnTo>
                  <a:pt x="1143" y="443"/>
                </a:lnTo>
                <a:lnTo>
                  <a:pt x="1143" y="445"/>
                </a:lnTo>
                <a:lnTo>
                  <a:pt x="1146" y="443"/>
                </a:lnTo>
                <a:close/>
                <a:moveTo>
                  <a:pt x="916" y="443"/>
                </a:moveTo>
                <a:lnTo>
                  <a:pt x="916" y="443"/>
                </a:lnTo>
                <a:lnTo>
                  <a:pt x="916" y="443"/>
                </a:lnTo>
                <a:lnTo>
                  <a:pt x="916" y="443"/>
                </a:lnTo>
                <a:lnTo>
                  <a:pt x="916" y="443"/>
                </a:lnTo>
                <a:close/>
                <a:moveTo>
                  <a:pt x="1453" y="816"/>
                </a:moveTo>
                <a:lnTo>
                  <a:pt x="1452" y="817"/>
                </a:lnTo>
                <a:lnTo>
                  <a:pt x="1455" y="816"/>
                </a:lnTo>
                <a:lnTo>
                  <a:pt x="1453" y="816"/>
                </a:lnTo>
                <a:close/>
                <a:moveTo>
                  <a:pt x="1224" y="447"/>
                </a:moveTo>
                <a:lnTo>
                  <a:pt x="1226" y="447"/>
                </a:lnTo>
                <a:lnTo>
                  <a:pt x="1228" y="442"/>
                </a:lnTo>
                <a:lnTo>
                  <a:pt x="1226" y="440"/>
                </a:lnTo>
                <a:lnTo>
                  <a:pt x="1222" y="440"/>
                </a:lnTo>
                <a:lnTo>
                  <a:pt x="1224" y="442"/>
                </a:lnTo>
                <a:lnTo>
                  <a:pt x="1224" y="445"/>
                </a:lnTo>
                <a:lnTo>
                  <a:pt x="1224" y="447"/>
                </a:lnTo>
                <a:close/>
                <a:moveTo>
                  <a:pt x="1218" y="442"/>
                </a:moveTo>
                <a:lnTo>
                  <a:pt x="1218" y="445"/>
                </a:lnTo>
                <a:lnTo>
                  <a:pt x="1221" y="447"/>
                </a:lnTo>
                <a:lnTo>
                  <a:pt x="1222" y="440"/>
                </a:lnTo>
                <a:lnTo>
                  <a:pt x="1221" y="440"/>
                </a:lnTo>
                <a:lnTo>
                  <a:pt x="1218" y="442"/>
                </a:lnTo>
                <a:close/>
                <a:moveTo>
                  <a:pt x="1157" y="459"/>
                </a:moveTo>
                <a:lnTo>
                  <a:pt x="1159" y="458"/>
                </a:lnTo>
                <a:lnTo>
                  <a:pt x="1157" y="455"/>
                </a:lnTo>
                <a:lnTo>
                  <a:pt x="1148" y="455"/>
                </a:lnTo>
                <a:lnTo>
                  <a:pt x="1148" y="462"/>
                </a:lnTo>
                <a:lnTo>
                  <a:pt x="1156" y="463"/>
                </a:lnTo>
                <a:lnTo>
                  <a:pt x="1157" y="459"/>
                </a:lnTo>
                <a:close/>
                <a:moveTo>
                  <a:pt x="1146" y="424"/>
                </a:moveTo>
                <a:lnTo>
                  <a:pt x="1136" y="425"/>
                </a:lnTo>
                <a:lnTo>
                  <a:pt x="1132" y="424"/>
                </a:lnTo>
                <a:lnTo>
                  <a:pt x="1132" y="423"/>
                </a:lnTo>
                <a:lnTo>
                  <a:pt x="1131" y="423"/>
                </a:lnTo>
                <a:lnTo>
                  <a:pt x="1121" y="417"/>
                </a:lnTo>
                <a:lnTo>
                  <a:pt x="1116" y="411"/>
                </a:lnTo>
                <a:lnTo>
                  <a:pt x="1112" y="411"/>
                </a:lnTo>
                <a:lnTo>
                  <a:pt x="1112" y="413"/>
                </a:lnTo>
                <a:lnTo>
                  <a:pt x="1116" y="416"/>
                </a:lnTo>
                <a:lnTo>
                  <a:pt x="1109" y="412"/>
                </a:lnTo>
                <a:lnTo>
                  <a:pt x="1094" y="399"/>
                </a:lnTo>
                <a:lnTo>
                  <a:pt x="1097" y="396"/>
                </a:lnTo>
                <a:lnTo>
                  <a:pt x="1095" y="393"/>
                </a:lnTo>
                <a:lnTo>
                  <a:pt x="1096" y="390"/>
                </a:lnTo>
                <a:lnTo>
                  <a:pt x="1096" y="388"/>
                </a:lnTo>
                <a:lnTo>
                  <a:pt x="1096" y="386"/>
                </a:lnTo>
                <a:lnTo>
                  <a:pt x="1087" y="373"/>
                </a:lnTo>
                <a:lnTo>
                  <a:pt x="1089" y="371"/>
                </a:lnTo>
                <a:lnTo>
                  <a:pt x="1084" y="363"/>
                </a:lnTo>
                <a:lnTo>
                  <a:pt x="1086" y="363"/>
                </a:lnTo>
                <a:lnTo>
                  <a:pt x="1081" y="354"/>
                </a:lnTo>
                <a:lnTo>
                  <a:pt x="1083" y="354"/>
                </a:lnTo>
                <a:lnTo>
                  <a:pt x="1076" y="345"/>
                </a:lnTo>
                <a:lnTo>
                  <a:pt x="1069" y="343"/>
                </a:lnTo>
                <a:lnTo>
                  <a:pt x="1062" y="336"/>
                </a:lnTo>
                <a:lnTo>
                  <a:pt x="1056" y="337"/>
                </a:lnTo>
                <a:lnTo>
                  <a:pt x="1056" y="339"/>
                </a:lnTo>
                <a:lnTo>
                  <a:pt x="1056" y="341"/>
                </a:lnTo>
                <a:lnTo>
                  <a:pt x="1044" y="336"/>
                </a:lnTo>
                <a:lnTo>
                  <a:pt x="1042" y="337"/>
                </a:lnTo>
                <a:lnTo>
                  <a:pt x="1045" y="339"/>
                </a:lnTo>
                <a:lnTo>
                  <a:pt x="1039" y="341"/>
                </a:lnTo>
                <a:lnTo>
                  <a:pt x="1045" y="355"/>
                </a:lnTo>
                <a:lnTo>
                  <a:pt x="1046" y="359"/>
                </a:lnTo>
                <a:lnTo>
                  <a:pt x="1047" y="370"/>
                </a:lnTo>
                <a:lnTo>
                  <a:pt x="1054" y="378"/>
                </a:lnTo>
                <a:lnTo>
                  <a:pt x="1044" y="383"/>
                </a:lnTo>
                <a:lnTo>
                  <a:pt x="1044" y="385"/>
                </a:lnTo>
                <a:lnTo>
                  <a:pt x="1040" y="383"/>
                </a:lnTo>
                <a:lnTo>
                  <a:pt x="1040" y="378"/>
                </a:lnTo>
                <a:lnTo>
                  <a:pt x="1040" y="376"/>
                </a:lnTo>
                <a:lnTo>
                  <a:pt x="1038" y="373"/>
                </a:lnTo>
                <a:lnTo>
                  <a:pt x="1038" y="370"/>
                </a:lnTo>
                <a:lnTo>
                  <a:pt x="1035" y="367"/>
                </a:lnTo>
                <a:lnTo>
                  <a:pt x="1036" y="363"/>
                </a:lnTo>
                <a:lnTo>
                  <a:pt x="1028" y="363"/>
                </a:lnTo>
                <a:lnTo>
                  <a:pt x="1028" y="354"/>
                </a:lnTo>
                <a:lnTo>
                  <a:pt x="1026" y="352"/>
                </a:lnTo>
                <a:lnTo>
                  <a:pt x="1018" y="349"/>
                </a:lnTo>
                <a:lnTo>
                  <a:pt x="1021" y="348"/>
                </a:lnTo>
                <a:lnTo>
                  <a:pt x="1009" y="344"/>
                </a:lnTo>
                <a:lnTo>
                  <a:pt x="1005" y="347"/>
                </a:lnTo>
                <a:lnTo>
                  <a:pt x="1008" y="349"/>
                </a:lnTo>
                <a:lnTo>
                  <a:pt x="1019" y="352"/>
                </a:lnTo>
                <a:lnTo>
                  <a:pt x="1011" y="354"/>
                </a:lnTo>
                <a:lnTo>
                  <a:pt x="1016" y="355"/>
                </a:lnTo>
                <a:lnTo>
                  <a:pt x="1019" y="360"/>
                </a:lnTo>
                <a:lnTo>
                  <a:pt x="1012" y="359"/>
                </a:lnTo>
                <a:lnTo>
                  <a:pt x="1019" y="361"/>
                </a:lnTo>
                <a:lnTo>
                  <a:pt x="1011" y="359"/>
                </a:lnTo>
                <a:lnTo>
                  <a:pt x="1008" y="360"/>
                </a:lnTo>
                <a:lnTo>
                  <a:pt x="1006" y="359"/>
                </a:lnTo>
                <a:lnTo>
                  <a:pt x="1002" y="362"/>
                </a:lnTo>
                <a:lnTo>
                  <a:pt x="1001" y="367"/>
                </a:lnTo>
                <a:lnTo>
                  <a:pt x="997" y="367"/>
                </a:lnTo>
                <a:lnTo>
                  <a:pt x="998" y="363"/>
                </a:lnTo>
                <a:lnTo>
                  <a:pt x="997" y="363"/>
                </a:lnTo>
                <a:lnTo>
                  <a:pt x="991" y="367"/>
                </a:lnTo>
                <a:lnTo>
                  <a:pt x="995" y="367"/>
                </a:lnTo>
                <a:lnTo>
                  <a:pt x="991" y="368"/>
                </a:lnTo>
                <a:lnTo>
                  <a:pt x="989" y="365"/>
                </a:lnTo>
                <a:lnTo>
                  <a:pt x="997" y="359"/>
                </a:lnTo>
                <a:lnTo>
                  <a:pt x="998" y="354"/>
                </a:lnTo>
                <a:lnTo>
                  <a:pt x="971" y="347"/>
                </a:lnTo>
                <a:lnTo>
                  <a:pt x="964" y="351"/>
                </a:lnTo>
                <a:lnTo>
                  <a:pt x="966" y="352"/>
                </a:lnTo>
                <a:lnTo>
                  <a:pt x="965" y="357"/>
                </a:lnTo>
                <a:lnTo>
                  <a:pt x="950" y="363"/>
                </a:lnTo>
                <a:lnTo>
                  <a:pt x="949" y="363"/>
                </a:lnTo>
                <a:lnTo>
                  <a:pt x="952" y="355"/>
                </a:lnTo>
                <a:lnTo>
                  <a:pt x="952" y="352"/>
                </a:lnTo>
                <a:lnTo>
                  <a:pt x="958" y="351"/>
                </a:lnTo>
                <a:lnTo>
                  <a:pt x="957" y="349"/>
                </a:lnTo>
                <a:lnTo>
                  <a:pt x="958" y="341"/>
                </a:lnTo>
                <a:lnTo>
                  <a:pt x="955" y="336"/>
                </a:lnTo>
                <a:lnTo>
                  <a:pt x="949" y="335"/>
                </a:lnTo>
                <a:lnTo>
                  <a:pt x="908" y="348"/>
                </a:lnTo>
                <a:lnTo>
                  <a:pt x="887" y="360"/>
                </a:lnTo>
                <a:lnTo>
                  <a:pt x="887" y="364"/>
                </a:lnTo>
                <a:lnTo>
                  <a:pt x="896" y="365"/>
                </a:lnTo>
                <a:lnTo>
                  <a:pt x="896" y="368"/>
                </a:lnTo>
                <a:lnTo>
                  <a:pt x="887" y="371"/>
                </a:lnTo>
                <a:lnTo>
                  <a:pt x="879" y="376"/>
                </a:lnTo>
                <a:lnTo>
                  <a:pt x="879" y="382"/>
                </a:lnTo>
                <a:lnTo>
                  <a:pt x="879" y="385"/>
                </a:lnTo>
                <a:lnTo>
                  <a:pt x="884" y="386"/>
                </a:lnTo>
                <a:lnTo>
                  <a:pt x="886" y="383"/>
                </a:lnTo>
                <a:lnTo>
                  <a:pt x="893" y="386"/>
                </a:lnTo>
                <a:lnTo>
                  <a:pt x="904" y="383"/>
                </a:lnTo>
                <a:lnTo>
                  <a:pt x="901" y="385"/>
                </a:lnTo>
                <a:lnTo>
                  <a:pt x="905" y="386"/>
                </a:lnTo>
                <a:lnTo>
                  <a:pt x="893" y="390"/>
                </a:lnTo>
                <a:lnTo>
                  <a:pt x="898" y="391"/>
                </a:lnTo>
                <a:lnTo>
                  <a:pt x="904" y="391"/>
                </a:lnTo>
                <a:lnTo>
                  <a:pt x="904" y="388"/>
                </a:lnTo>
                <a:lnTo>
                  <a:pt x="908" y="389"/>
                </a:lnTo>
                <a:lnTo>
                  <a:pt x="908" y="390"/>
                </a:lnTo>
                <a:lnTo>
                  <a:pt x="932" y="386"/>
                </a:lnTo>
                <a:lnTo>
                  <a:pt x="942" y="388"/>
                </a:lnTo>
                <a:lnTo>
                  <a:pt x="938" y="391"/>
                </a:lnTo>
                <a:lnTo>
                  <a:pt x="931" y="391"/>
                </a:lnTo>
                <a:lnTo>
                  <a:pt x="928" y="391"/>
                </a:lnTo>
                <a:lnTo>
                  <a:pt x="932" y="391"/>
                </a:lnTo>
                <a:lnTo>
                  <a:pt x="903" y="397"/>
                </a:lnTo>
                <a:lnTo>
                  <a:pt x="892" y="403"/>
                </a:lnTo>
                <a:lnTo>
                  <a:pt x="906" y="415"/>
                </a:lnTo>
                <a:lnTo>
                  <a:pt x="942" y="415"/>
                </a:lnTo>
                <a:lnTo>
                  <a:pt x="958" y="410"/>
                </a:lnTo>
                <a:lnTo>
                  <a:pt x="984" y="417"/>
                </a:lnTo>
                <a:lnTo>
                  <a:pt x="987" y="421"/>
                </a:lnTo>
                <a:lnTo>
                  <a:pt x="993" y="423"/>
                </a:lnTo>
                <a:lnTo>
                  <a:pt x="983" y="423"/>
                </a:lnTo>
                <a:lnTo>
                  <a:pt x="986" y="423"/>
                </a:lnTo>
                <a:lnTo>
                  <a:pt x="979" y="425"/>
                </a:lnTo>
                <a:lnTo>
                  <a:pt x="953" y="420"/>
                </a:lnTo>
                <a:lnTo>
                  <a:pt x="942" y="422"/>
                </a:lnTo>
                <a:lnTo>
                  <a:pt x="913" y="425"/>
                </a:lnTo>
                <a:lnTo>
                  <a:pt x="908" y="429"/>
                </a:lnTo>
                <a:lnTo>
                  <a:pt x="910" y="435"/>
                </a:lnTo>
                <a:lnTo>
                  <a:pt x="917" y="441"/>
                </a:lnTo>
                <a:lnTo>
                  <a:pt x="916" y="443"/>
                </a:lnTo>
                <a:lnTo>
                  <a:pt x="920" y="445"/>
                </a:lnTo>
                <a:lnTo>
                  <a:pt x="929" y="447"/>
                </a:lnTo>
                <a:lnTo>
                  <a:pt x="953" y="448"/>
                </a:lnTo>
                <a:lnTo>
                  <a:pt x="965" y="451"/>
                </a:lnTo>
                <a:lnTo>
                  <a:pt x="962" y="451"/>
                </a:lnTo>
                <a:lnTo>
                  <a:pt x="965" y="454"/>
                </a:lnTo>
                <a:lnTo>
                  <a:pt x="964" y="459"/>
                </a:lnTo>
                <a:lnTo>
                  <a:pt x="966" y="466"/>
                </a:lnTo>
                <a:lnTo>
                  <a:pt x="971" y="468"/>
                </a:lnTo>
                <a:lnTo>
                  <a:pt x="968" y="469"/>
                </a:lnTo>
                <a:lnTo>
                  <a:pt x="998" y="468"/>
                </a:lnTo>
                <a:lnTo>
                  <a:pt x="995" y="467"/>
                </a:lnTo>
                <a:lnTo>
                  <a:pt x="1001" y="467"/>
                </a:lnTo>
                <a:lnTo>
                  <a:pt x="1002" y="467"/>
                </a:lnTo>
                <a:lnTo>
                  <a:pt x="1004" y="467"/>
                </a:lnTo>
                <a:lnTo>
                  <a:pt x="1006" y="467"/>
                </a:lnTo>
                <a:lnTo>
                  <a:pt x="1008" y="467"/>
                </a:lnTo>
                <a:lnTo>
                  <a:pt x="1011" y="467"/>
                </a:lnTo>
                <a:lnTo>
                  <a:pt x="1028" y="463"/>
                </a:lnTo>
                <a:lnTo>
                  <a:pt x="1036" y="458"/>
                </a:lnTo>
                <a:lnTo>
                  <a:pt x="1036" y="456"/>
                </a:lnTo>
                <a:lnTo>
                  <a:pt x="1054" y="454"/>
                </a:lnTo>
                <a:lnTo>
                  <a:pt x="1061" y="450"/>
                </a:lnTo>
                <a:lnTo>
                  <a:pt x="1058" y="447"/>
                </a:lnTo>
                <a:lnTo>
                  <a:pt x="1065" y="442"/>
                </a:lnTo>
                <a:lnTo>
                  <a:pt x="1068" y="445"/>
                </a:lnTo>
                <a:lnTo>
                  <a:pt x="1069" y="447"/>
                </a:lnTo>
                <a:lnTo>
                  <a:pt x="1068" y="450"/>
                </a:lnTo>
                <a:lnTo>
                  <a:pt x="1089" y="453"/>
                </a:lnTo>
                <a:lnTo>
                  <a:pt x="1084" y="457"/>
                </a:lnTo>
                <a:lnTo>
                  <a:pt x="1086" y="459"/>
                </a:lnTo>
                <a:lnTo>
                  <a:pt x="1094" y="459"/>
                </a:lnTo>
                <a:lnTo>
                  <a:pt x="1095" y="457"/>
                </a:lnTo>
                <a:lnTo>
                  <a:pt x="1111" y="462"/>
                </a:lnTo>
                <a:lnTo>
                  <a:pt x="1114" y="459"/>
                </a:lnTo>
                <a:lnTo>
                  <a:pt x="1120" y="459"/>
                </a:lnTo>
                <a:lnTo>
                  <a:pt x="1134" y="454"/>
                </a:lnTo>
                <a:lnTo>
                  <a:pt x="1135" y="450"/>
                </a:lnTo>
                <a:lnTo>
                  <a:pt x="1131" y="448"/>
                </a:lnTo>
                <a:lnTo>
                  <a:pt x="1130" y="450"/>
                </a:lnTo>
                <a:lnTo>
                  <a:pt x="1128" y="448"/>
                </a:lnTo>
                <a:lnTo>
                  <a:pt x="1131" y="443"/>
                </a:lnTo>
                <a:lnTo>
                  <a:pt x="1127" y="442"/>
                </a:lnTo>
                <a:lnTo>
                  <a:pt x="1119" y="445"/>
                </a:lnTo>
                <a:lnTo>
                  <a:pt x="1112" y="451"/>
                </a:lnTo>
                <a:lnTo>
                  <a:pt x="1112" y="450"/>
                </a:lnTo>
                <a:lnTo>
                  <a:pt x="1112" y="448"/>
                </a:lnTo>
                <a:lnTo>
                  <a:pt x="1112" y="442"/>
                </a:lnTo>
                <a:lnTo>
                  <a:pt x="1108" y="439"/>
                </a:lnTo>
                <a:lnTo>
                  <a:pt x="1108" y="436"/>
                </a:lnTo>
                <a:lnTo>
                  <a:pt x="1120" y="442"/>
                </a:lnTo>
                <a:lnTo>
                  <a:pt x="1120" y="436"/>
                </a:lnTo>
                <a:lnTo>
                  <a:pt x="1123" y="439"/>
                </a:lnTo>
                <a:lnTo>
                  <a:pt x="1124" y="439"/>
                </a:lnTo>
                <a:lnTo>
                  <a:pt x="1128" y="432"/>
                </a:lnTo>
                <a:lnTo>
                  <a:pt x="1134" y="437"/>
                </a:lnTo>
                <a:lnTo>
                  <a:pt x="1136" y="431"/>
                </a:lnTo>
                <a:lnTo>
                  <a:pt x="1136" y="433"/>
                </a:lnTo>
                <a:lnTo>
                  <a:pt x="1140" y="436"/>
                </a:lnTo>
                <a:lnTo>
                  <a:pt x="1145" y="439"/>
                </a:lnTo>
                <a:lnTo>
                  <a:pt x="1147" y="435"/>
                </a:lnTo>
                <a:lnTo>
                  <a:pt x="1146" y="424"/>
                </a:lnTo>
                <a:close/>
                <a:moveTo>
                  <a:pt x="1217" y="440"/>
                </a:moveTo>
                <a:lnTo>
                  <a:pt x="1209" y="440"/>
                </a:lnTo>
                <a:lnTo>
                  <a:pt x="1217" y="447"/>
                </a:lnTo>
                <a:lnTo>
                  <a:pt x="1217" y="440"/>
                </a:lnTo>
                <a:close/>
                <a:moveTo>
                  <a:pt x="1176" y="479"/>
                </a:moveTo>
                <a:lnTo>
                  <a:pt x="1174" y="479"/>
                </a:lnTo>
                <a:lnTo>
                  <a:pt x="1176" y="481"/>
                </a:lnTo>
                <a:lnTo>
                  <a:pt x="1176" y="479"/>
                </a:lnTo>
                <a:close/>
                <a:moveTo>
                  <a:pt x="1200" y="430"/>
                </a:moveTo>
                <a:lnTo>
                  <a:pt x="1198" y="430"/>
                </a:lnTo>
                <a:lnTo>
                  <a:pt x="1202" y="431"/>
                </a:lnTo>
                <a:lnTo>
                  <a:pt x="1200" y="430"/>
                </a:lnTo>
                <a:close/>
                <a:moveTo>
                  <a:pt x="1176" y="393"/>
                </a:moveTo>
                <a:lnTo>
                  <a:pt x="1177" y="394"/>
                </a:lnTo>
                <a:lnTo>
                  <a:pt x="1177" y="393"/>
                </a:lnTo>
                <a:lnTo>
                  <a:pt x="1176" y="393"/>
                </a:lnTo>
                <a:close/>
                <a:moveTo>
                  <a:pt x="1201" y="436"/>
                </a:moveTo>
                <a:lnTo>
                  <a:pt x="1200" y="441"/>
                </a:lnTo>
                <a:lnTo>
                  <a:pt x="1198" y="439"/>
                </a:lnTo>
                <a:lnTo>
                  <a:pt x="1200" y="439"/>
                </a:lnTo>
                <a:lnTo>
                  <a:pt x="1191" y="433"/>
                </a:lnTo>
                <a:lnTo>
                  <a:pt x="1187" y="434"/>
                </a:lnTo>
                <a:lnTo>
                  <a:pt x="1185" y="439"/>
                </a:lnTo>
                <a:lnTo>
                  <a:pt x="1190" y="443"/>
                </a:lnTo>
                <a:lnTo>
                  <a:pt x="1181" y="440"/>
                </a:lnTo>
                <a:lnTo>
                  <a:pt x="1181" y="442"/>
                </a:lnTo>
                <a:lnTo>
                  <a:pt x="1184" y="443"/>
                </a:lnTo>
                <a:lnTo>
                  <a:pt x="1182" y="443"/>
                </a:lnTo>
                <a:lnTo>
                  <a:pt x="1185" y="449"/>
                </a:lnTo>
                <a:lnTo>
                  <a:pt x="1176" y="455"/>
                </a:lnTo>
                <a:lnTo>
                  <a:pt x="1169" y="455"/>
                </a:lnTo>
                <a:lnTo>
                  <a:pt x="1168" y="456"/>
                </a:lnTo>
                <a:lnTo>
                  <a:pt x="1170" y="460"/>
                </a:lnTo>
                <a:lnTo>
                  <a:pt x="1173" y="456"/>
                </a:lnTo>
                <a:lnTo>
                  <a:pt x="1173" y="459"/>
                </a:lnTo>
                <a:lnTo>
                  <a:pt x="1182" y="463"/>
                </a:lnTo>
                <a:lnTo>
                  <a:pt x="1184" y="463"/>
                </a:lnTo>
                <a:lnTo>
                  <a:pt x="1185" y="459"/>
                </a:lnTo>
                <a:lnTo>
                  <a:pt x="1188" y="463"/>
                </a:lnTo>
                <a:lnTo>
                  <a:pt x="1210" y="470"/>
                </a:lnTo>
                <a:lnTo>
                  <a:pt x="1215" y="468"/>
                </a:lnTo>
                <a:lnTo>
                  <a:pt x="1222" y="462"/>
                </a:lnTo>
                <a:lnTo>
                  <a:pt x="1226" y="463"/>
                </a:lnTo>
                <a:lnTo>
                  <a:pt x="1229" y="459"/>
                </a:lnTo>
                <a:lnTo>
                  <a:pt x="1222" y="458"/>
                </a:lnTo>
                <a:lnTo>
                  <a:pt x="1216" y="448"/>
                </a:lnTo>
                <a:lnTo>
                  <a:pt x="1213" y="450"/>
                </a:lnTo>
                <a:lnTo>
                  <a:pt x="1213" y="447"/>
                </a:lnTo>
                <a:lnTo>
                  <a:pt x="1204" y="442"/>
                </a:lnTo>
                <a:lnTo>
                  <a:pt x="1201" y="436"/>
                </a:lnTo>
                <a:close/>
                <a:moveTo>
                  <a:pt x="1043" y="373"/>
                </a:moveTo>
                <a:lnTo>
                  <a:pt x="1042" y="375"/>
                </a:lnTo>
                <a:lnTo>
                  <a:pt x="1045" y="375"/>
                </a:lnTo>
                <a:lnTo>
                  <a:pt x="1043" y="373"/>
                </a:lnTo>
                <a:close/>
                <a:moveTo>
                  <a:pt x="1097" y="244"/>
                </a:moveTo>
                <a:lnTo>
                  <a:pt x="1098" y="246"/>
                </a:lnTo>
                <a:lnTo>
                  <a:pt x="1097" y="250"/>
                </a:lnTo>
                <a:lnTo>
                  <a:pt x="1109" y="250"/>
                </a:lnTo>
                <a:lnTo>
                  <a:pt x="1117" y="246"/>
                </a:lnTo>
                <a:lnTo>
                  <a:pt x="1105" y="239"/>
                </a:lnTo>
                <a:lnTo>
                  <a:pt x="1102" y="240"/>
                </a:lnTo>
                <a:lnTo>
                  <a:pt x="1103" y="238"/>
                </a:lnTo>
                <a:lnTo>
                  <a:pt x="1101" y="237"/>
                </a:lnTo>
                <a:lnTo>
                  <a:pt x="1091" y="240"/>
                </a:lnTo>
                <a:lnTo>
                  <a:pt x="1097" y="244"/>
                </a:lnTo>
                <a:close/>
                <a:moveTo>
                  <a:pt x="1050" y="328"/>
                </a:moveTo>
                <a:lnTo>
                  <a:pt x="1043" y="328"/>
                </a:lnTo>
                <a:lnTo>
                  <a:pt x="1049" y="330"/>
                </a:lnTo>
                <a:lnTo>
                  <a:pt x="1050" y="328"/>
                </a:lnTo>
                <a:close/>
                <a:moveTo>
                  <a:pt x="1102" y="222"/>
                </a:moveTo>
                <a:lnTo>
                  <a:pt x="1097" y="223"/>
                </a:lnTo>
                <a:lnTo>
                  <a:pt x="1103" y="223"/>
                </a:lnTo>
                <a:lnTo>
                  <a:pt x="1102" y="222"/>
                </a:lnTo>
                <a:close/>
                <a:moveTo>
                  <a:pt x="1151" y="278"/>
                </a:moveTo>
                <a:lnTo>
                  <a:pt x="1153" y="278"/>
                </a:lnTo>
                <a:lnTo>
                  <a:pt x="1155" y="277"/>
                </a:lnTo>
                <a:lnTo>
                  <a:pt x="1151" y="278"/>
                </a:lnTo>
                <a:close/>
                <a:moveTo>
                  <a:pt x="1173" y="242"/>
                </a:moveTo>
                <a:lnTo>
                  <a:pt x="1173" y="242"/>
                </a:lnTo>
                <a:lnTo>
                  <a:pt x="1173" y="241"/>
                </a:lnTo>
                <a:lnTo>
                  <a:pt x="1173" y="242"/>
                </a:lnTo>
                <a:close/>
                <a:moveTo>
                  <a:pt x="1184" y="238"/>
                </a:moveTo>
                <a:lnTo>
                  <a:pt x="1184" y="238"/>
                </a:lnTo>
                <a:lnTo>
                  <a:pt x="1184" y="238"/>
                </a:lnTo>
                <a:lnTo>
                  <a:pt x="1185" y="238"/>
                </a:lnTo>
                <a:lnTo>
                  <a:pt x="1185" y="238"/>
                </a:lnTo>
                <a:lnTo>
                  <a:pt x="1184" y="238"/>
                </a:lnTo>
                <a:close/>
                <a:moveTo>
                  <a:pt x="1025" y="481"/>
                </a:moveTo>
                <a:lnTo>
                  <a:pt x="1024" y="477"/>
                </a:lnTo>
                <a:lnTo>
                  <a:pt x="1023" y="479"/>
                </a:lnTo>
                <a:lnTo>
                  <a:pt x="1025" y="481"/>
                </a:lnTo>
                <a:close/>
                <a:moveTo>
                  <a:pt x="1133" y="466"/>
                </a:moveTo>
                <a:lnTo>
                  <a:pt x="1134" y="463"/>
                </a:lnTo>
                <a:lnTo>
                  <a:pt x="1134" y="462"/>
                </a:lnTo>
                <a:lnTo>
                  <a:pt x="1130" y="459"/>
                </a:lnTo>
                <a:lnTo>
                  <a:pt x="1127" y="463"/>
                </a:lnTo>
                <a:lnTo>
                  <a:pt x="1133" y="466"/>
                </a:lnTo>
                <a:close/>
                <a:moveTo>
                  <a:pt x="1130" y="439"/>
                </a:moveTo>
                <a:lnTo>
                  <a:pt x="1130" y="436"/>
                </a:lnTo>
                <a:lnTo>
                  <a:pt x="1128" y="436"/>
                </a:lnTo>
                <a:lnTo>
                  <a:pt x="1130" y="439"/>
                </a:lnTo>
                <a:close/>
                <a:moveTo>
                  <a:pt x="1087" y="467"/>
                </a:moveTo>
                <a:lnTo>
                  <a:pt x="1091" y="471"/>
                </a:lnTo>
                <a:lnTo>
                  <a:pt x="1097" y="470"/>
                </a:lnTo>
                <a:lnTo>
                  <a:pt x="1091" y="467"/>
                </a:lnTo>
                <a:lnTo>
                  <a:pt x="1087" y="467"/>
                </a:lnTo>
                <a:close/>
                <a:moveTo>
                  <a:pt x="1135" y="453"/>
                </a:moveTo>
                <a:lnTo>
                  <a:pt x="1138" y="453"/>
                </a:lnTo>
                <a:lnTo>
                  <a:pt x="1138" y="450"/>
                </a:lnTo>
                <a:lnTo>
                  <a:pt x="1136" y="450"/>
                </a:lnTo>
                <a:lnTo>
                  <a:pt x="1135" y="453"/>
                </a:lnTo>
                <a:close/>
                <a:moveTo>
                  <a:pt x="1031" y="485"/>
                </a:moveTo>
                <a:lnTo>
                  <a:pt x="1031" y="481"/>
                </a:lnTo>
                <a:lnTo>
                  <a:pt x="1027" y="481"/>
                </a:lnTo>
                <a:lnTo>
                  <a:pt x="1031" y="485"/>
                </a:lnTo>
                <a:close/>
                <a:moveTo>
                  <a:pt x="1084" y="466"/>
                </a:moveTo>
                <a:lnTo>
                  <a:pt x="1087" y="468"/>
                </a:lnTo>
                <a:lnTo>
                  <a:pt x="1086" y="466"/>
                </a:lnTo>
                <a:lnTo>
                  <a:pt x="1084" y="466"/>
                </a:lnTo>
                <a:close/>
                <a:moveTo>
                  <a:pt x="1538" y="474"/>
                </a:moveTo>
                <a:lnTo>
                  <a:pt x="1536" y="476"/>
                </a:lnTo>
                <a:lnTo>
                  <a:pt x="1538" y="477"/>
                </a:lnTo>
                <a:lnTo>
                  <a:pt x="1538" y="474"/>
                </a:lnTo>
                <a:close/>
                <a:moveTo>
                  <a:pt x="1533" y="469"/>
                </a:moveTo>
                <a:lnTo>
                  <a:pt x="1533" y="470"/>
                </a:lnTo>
                <a:lnTo>
                  <a:pt x="1534" y="474"/>
                </a:lnTo>
                <a:lnTo>
                  <a:pt x="1538" y="473"/>
                </a:lnTo>
                <a:lnTo>
                  <a:pt x="1533" y="469"/>
                </a:lnTo>
                <a:close/>
                <a:moveTo>
                  <a:pt x="1481" y="579"/>
                </a:moveTo>
                <a:lnTo>
                  <a:pt x="1483" y="580"/>
                </a:lnTo>
                <a:lnTo>
                  <a:pt x="1485" y="579"/>
                </a:lnTo>
                <a:lnTo>
                  <a:pt x="1481" y="579"/>
                </a:lnTo>
                <a:close/>
                <a:moveTo>
                  <a:pt x="1467" y="465"/>
                </a:moveTo>
                <a:lnTo>
                  <a:pt x="1470" y="466"/>
                </a:lnTo>
                <a:lnTo>
                  <a:pt x="1466" y="468"/>
                </a:lnTo>
                <a:lnTo>
                  <a:pt x="1469" y="469"/>
                </a:lnTo>
                <a:lnTo>
                  <a:pt x="1474" y="465"/>
                </a:lnTo>
                <a:lnTo>
                  <a:pt x="1467" y="465"/>
                </a:lnTo>
                <a:close/>
                <a:moveTo>
                  <a:pt x="1155" y="270"/>
                </a:moveTo>
                <a:lnTo>
                  <a:pt x="1155" y="270"/>
                </a:lnTo>
                <a:lnTo>
                  <a:pt x="1145" y="272"/>
                </a:lnTo>
                <a:lnTo>
                  <a:pt x="1155" y="270"/>
                </a:lnTo>
                <a:close/>
                <a:moveTo>
                  <a:pt x="1525" y="465"/>
                </a:moveTo>
                <a:lnTo>
                  <a:pt x="1531" y="466"/>
                </a:lnTo>
                <a:lnTo>
                  <a:pt x="1526" y="463"/>
                </a:lnTo>
                <a:lnTo>
                  <a:pt x="1525" y="465"/>
                </a:lnTo>
                <a:close/>
                <a:moveTo>
                  <a:pt x="1470" y="747"/>
                </a:moveTo>
                <a:lnTo>
                  <a:pt x="1467" y="748"/>
                </a:lnTo>
                <a:lnTo>
                  <a:pt x="1466" y="754"/>
                </a:lnTo>
                <a:lnTo>
                  <a:pt x="1470" y="754"/>
                </a:lnTo>
                <a:lnTo>
                  <a:pt x="1470" y="747"/>
                </a:lnTo>
                <a:close/>
                <a:moveTo>
                  <a:pt x="1526" y="481"/>
                </a:moveTo>
                <a:lnTo>
                  <a:pt x="1527" y="485"/>
                </a:lnTo>
                <a:lnTo>
                  <a:pt x="1533" y="486"/>
                </a:lnTo>
                <a:lnTo>
                  <a:pt x="1545" y="487"/>
                </a:lnTo>
                <a:lnTo>
                  <a:pt x="1546" y="486"/>
                </a:lnTo>
                <a:lnTo>
                  <a:pt x="1546" y="483"/>
                </a:lnTo>
                <a:lnTo>
                  <a:pt x="1542" y="483"/>
                </a:lnTo>
                <a:lnTo>
                  <a:pt x="1536" y="480"/>
                </a:lnTo>
                <a:lnTo>
                  <a:pt x="1533" y="477"/>
                </a:lnTo>
                <a:lnTo>
                  <a:pt x="1526" y="481"/>
                </a:lnTo>
                <a:close/>
                <a:moveTo>
                  <a:pt x="1463" y="453"/>
                </a:moveTo>
                <a:lnTo>
                  <a:pt x="1460" y="458"/>
                </a:lnTo>
                <a:lnTo>
                  <a:pt x="1463" y="459"/>
                </a:lnTo>
                <a:lnTo>
                  <a:pt x="1467" y="458"/>
                </a:lnTo>
                <a:lnTo>
                  <a:pt x="1477" y="447"/>
                </a:lnTo>
                <a:lnTo>
                  <a:pt x="1474" y="445"/>
                </a:lnTo>
                <a:lnTo>
                  <a:pt x="1469" y="447"/>
                </a:lnTo>
                <a:lnTo>
                  <a:pt x="1467" y="451"/>
                </a:lnTo>
                <a:lnTo>
                  <a:pt x="1463" y="453"/>
                </a:lnTo>
                <a:close/>
                <a:moveTo>
                  <a:pt x="1458" y="747"/>
                </a:moveTo>
                <a:lnTo>
                  <a:pt x="1458" y="745"/>
                </a:lnTo>
                <a:lnTo>
                  <a:pt x="1454" y="752"/>
                </a:lnTo>
                <a:lnTo>
                  <a:pt x="1450" y="757"/>
                </a:lnTo>
                <a:lnTo>
                  <a:pt x="1450" y="759"/>
                </a:lnTo>
                <a:lnTo>
                  <a:pt x="1452" y="760"/>
                </a:lnTo>
                <a:lnTo>
                  <a:pt x="1457" y="754"/>
                </a:lnTo>
                <a:lnTo>
                  <a:pt x="1458" y="747"/>
                </a:lnTo>
                <a:close/>
                <a:moveTo>
                  <a:pt x="1520" y="463"/>
                </a:moveTo>
                <a:lnTo>
                  <a:pt x="1516" y="468"/>
                </a:lnTo>
                <a:lnTo>
                  <a:pt x="1526" y="473"/>
                </a:lnTo>
                <a:lnTo>
                  <a:pt x="1526" y="468"/>
                </a:lnTo>
                <a:lnTo>
                  <a:pt x="1522" y="463"/>
                </a:lnTo>
                <a:lnTo>
                  <a:pt x="1520" y="463"/>
                </a:lnTo>
                <a:close/>
                <a:moveTo>
                  <a:pt x="1449" y="813"/>
                </a:moveTo>
                <a:lnTo>
                  <a:pt x="1452" y="813"/>
                </a:lnTo>
                <a:lnTo>
                  <a:pt x="1452" y="811"/>
                </a:lnTo>
                <a:lnTo>
                  <a:pt x="1449" y="813"/>
                </a:lnTo>
                <a:close/>
                <a:moveTo>
                  <a:pt x="1461" y="744"/>
                </a:moveTo>
                <a:lnTo>
                  <a:pt x="1463" y="744"/>
                </a:lnTo>
                <a:lnTo>
                  <a:pt x="1463" y="743"/>
                </a:lnTo>
                <a:lnTo>
                  <a:pt x="1461" y="744"/>
                </a:lnTo>
                <a:close/>
                <a:moveTo>
                  <a:pt x="1469" y="474"/>
                </a:moveTo>
                <a:lnTo>
                  <a:pt x="1463" y="470"/>
                </a:lnTo>
                <a:lnTo>
                  <a:pt x="1463" y="474"/>
                </a:lnTo>
                <a:lnTo>
                  <a:pt x="1463" y="476"/>
                </a:lnTo>
                <a:lnTo>
                  <a:pt x="1469" y="474"/>
                </a:lnTo>
                <a:close/>
                <a:moveTo>
                  <a:pt x="1479" y="435"/>
                </a:moveTo>
                <a:lnTo>
                  <a:pt x="1467" y="443"/>
                </a:lnTo>
                <a:lnTo>
                  <a:pt x="1481" y="439"/>
                </a:lnTo>
                <a:lnTo>
                  <a:pt x="1479" y="435"/>
                </a:lnTo>
                <a:close/>
                <a:moveTo>
                  <a:pt x="812" y="384"/>
                </a:moveTo>
                <a:lnTo>
                  <a:pt x="823" y="398"/>
                </a:lnTo>
                <a:lnTo>
                  <a:pt x="830" y="399"/>
                </a:lnTo>
                <a:lnTo>
                  <a:pt x="845" y="390"/>
                </a:lnTo>
                <a:lnTo>
                  <a:pt x="849" y="391"/>
                </a:lnTo>
                <a:lnTo>
                  <a:pt x="863" y="388"/>
                </a:lnTo>
                <a:lnTo>
                  <a:pt x="865" y="383"/>
                </a:lnTo>
                <a:lnTo>
                  <a:pt x="864" y="376"/>
                </a:lnTo>
                <a:lnTo>
                  <a:pt x="868" y="370"/>
                </a:lnTo>
                <a:lnTo>
                  <a:pt x="867" y="367"/>
                </a:lnTo>
                <a:lnTo>
                  <a:pt x="873" y="368"/>
                </a:lnTo>
                <a:lnTo>
                  <a:pt x="879" y="365"/>
                </a:lnTo>
                <a:lnTo>
                  <a:pt x="883" y="355"/>
                </a:lnTo>
                <a:lnTo>
                  <a:pt x="939" y="331"/>
                </a:lnTo>
                <a:lnTo>
                  <a:pt x="935" y="326"/>
                </a:lnTo>
                <a:lnTo>
                  <a:pt x="908" y="310"/>
                </a:lnTo>
                <a:lnTo>
                  <a:pt x="889" y="310"/>
                </a:lnTo>
                <a:lnTo>
                  <a:pt x="886" y="313"/>
                </a:lnTo>
                <a:lnTo>
                  <a:pt x="887" y="314"/>
                </a:lnTo>
                <a:lnTo>
                  <a:pt x="885" y="318"/>
                </a:lnTo>
                <a:lnTo>
                  <a:pt x="883" y="318"/>
                </a:lnTo>
                <a:lnTo>
                  <a:pt x="885" y="314"/>
                </a:lnTo>
                <a:lnTo>
                  <a:pt x="883" y="310"/>
                </a:lnTo>
                <a:lnTo>
                  <a:pt x="878" y="310"/>
                </a:lnTo>
                <a:lnTo>
                  <a:pt x="871" y="317"/>
                </a:lnTo>
                <a:lnTo>
                  <a:pt x="871" y="314"/>
                </a:lnTo>
                <a:lnTo>
                  <a:pt x="875" y="310"/>
                </a:lnTo>
                <a:lnTo>
                  <a:pt x="848" y="301"/>
                </a:lnTo>
                <a:lnTo>
                  <a:pt x="801" y="307"/>
                </a:lnTo>
                <a:lnTo>
                  <a:pt x="806" y="313"/>
                </a:lnTo>
                <a:lnTo>
                  <a:pt x="809" y="320"/>
                </a:lnTo>
                <a:lnTo>
                  <a:pt x="814" y="321"/>
                </a:lnTo>
                <a:lnTo>
                  <a:pt x="816" y="324"/>
                </a:lnTo>
                <a:lnTo>
                  <a:pt x="814" y="325"/>
                </a:lnTo>
                <a:lnTo>
                  <a:pt x="811" y="326"/>
                </a:lnTo>
                <a:lnTo>
                  <a:pt x="811" y="329"/>
                </a:lnTo>
                <a:lnTo>
                  <a:pt x="807" y="328"/>
                </a:lnTo>
                <a:lnTo>
                  <a:pt x="807" y="330"/>
                </a:lnTo>
                <a:lnTo>
                  <a:pt x="811" y="330"/>
                </a:lnTo>
                <a:lnTo>
                  <a:pt x="806" y="333"/>
                </a:lnTo>
                <a:lnTo>
                  <a:pt x="800" y="343"/>
                </a:lnTo>
                <a:lnTo>
                  <a:pt x="805" y="348"/>
                </a:lnTo>
                <a:lnTo>
                  <a:pt x="797" y="351"/>
                </a:lnTo>
                <a:lnTo>
                  <a:pt x="798" y="354"/>
                </a:lnTo>
                <a:lnTo>
                  <a:pt x="797" y="359"/>
                </a:lnTo>
                <a:lnTo>
                  <a:pt x="791" y="364"/>
                </a:lnTo>
                <a:lnTo>
                  <a:pt x="783" y="370"/>
                </a:lnTo>
                <a:lnTo>
                  <a:pt x="783" y="379"/>
                </a:lnTo>
                <a:lnTo>
                  <a:pt x="796" y="379"/>
                </a:lnTo>
                <a:lnTo>
                  <a:pt x="812" y="384"/>
                </a:lnTo>
                <a:close/>
                <a:moveTo>
                  <a:pt x="1290" y="298"/>
                </a:moveTo>
                <a:lnTo>
                  <a:pt x="1295" y="291"/>
                </a:lnTo>
                <a:lnTo>
                  <a:pt x="1288" y="297"/>
                </a:lnTo>
                <a:lnTo>
                  <a:pt x="1290" y="302"/>
                </a:lnTo>
                <a:lnTo>
                  <a:pt x="1284" y="302"/>
                </a:lnTo>
                <a:lnTo>
                  <a:pt x="1276" y="296"/>
                </a:lnTo>
                <a:lnTo>
                  <a:pt x="1277" y="291"/>
                </a:lnTo>
                <a:lnTo>
                  <a:pt x="1274" y="286"/>
                </a:lnTo>
                <a:lnTo>
                  <a:pt x="1277" y="284"/>
                </a:lnTo>
                <a:lnTo>
                  <a:pt x="1276" y="283"/>
                </a:lnTo>
                <a:lnTo>
                  <a:pt x="1269" y="280"/>
                </a:lnTo>
                <a:lnTo>
                  <a:pt x="1270" y="274"/>
                </a:lnTo>
                <a:lnTo>
                  <a:pt x="1276" y="269"/>
                </a:lnTo>
                <a:lnTo>
                  <a:pt x="1273" y="267"/>
                </a:lnTo>
                <a:lnTo>
                  <a:pt x="1274" y="261"/>
                </a:lnTo>
                <a:lnTo>
                  <a:pt x="1265" y="257"/>
                </a:lnTo>
                <a:lnTo>
                  <a:pt x="1265" y="255"/>
                </a:lnTo>
                <a:lnTo>
                  <a:pt x="1260" y="246"/>
                </a:lnTo>
                <a:lnTo>
                  <a:pt x="1250" y="250"/>
                </a:lnTo>
                <a:lnTo>
                  <a:pt x="1236" y="250"/>
                </a:lnTo>
                <a:lnTo>
                  <a:pt x="1222" y="246"/>
                </a:lnTo>
                <a:lnTo>
                  <a:pt x="1217" y="241"/>
                </a:lnTo>
                <a:lnTo>
                  <a:pt x="1225" y="238"/>
                </a:lnTo>
                <a:lnTo>
                  <a:pt x="1218" y="240"/>
                </a:lnTo>
                <a:lnTo>
                  <a:pt x="1206" y="234"/>
                </a:lnTo>
                <a:lnTo>
                  <a:pt x="1207" y="233"/>
                </a:lnTo>
                <a:lnTo>
                  <a:pt x="1214" y="235"/>
                </a:lnTo>
                <a:lnTo>
                  <a:pt x="1207" y="230"/>
                </a:lnTo>
                <a:lnTo>
                  <a:pt x="1206" y="230"/>
                </a:lnTo>
                <a:lnTo>
                  <a:pt x="1209" y="230"/>
                </a:lnTo>
                <a:lnTo>
                  <a:pt x="1207" y="227"/>
                </a:lnTo>
                <a:lnTo>
                  <a:pt x="1224" y="226"/>
                </a:lnTo>
                <a:lnTo>
                  <a:pt x="1244" y="230"/>
                </a:lnTo>
                <a:lnTo>
                  <a:pt x="1251" y="229"/>
                </a:lnTo>
                <a:lnTo>
                  <a:pt x="1260" y="235"/>
                </a:lnTo>
                <a:lnTo>
                  <a:pt x="1258" y="242"/>
                </a:lnTo>
                <a:lnTo>
                  <a:pt x="1254" y="245"/>
                </a:lnTo>
                <a:lnTo>
                  <a:pt x="1255" y="248"/>
                </a:lnTo>
                <a:lnTo>
                  <a:pt x="1262" y="242"/>
                </a:lnTo>
                <a:lnTo>
                  <a:pt x="1286" y="242"/>
                </a:lnTo>
                <a:lnTo>
                  <a:pt x="1284" y="241"/>
                </a:lnTo>
                <a:lnTo>
                  <a:pt x="1287" y="242"/>
                </a:lnTo>
                <a:lnTo>
                  <a:pt x="1292" y="242"/>
                </a:lnTo>
                <a:lnTo>
                  <a:pt x="1298" y="245"/>
                </a:lnTo>
                <a:lnTo>
                  <a:pt x="1317" y="250"/>
                </a:lnTo>
                <a:lnTo>
                  <a:pt x="1301" y="253"/>
                </a:lnTo>
                <a:lnTo>
                  <a:pt x="1304" y="254"/>
                </a:lnTo>
                <a:lnTo>
                  <a:pt x="1300" y="254"/>
                </a:lnTo>
                <a:lnTo>
                  <a:pt x="1301" y="253"/>
                </a:lnTo>
                <a:lnTo>
                  <a:pt x="1282" y="250"/>
                </a:lnTo>
                <a:lnTo>
                  <a:pt x="1296" y="256"/>
                </a:lnTo>
                <a:lnTo>
                  <a:pt x="1293" y="258"/>
                </a:lnTo>
                <a:lnTo>
                  <a:pt x="1288" y="258"/>
                </a:lnTo>
                <a:lnTo>
                  <a:pt x="1291" y="261"/>
                </a:lnTo>
                <a:lnTo>
                  <a:pt x="1295" y="258"/>
                </a:lnTo>
                <a:lnTo>
                  <a:pt x="1300" y="258"/>
                </a:lnTo>
                <a:lnTo>
                  <a:pt x="1298" y="261"/>
                </a:lnTo>
                <a:lnTo>
                  <a:pt x="1306" y="257"/>
                </a:lnTo>
                <a:lnTo>
                  <a:pt x="1310" y="261"/>
                </a:lnTo>
                <a:lnTo>
                  <a:pt x="1308" y="264"/>
                </a:lnTo>
                <a:lnTo>
                  <a:pt x="1311" y="261"/>
                </a:lnTo>
                <a:lnTo>
                  <a:pt x="1313" y="264"/>
                </a:lnTo>
                <a:lnTo>
                  <a:pt x="1313" y="269"/>
                </a:lnTo>
                <a:lnTo>
                  <a:pt x="1309" y="274"/>
                </a:lnTo>
                <a:lnTo>
                  <a:pt x="1310" y="274"/>
                </a:lnTo>
                <a:lnTo>
                  <a:pt x="1317" y="272"/>
                </a:lnTo>
                <a:lnTo>
                  <a:pt x="1321" y="278"/>
                </a:lnTo>
                <a:lnTo>
                  <a:pt x="1324" y="278"/>
                </a:lnTo>
                <a:lnTo>
                  <a:pt x="1321" y="270"/>
                </a:lnTo>
                <a:lnTo>
                  <a:pt x="1322" y="268"/>
                </a:lnTo>
                <a:lnTo>
                  <a:pt x="1329" y="271"/>
                </a:lnTo>
                <a:lnTo>
                  <a:pt x="1329" y="272"/>
                </a:lnTo>
                <a:lnTo>
                  <a:pt x="1337" y="271"/>
                </a:lnTo>
                <a:lnTo>
                  <a:pt x="1341" y="272"/>
                </a:lnTo>
                <a:lnTo>
                  <a:pt x="1341" y="271"/>
                </a:lnTo>
                <a:lnTo>
                  <a:pt x="1344" y="270"/>
                </a:lnTo>
                <a:lnTo>
                  <a:pt x="1346" y="270"/>
                </a:lnTo>
                <a:lnTo>
                  <a:pt x="1359" y="275"/>
                </a:lnTo>
                <a:lnTo>
                  <a:pt x="1355" y="278"/>
                </a:lnTo>
                <a:lnTo>
                  <a:pt x="1368" y="275"/>
                </a:lnTo>
                <a:lnTo>
                  <a:pt x="1362" y="272"/>
                </a:lnTo>
                <a:lnTo>
                  <a:pt x="1373" y="272"/>
                </a:lnTo>
                <a:lnTo>
                  <a:pt x="1377" y="268"/>
                </a:lnTo>
                <a:lnTo>
                  <a:pt x="1385" y="269"/>
                </a:lnTo>
                <a:lnTo>
                  <a:pt x="1382" y="268"/>
                </a:lnTo>
                <a:lnTo>
                  <a:pt x="1393" y="264"/>
                </a:lnTo>
                <a:lnTo>
                  <a:pt x="1403" y="268"/>
                </a:lnTo>
                <a:lnTo>
                  <a:pt x="1418" y="266"/>
                </a:lnTo>
                <a:lnTo>
                  <a:pt x="1429" y="266"/>
                </a:lnTo>
                <a:lnTo>
                  <a:pt x="1434" y="267"/>
                </a:lnTo>
                <a:lnTo>
                  <a:pt x="1433" y="270"/>
                </a:lnTo>
                <a:lnTo>
                  <a:pt x="1443" y="270"/>
                </a:lnTo>
                <a:lnTo>
                  <a:pt x="1452" y="274"/>
                </a:lnTo>
                <a:lnTo>
                  <a:pt x="1445" y="278"/>
                </a:lnTo>
                <a:lnTo>
                  <a:pt x="1456" y="278"/>
                </a:lnTo>
                <a:lnTo>
                  <a:pt x="1459" y="281"/>
                </a:lnTo>
                <a:lnTo>
                  <a:pt x="1456" y="282"/>
                </a:lnTo>
                <a:lnTo>
                  <a:pt x="1460" y="282"/>
                </a:lnTo>
                <a:lnTo>
                  <a:pt x="1459" y="284"/>
                </a:lnTo>
                <a:lnTo>
                  <a:pt x="1445" y="286"/>
                </a:lnTo>
                <a:lnTo>
                  <a:pt x="1448" y="287"/>
                </a:lnTo>
                <a:lnTo>
                  <a:pt x="1447" y="290"/>
                </a:lnTo>
                <a:lnTo>
                  <a:pt x="1456" y="287"/>
                </a:lnTo>
                <a:lnTo>
                  <a:pt x="1461" y="291"/>
                </a:lnTo>
                <a:lnTo>
                  <a:pt x="1452" y="294"/>
                </a:lnTo>
                <a:lnTo>
                  <a:pt x="1447" y="290"/>
                </a:lnTo>
                <a:lnTo>
                  <a:pt x="1447" y="290"/>
                </a:lnTo>
                <a:lnTo>
                  <a:pt x="1445" y="291"/>
                </a:lnTo>
                <a:lnTo>
                  <a:pt x="1449" y="292"/>
                </a:lnTo>
                <a:lnTo>
                  <a:pt x="1448" y="302"/>
                </a:lnTo>
                <a:lnTo>
                  <a:pt x="1434" y="302"/>
                </a:lnTo>
                <a:lnTo>
                  <a:pt x="1425" y="303"/>
                </a:lnTo>
                <a:lnTo>
                  <a:pt x="1408" y="301"/>
                </a:lnTo>
                <a:lnTo>
                  <a:pt x="1403" y="297"/>
                </a:lnTo>
                <a:lnTo>
                  <a:pt x="1405" y="294"/>
                </a:lnTo>
                <a:lnTo>
                  <a:pt x="1405" y="291"/>
                </a:lnTo>
                <a:lnTo>
                  <a:pt x="1397" y="291"/>
                </a:lnTo>
                <a:lnTo>
                  <a:pt x="1397" y="291"/>
                </a:lnTo>
                <a:lnTo>
                  <a:pt x="1401" y="294"/>
                </a:lnTo>
                <a:lnTo>
                  <a:pt x="1400" y="301"/>
                </a:lnTo>
                <a:lnTo>
                  <a:pt x="1388" y="302"/>
                </a:lnTo>
                <a:lnTo>
                  <a:pt x="1380" y="302"/>
                </a:lnTo>
                <a:lnTo>
                  <a:pt x="1373" y="297"/>
                </a:lnTo>
                <a:lnTo>
                  <a:pt x="1373" y="298"/>
                </a:lnTo>
                <a:lnTo>
                  <a:pt x="1373" y="302"/>
                </a:lnTo>
                <a:lnTo>
                  <a:pt x="1369" y="297"/>
                </a:lnTo>
                <a:lnTo>
                  <a:pt x="1370" y="301"/>
                </a:lnTo>
                <a:lnTo>
                  <a:pt x="1369" y="302"/>
                </a:lnTo>
                <a:lnTo>
                  <a:pt x="1361" y="303"/>
                </a:lnTo>
                <a:lnTo>
                  <a:pt x="1361" y="301"/>
                </a:lnTo>
                <a:lnTo>
                  <a:pt x="1359" y="298"/>
                </a:lnTo>
                <a:lnTo>
                  <a:pt x="1357" y="303"/>
                </a:lnTo>
                <a:lnTo>
                  <a:pt x="1352" y="298"/>
                </a:lnTo>
                <a:lnTo>
                  <a:pt x="1353" y="303"/>
                </a:lnTo>
                <a:lnTo>
                  <a:pt x="1325" y="302"/>
                </a:lnTo>
                <a:lnTo>
                  <a:pt x="1325" y="298"/>
                </a:lnTo>
                <a:lnTo>
                  <a:pt x="1328" y="294"/>
                </a:lnTo>
                <a:lnTo>
                  <a:pt x="1326" y="291"/>
                </a:lnTo>
                <a:lnTo>
                  <a:pt x="1321" y="297"/>
                </a:lnTo>
                <a:lnTo>
                  <a:pt x="1321" y="294"/>
                </a:lnTo>
                <a:lnTo>
                  <a:pt x="1318" y="292"/>
                </a:lnTo>
                <a:lnTo>
                  <a:pt x="1321" y="296"/>
                </a:lnTo>
                <a:lnTo>
                  <a:pt x="1319" y="298"/>
                </a:lnTo>
                <a:lnTo>
                  <a:pt x="1317" y="298"/>
                </a:lnTo>
                <a:lnTo>
                  <a:pt x="1317" y="298"/>
                </a:lnTo>
                <a:lnTo>
                  <a:pt x="1312" y="301"/>
                </a:lnTo>
                <a:lnTo>
                  <a:pt x="1306" y="302"/>
                </a:lnTo>
                <a:lnTo>
                  <a:pt x="1296" y="298"/>
                </a:lnTo>
                <a:lnTo>
                  <a:pt x="1295" y="295"/>
                </a:lnTo>
                <a:lnTo>
                  <a:pt x="1290" y="298"/>
                </a:lnTo>
                <a:close/>
                <a:moveTo>
                  <a:pt x="1290" y="262"/>
                </a:moveTo>
                <a:lnTo>
                  <a:pt x="1289" y="262"/>
                </a:lnTo>
                <a:lnTo>
                  <a:pt x="1289" y="263"/>
                </a:lnTo>
                <a:lnTo>
                  <a:pt x="1290" y="262"/>
                </a:lnTo>
                <a:close/>
                <a:moveTo>
                  <a:pt x="1373" y="302"/>
                </a:moveTo>
                <a:lnTo>
                  <a:pt x="1373" y="302"/>
                </a:lnTo>
                <a:lnTo>
                  <a:pt x="1373" y="302"/>
                </a:lnTo>
                <a:lnTo>
                  <a:pt x="1373" y="302"/>
                </a:lnTo>
                <a:close/>
                <a:moveTo>
                  <a:pt x="1303" y="447"/>
                </a:moveTo>
                <a:lnTo>
                  <a:pt x="1303" y="443"/>
                </a:lnTo>
                <a:lnTo>
                  <a:pt x="1298" y="446"/>
                </a:lnTo>
                <a:lnTo>
                  <a:pt x="1296" y="445"/>
                </a:lnTo>
                <a:lnTo>
                  <a:pt x="1295" y="447"/>
                </a:lnTo>
                <a:lnTo>
                  <a:pt x="1298" y="450"/>
                </a:lnTo>
                <a:lnTo>
                  <a:pt x="1300" y="448"/>
                </a:lnTo>
                <a:lnTo>
                  <a:pt x="1299" y="447"/>
                </a:lnTo>
                <a:lnTo>
                  <a:pt x="1302" y="448"/>
                </a:lnTo>
                <a:lnTo>
                  <a:pt x="1303" y="447"/>
                </a:lnTo>
                <a:close/>
                <a:moveTo>
                  <a:pt x="1497" y="474"/>
                </a:moveTo>
                <a:lnTo>
                  <a:pt x="1489" y="488"/>
                </a:lnTo>
                <a:lnTo>
                  <a:pt x="1492" y="493"/>
                </a:lnTo>
                <a:lnTo>
                  <a:pt x="1493" y="499"/>
                </a:lnTo>
                <a:lnTo>
                  <a:pt x="1500" y="500"/>
                </a:lnTo>
                <a:lnTo>
                  <a:pt x="1510" y="499"/>
                </a:lnTo>
                <a:lnTo>
                  <a:pt x="1522" y="493"/>
                </a:lnTo>
                <a:lnTo>
                  <a:pt x="1522" y="490"/>
                </a:lnTo>
                <a:lnTo>
                  <a:pt x="1522" y="482"/>
                </a:lnTo>
                <a:lnTo>
                  <a:pt x="1522" y="477"/>
                </a:lnTo>
                <a:lnTo>
                  <a:pt x="1522" y="474"/>
                </a:lnTo>
                <a:lnTo>
                  <a:pt x="1512" y="473"/>
                </a:lnTo>
                <a:lnTo>
                  <a:pt x="1497" y="474"/>
                </a:lnTo>
                <a:close/>
                <a:moveTo>
                  <a:pt x="1215" y="364"/>
                </a:moveTo>
                <a:lnTo>
                  <a:pt x="1206" y="365"/>
                </a:lnTo>
                <a:lnTo>
                  <a:pt x="1210" y="367"/>
                </a:lnTo>
                <a:lnTo>
                  <a:pt x="1213" y="372"/>
                </a:lnTo>
                <a:lnTo>
                  <a:pt x="1206" y="375"/>
                </a:lnTo>
                <a:lnTo>
                  <a:pt x="1213" y="375"/>
                </a:lnTo>
                <a:lnTo>
                  <a:pt x="1213" y="376"/>
                </a:lnTo>
                <a:lnTo>
                  <a:pt x="1210" y="383"/>
                </a:lnTo>
                <a:lnTo>
                  <a:pt x="1207" y="383"/>
                </a:lnTo>
                <a:lnTo>
                  <a:pt x="1198" y="387"/>
                </a:lnTo>
                <a:lnTo>
                  <a:pt x="1189" y="387"/>
                </a:lnTo>
                <a:lnTo>
                  <a:pt x="1190" y="388"/>
                </a:lnTo>
                <a:lnTo>
                  <a:pt x="1181" y="394"/>
                </a:lnTo>
                <a:lnTo>
                  <a:pt x="1176" y="390"/>
                </a:lnTo>
                <a:lnTo>
                  <a:pt x="1172" y="393"/>
                </a:lnTo>
                <a:lnTo>
                  <a:pt x="1166" y="382"/>
                </a:lnTo>
                <a:lnTo>
                  <a:pt x="1159" y="378"/>
                </a:lnTo>
                <a:lnTo>
                  <a:pt x="1151" y="371"/>
                </a:lnTo>
                <a:lnTo>
                  <a:pt x="1146" y="371"/>
                </a:lnTo>
                <a:lnTo>
                  <a:pt x="1143" y="365"/>
                </a:lnTo>
                <a:lnTo>
                  <a:pt x="1135" y="367"/>
                </a:lnTo>
                <a:lnTo>
                  <a:pt x="1131" y="361"/>
                </a:lnTo>
                <a:lnTo>
                  <a:pt x="1123" y="354"/>
                </a:lnTo>
                <a:lnTo>
                  <a:pt x="1121" y="351"/>
                </a:lnTo>
                <a:lnTo>
                  <a:pt x="1124" y="344"/>
                </a:lnTo>
                <a:lnTo>
                  <a:pt x="1128" y="343"/>
                </a:lnTo>
                <a:lnTo>
                  <a:pt x="1138" y="349"/>
                </a:lnTo>
                <a:lnTo>
                  <a:pt x="1142" y="354"/>
                </a:lnTo>
                <a:lnTo>
                  <a:pt x="1155" y="353"/>
                </a:lnTo>
                <a:lnTo>
                  <a:pt x="1157" y="352"/>
                </a:lnTo>
                <a:lnTo>
                  <a:pt x="1154" y="348"/>
                </a:lnTo>
                <a:lnTo>
                  <a:pt x="1155" y="346"/>
                </a:lnTo>
                <a:lnTo>
                  <a:pt x="1157" y="346"/>
                </a:lnTo>
                <a:lnTo>
                  <a:pt x="1155" y="349"/>
                </a:lnTo>
                <a:lnTo>
                  <a:pt x="1157" y="349"/>
                </a:lnTo>
                <a:lnTo>
                  <a:pt x="1162" y="348"/>
                </a:lnTo>
                <a:lnTo>
                  <a:pt x="1158" y="341"/>
                </a:lnTo>
                <a:lnTo>
                  <a:pt x="1155" y="343"/>
                </a:lnTo>
                <a:lnTo>
                  <a:pt x="1154" y="342"/>
                </a:lnTo>
                <a:lnTo>
                  <a:pt x="1155" y="339"/>
                </a:lnTo>
                <a:lnTo>
                  <a:pt x="1162" y="342"/>
                </a:lnTo>
                <a:lnTo>
                  <a:pt x="1165" y="342"/>
                </a:lnTo>
                <a:lnTo>
                  <a:pt x="1155" y="337"/>
                </a:lnTo>
                <a:lnTo>
                  <a:pt x="1154" y="338"/>
                </a:lnTo>
                <a:lnTo>
                  <a:pt x="1147" y="338"/>
                </a:lnTo>
                <a:lnTo>
                  <a:pt x="1136" y="332"/>
                </a:lnTo>
                <a:lnTo>
                  <a:pt x="1147" y="328"/>
                </a:lnTo>
                <a:lnTo>
                  <a:pt x="1152" y="330"/>
                </a:lnTo>
                <a:lnTo>
                  <a:pt x="1154" y="328"/>
                </a:lnTo>
                <a:lnTo>
                  <a:pt x="1145" y="325"/>
                </a:lnTo>
                <a:lnTo>
                  <a:pt x="1146" y="324"/>
                </a:lnTo>
                <a:lnTo>
                  <a:pt x="1154" y="321"/>
                </a:lnTo>
                <a:lnTo>
                  <a:pt x="1159" y="324"/>
                </a:lnTo>
                <a:lnTo>
                  <a:pt x="1163" y="320"/>
                </a:lnTo>
                <a:lnTo>
                  <a:pt x="1157" y="321"/>
                </a:lnTo>
                <a:lnTo>
                  <a:pt x="1162" y="318"/>
                </a:lnTo>
                <a:lnTo>
                  <a:pt x="1172" y="325"/>
                </a:lnTo>
                <a:lnTo>
                  <a:pt x="1187" y="324"/>
                </a:lnTo>
                <a:lnTo>
                  <a:pt x="1192" y="320"/>
                </a:lnTo>
                <a:lnTo>
                  <a:pt x="1202" y="321"/>
                </a:lnTo>
                <a:lnTo>
                  <a:pt x="1206" y="326"/>
                </a:lnTo>
                <a:lnTo>
                  <a:pt x="1202" y="330"/>
                </a:lnTo>
                <a:lnTo>
                  <a:pt x="1193" y="330"/>
                </a:lnTo>
                <a:lnTo>
                  <a:pt x="1193" y="332"/>
                </a:lnTo>
                <a:lnTo>
                  <a:pt x="1200" y="331"/>
                </a:lnTo>
                <a:lnTo>
                  <a:pt x="1202" y="335"/>
                </a:lnTo>
                <a:lnTo>
                  <a:pt x="1191" y="337"/>
                </a:lnTo>
                <a:lnTo>
                  <a:pt x="1181" y="344"/>
                </a:lnTo>
                <a:lnTo>
                  <a:pt x="1181" y="349"/>
                </a:lnTo>
                <a:lnTo>
                  <a:pt x="1189" y="344"/>
                </a:lnTo>
                <a:lnTo>
                  <a:pt x="1199" y="347"/>
                </a:lnTo>
                <a:lnTo>
                  <a:pt x="1201" y="348"/>
                </a:lnTo>
                <a:lnTo>
                  <a:pt x="1201" y="349"/>
                </a:lnTo>
                <a:lnTo>
                  <a:pt x="1203" y="352"/>
                </a:lnTo>
                <a:lnTo>
                  <a:pt x="1202" y="355"/>
                </a:lnTo>
                <a:lnTo>
                  <a:pt x="1210" y="352"/>
                </a:lnTo>
                <a:lnTo>
                  <a:pt x="1215" y="364"/>
                </a:lnTo>
                <a:close/>
                <a:moveTo>
                  <a:pt x="1185" y="385"/>
                </a:moveTo>
                <a:lnTo>
                  <a:pt x="1183" y="383"/>
                </a:lnTo>
                <a:lnTo>
                  <a:pt x="1185" y="378"/>
                </a:lnTo>
                <a:lnTo>
                  <a:pt x="1185" y="376"/>
                </a:lnTo>
                <a:lnTo>
                  <a:pt x="1182" y="383"/>
                </a:lnTo>
                <a:lnTo>
                  <a:pt x="1185" y="385"/>
                </a:lnTo>
                <a:close/>
                <a:moveTo>
                  <a:pt x="1254" y="297"/>
                </a:moveTo>
                <a:lnTo>
                  <a:pt x="1257" y="291"/>
                </a:lnTo>
                <a:lnTo>
                  <a:pt x="1255" y="279"/>
                </a:lnTo>
                <a:lnTo>
                  <a:pt x="1243" y="269"/>
                </a:lnTo>
                <a:lnTo>
                  <a:pt x="1235" y="268"/>
                </a:lnTo>
                <a:lnTo>
                  <a:pt x="1222" y="276"/>
                </a:lnTo>
                <a:lnTo>
                  <a:pt x="1224" y="278"/>
                </a:lnTo>
                <a:lnTo>
                  <a:pt x="1222" y="278"/>
                </a:lnTo>
                <a:lnTo>
                  <a:pt x="1218" y="279"/>
                </a:lnTo>
                <a:lnTo>
                  <a:pt x="1221" y="280"/>
                </a:lnTo>
                <a:lnTo>
                  <a:pt x="1212" y="283"/>
                </a:lnTo>
                <a:lnTo>
                  <a:pt x="1209" y="286"/>
                </a:lnTo>
                <a:lnTo>
                  <a:pt x="1209" y="290"/>
                </a:lnTo>
                <a:lnTo>
                  <a:pt x="1213" y="290"/>
                </a:lnTo>
                <a:lnTo>
                  <a:pt x="1213" y="291"/>
                </a:lnTo>
                <a:lnTo>
                  <a:pt x="1217" y="287"/>
                </a:lnTo>
                <a:lnTo>
                  <a:pt x="1217" y="290"/>
                </a:lnTo>
                <a:lnTo>
                  <a:pt x="1218" y="291"/>
                </a:lnTo>
                <a:lnTo>
                  <a:pt x="1240" y="298"/>
                </a:lnTo>
                <a:lnTo>
                  <a:pt x="1254" y="297"/>
                </a:lnTo>
                <a:close/>
                <a:moveTo>
                  <a:pt x="2510" y="745"/>
                </a:moveTo>
                <a:lnTo>
                  <a:pt x="2514" y="743"/>
                </a:lnTo>
                <a:lnTo>
                  <a:pt x="2508" y="745"/>
                </a:lnTo>
                <a:lnTo>
                  <a:pt x="2510" y="745"/>
                </a:lnTo>
                <a:close/>
                <a:moveTo>
                  <a:pt x="1229" y="302"/>
                </a:moveTo>
                <a:lnTo>
                  <a:pt x="1225" y="298"/>
                </a:lnTo>
                <a:lnTo>
                  <a:pt x="1221" y="301"/>
                </a:lnTo>
                <a:lnTo>
                  <a:pt x="1229" y="302"/>
                </a:lnTo>
                <a:close/>
                <a:moveTo>
                  <a:pt x="1349" y="486"/>
                </a:moveTo>
                <a:lnTo>
                  <a:pt x="1354" y="487"/>
                </a:lnTo>
                <a:lnTo>
                  <a:pt x="1357" y="485"/>
                </a:lnTo>
                <a:lnTo>
                  <a:pt x="1353" y="476"/>
                </a:lnTo>
                <a:lnTo>
                  <a:pt x="1353" y="474"/>
                </a:lnTo>
                <a:lnTo>
                  <a:pt x="1352" y="473"/>
                </a:lnTo>
                <a:lnTo>
                  <a:pt x="1347" y="479"/>
                </a:lnTo>
                <a:lnTo>
                  <a:pt x="1351" y="481"/>
                </a:lnTo>
                <a:lnTo>
                  <a:pt x="1349" y="482"/>
                </a:lnTo>
                <a:lnTo>
                  <a:pt x="1349" y="486"/>
                </a:lnTo>
                <a:close/>
                <a:moveTo>
                  <a:pt x="1498" y="443"/>
                </a:moveTo>
                <a:lnTo>
                  <a:pt x="1493" y="443"/>
                </a:lnTo>
                <a:lnTo>
                  <a:pt x="1489" y="445"/>
                </a:lnTo>
                <a:lnTo>
                  <a:pt x="1488" y="449"/>
                </a:lnTo>
                <a:lnTo>
                  <a:pt x="1489" y="455"/>
                </a:lnTo>
                <a:lnTo>
                  <a:pt x="1494" y="455"/>
                </a:lnTo>
                <a:lnTo>
                  <a:pt x="1498" y="447"/>
                </a:lnTo>
                <a:lnTo>
                  <a:pt x="1498" y="443"/>
                </a:lnTo>
                <a:close/>
                <a:moveTo>
                  <a:pt x="2520" y="701"/>
                </a:moveTo>
                <a:lnTo>
                  <a:pt x="2512" y="706"/>
                </a:lnTo>
                <a:lnTo>
                  <a:pt x="2513" y="707"/>
                </a:lnTo>
                <a:lnTo>
                  <a:pt x="2510" y="709"/>
                </a:lnTo>
                <a:lnTo>
                  <a:pt x="2510" y="708"/>
                </a:lnTo>
                <a:lnTo>
                  <a:pt x="2508" y="708"/>
                </a:lnTo>
                <a:lnTo>
                  <a:pt x="2508" y="712"/>
                </a:lnTo>
                <a:lnTo>
                  <a:pt x="2508" y="716"/>
                </a:lnTo>
                <a:lnTo>
                  <a:pt x="2508" y="716"/>
                </a:lnTo>
                <a:lnTo>
                  <a:pt x="2512" y="717"/>
                </a:lnTo>
                <a:lnTo>
                  <a:pt x="2508" y="717"/>
                </a:lnTo>
                <a:lnTo>
                  <a:pt x="2510" y="719"/>
                </a:lnTo>
                <a:lnTo>
                  <a:pt x="2514" y="716"/>
                </a:lnTo>
                <a:lnTo>
                  <a:pt x="2514" y="716"/>
                </a:lnTo>
                <a:lnTo>
                  <a:pt x="2516" y="716"/>
                </a:lnTo>
                <a:lnTo>
                  <a:pt x="2518" y="712"/>
                </a:lnTo>
                <a:lnTo>
                  <a:pt x="2518" y="712"/>
                </a:lnTo>
                <a:lnTo>
                  <a:pt x="2515" y="712"/>
                </a:lnTo>
                <a:lnTo>
                  <a:pt x="2514" y="712"/>
                </a:lnTo>
                <a:lnTo>
                  <a:pt x="2514" y="712"/>
                </a:lnTo>
                <a:lnTo>
                  <a:pt x="2515" y="712"/>
                </a:lnTo>
                <a:lnTo>
                  <a:pt x="2522" y="708"/>
                </a:lnTo>
                <a:lnTo>
                  <a:pt x="2519" y="708"/>
                </a:lnTo>
                <a:lnTo>
                  <a:pt x="2522" y="703"/>
                </a:lnTo>
                <a:lnTo>
                  <a:pt x="2520" y="701"/>
                </a:lnTo>
                <a:close/>
                <a:moveTo>
                  <a:pt x="2516" y="639"/>
                </a:moveTo>
                <a:lnTo>
                  <a:pt x="2516" y="637"/>
                </a:lnTo>
                <a:lnTo>
                  <a:pt x="2512" y="634"/>
                </a:lnTo>
                <a:lnTo>
                  <a:pt x="2516" y="639"/>
                </a:lnTo>
                <a:close/>
                <a:moveTo>
                  <a:pt x="1410" y="435"/>
                </a:moveTo>
                <a:lnTo>
                  <a:pt x="1415" y="436"/>
                </a:lnTo>
                <a:lnTo>
                  <a:pt x="1410" y="433"/>
                </a:lnTo>
                <a:lnTo>
                  <a:pt x="1410" y="435"/>
                </a:lnTo>
                <a:close/>
                <a:moveTo>
                  <a:pt x="1414" y="432"/>
                </a:moveTo>
                <a:lnTo>
                  <a:pt x="1414" y="431"/>
                </a:lnTo>
                <a:lnTo>
                  <a:pt x="1414" y="431"/>
                </a:lnTo>
                <a:lnTo>
                  <a:pt x="1412" y="431"/>
                </a:lnTo>
                <a:lnTo>
                  <a:pt x="1416" y="433"/>
                </a:lnTo>
                <a:lnTo>
                  <a:pt x="1414" y="432"/>
                </a:lnTo>
                <a:close/>
                <a:moveTo>
                  <a:pt x="1123" y="443"/>
                </a:moveTo>
                <a:lnTo>
                  <a:pt x="1120" y="442"/>
                </a:lnTo>
                <a:lnTo>
                  <a:pt x="1120" y="443"/>
                </a:lnTo>
                <a:lnTo>
                  <a:pt x="1123" y="443"/>
                </a:lnTo>
                <a:close/>
                <a:moveTo>
                  <a:pt x="1357" y="166"/>
                </a:moveTo>
                <a:lnTo>
                  <a:pt x="1376" y="162"/>
                </a:lnTo>
                <a:lnTo>
                  <a:pt x="1365" y="160"/>
                </a:lnTo>
                <a:lnTo>
                  <a:pt x="1357" y="166"/>
                </a:lnTo>
                <a:close/>
                <a:moveTo>
                  <a:pt x="1352" y="146"/>
                </a:moveTo>
                <a:lnTo>
                  <a:pt x="1353" y="146"/>
                </a:lnTo>
                <a:lnTo>
                  <a:pt x="1354" y="145"/>
                </a:lnTo>
                <a:lnTo>
                  <a:pt x="1352" y="146"/>
                </a:lnTo>
                <a:close/>
                <a:moveTo>
                  <a:pt x="1321" y="120"/>
                </a:moveTo>
                <a:lnTo>
                  <a:pt x="1330" y="123"/>
                </a:lnTo>
                <a:lnTo>
                  <a:pt x="1332" y="126"/>
                </a:lnTo>
                <a:lnTo>
                  <a:pt x="1340" y="124"/>
                </a:lnTo>
                <a:lnTo>
                  <a:pt x="1340" y="118"/>
                </a:lnTo>
                <a:lnTo>
                  <a:pt x="1321" y="118"/>
                </a:lnTo>
                <a:lnTo>
                  <a:pt x="1321" y="120"/>
                </a:lnTo>
                <a:close/>
                <a:moveTo>
                  <a:pt x="1207" y="126"/>
                </a:moveTo>
                <a:lnTo>
                  <a:pt x="1214" y="127"/>
                </a:lnTo>
                <a:lnTo>
                  <a:pt x="1209" y="130"/>
                </a:lnTo>
                <a:lnTo>
                  <a:pt x="1217" y="132"/>
                </a:lnTo>
                <a:lnTo>
                  <a:pt x="1210" y="134"/>
                </a:lnTo>
                <a:lnTo>
                  <a:pt x="1222" y="141"/>
                </a:lnTo>
                <a:lnTo>
                  <a:pt x="1244" y="137"/>
                </a:lnTo>
                <a:lnTo>
                  <a:pt x="1237" y="142"/>
                </a:lnTo>
                <a:lnTo>
                  <a:pt x="1224" y="146"/>
                </a:lnTo>
                <a:lnTo>
                  <a:pt x="1222" y="149"/>
                </a:lnTo>
                <a:lnTo>
                  <a:pt x="1229" y="151"/>
                </a:lnTo>
                <a:lnTo>
                  <a:pt x="1232" y="153"/>
                </a:lnTo>
                <a:lnTo>
                  <a:pt x="1241" y="153"/>
                </a:lnTo>
                <a:lnTo>
                  <a:pt x="1243" y="151"/>
                </a:lnTo>
                <a:lnTo>
                  <a:pt x="1241" y="150"/>
                </a:lnTo>
                <a:lnTo>
                  <a:pt x="1243" y="150"/>
                </a:lnTo>
                <a:lnTo>
                  <a:pt x="1247" y="152"/>
                </a:lnTo>
                <a:lnTo>
                  <a:pt x="1245" y="154"/>
                </a:lnTo>
                <a:lnTo>
                  <a:pt x="1250" y="154"/>
                </a:lnTo>
                <a:lnTo>
                  <a:pt x="1257" y="150"/>
                </a:lnTo>
                <a:lnTo>
                  <a:pt x="1257" y="150"/>
                </a:lnTo>
                <a:lnTo>
                  <a:pt x="1257" y="154"/>
                </a:lnTo>
                <a:lnTo>
                  <a:pt x="1262" y="154"/>
                </a:lnTo>
                <a:lnTo>
                  <a:pt x="1260" y="150"/>
                </a:lnTo>
                <a:lnTo>
                  <a:pt x="1262" y="150"/>
                </a:lnTo>
                <a:lnTo>
                  <a:pt x="1265" y="150"/>
                </a:lnTo>
                <a:lnTo>
                  <a:pt x="1273" y="150"/>
                </a:lnTo>
                <a:lnTo>
                  <a:pt x="1268" y="151"/>
                </a:lnTo>
                <a:lnTo>
                  <a:pt x="1274" y="153"/>
                </a:lnTo>
                <a:lnTo>
                  <a:pt x="1290" y="151"/>
                </a:lnTo>
                <a:lnTo>
                  <a:pt x="1266" y="155"/>
                </a:lnTo>
                <a:lnTo>
                  <a:pt x="1273" y="158"/>
                </a:lnTo>
                <a:lnTo>
                  <a:pt x="1300" y="158"/>
                </a:lnTo>
                <a:lnTo>
                  <a:pt x="1258" y="159"/>
                </a:lnTo>
                <a:lnTo>
                  <a:pt x="1244" y="165"/>
                </a:lnTo>
                <a:lnTo>
                  <a:pt x="1250" y="169"/>
                </a:lnTo>
                <a:lnTo>
                  <a:pt x="1262" y="170"/>
                </a:lnTo>
                <a:lnTo>
                  <a:pt x="1250" y="170"/>
                </a:lnTo>
                <a:lnTo>
                  <a:pt x="1258" y="176"/>
                </a:lnTo>
                <a:lnTo>
                  <a:pt x="1265" y="175"/>
                </a:lnTo>
                <a:lnTo>
                  <a:pt x="1282" y="177"/>
                </a:lnTo>
                <a:lnTo>
                  <a:pt x="1263" y="180"/>
                </a:lnTo>
                <a:lnTo>
                  <a:pt x="1269" y="184"/>
                </a:lnTo>
                <a:lnTo>
                  <a:pt x="1276" y="188"/>
                </a:lnTo>
                <a:lnTo>
                  <a:pt x="1300" y="192"/>
                </a:lnTo>
                <a:lnTo>
                  <a:pt x="1302" y="190"/>
                </a:lnTo>
                <a:lnTo>
                  <a:pt x="1295" y="186"/>
                </a:lnTo>
                <a:lnTo>
                  <a:pt x="1303" y="186"/>
                </a:lnTo>
                <a:lnTo>
                  <a:pt x="1314" y="190"/>
                </a:lnTo>
                <a:lnTo>
                  <a:pt x="1309" y="184"/>
                </a:lnTo>
                <a:lnTo>
                  <a:pt x="1306" y="181"/>
                </a:lnTo>
                <a:lnTo>
                  <a:pt x="1304" y="177"/>
                </a:lnTo>
                <a:lnTo>
                  <a:pt x="1306" y="175"/>
                </a:lnTo>
                <a:lnTo>
                  <a:pt x="1317" y="188"/>
                </a:lnTo>
                <a:lnTo>
                  <a:pt x="1322" y="192"/>
                </a:lnTo>
                <a:lnTo>
                  <a:pt x="1326" y="181"/>
                </a:lnTo>
                <a:lnTo>
                  <a:pt x="1324" y="175"/>
                </a:lnTo>
                <a:lnTo>
                  <a:pt x="1326" y="176"/>
                </a:lnTo>
                <a:lnTo>
                  <a:pt x="1332" y="181"/>
                </a:lnTo>
                <a:lnTo>
                  <a:pt x="1328" y="187"/>
                </a:lnTo>
                <a:lnTo>
                  <a:pt x="1332" y="188"/>
                </a:lnTo>
                <a:lnTo>
                  <a:pt x="1335" y="182"/>
                </a:lnTo>
                <a:lnTo>
                  <a:pt x="1332" y="182"/>
                </a:lnTo>
                <a:lnTo>
                  <a:pt x="1336" y="178"/>
                </a:lnTo>
                <a:lnTo>
                  <a:pt x="1332" y="170"/>
                </a:lnTo>
                <a:lnTo>
                  <a:pt x="1333" y="164"/>
                </a:lnTo>
                <a:lnTo>
                  <a:pt x="1333" y="169"/>
                </a:lnTo>
                <a:lnTo>
                  <a:pt x="1338" y="175"/>
                </a:lnTo>
                <a:lnTo>
                  <a:pt x="1345" y="165"/>
                </a:lnTo>
                <a:lnTo>
                  <a:pt x="1345" y="160"/>
                </a:lnTo>
                <a:lnTo>
                  <a:pt x="1352" y="164"/>
                </a:lnTo>
                <a:lnTo>
                  <a:pt x="1356" y="160"/>
                </a:lnTo>
                <a:lnTo>
                  <a:pt x="1379" y="155"/>
                </a:lnTo>
                <a:lnTo>
                  <a:pt x="1368" y="146"/>
                </a:lnTo>
                <a:lnTo>
                  <a:pt x="1366" y="146"/>
                </a:lnTo>
                <a:lnTo>
                  <a:pt x="1363" y="152"/>
                </a:lnTo>
                <a:lnTo>
                  <a:pt x="1362" y="150"/>
                </a:lnTo>
                <a:lnTo>
                  <a:pt x="1361" y="150"/>
                </a:lnTo>
                <a:lnTo>
                  <a:pt x="1361" y="143"/>
                </a:lnTo>
                <a:lnTo>
                  <a:pt x="1359" y="146"/>
                </a:lnTo>
                <a:lnTo>
                  <a:pt x="1353" y="146"/>
                </a:lnTo>
                <a:lnTo>
                  <a:pt x="1352" y="147"/>
                </a:lnTo>
                <a:lnTo>
                  <a:pt x="1348" y="143"/>
                </a:lnTo>
                <a:lnTo>
                  <a:pt x="1343" y="146"/>
                </a:lnTo>
                <a:lnTo>
                  <a:pt x="1347" y="142"/>
                </a:lnTo>
                <a:lnTo>
                  <a:pt x="1348" y="132"/>
                </a:lnTo>
                <a:lnTo>
                  <a:pt x="1343" y="135"/>
                </a:lnTo>
                <a:lnTo>
                  <a:pt x="1348" y="131"/>
                </a:lnTo>
                <a:lnTo>
                  <a:pt x="1346" y="127"/>
                </a:lnTo>
                <a:lnTo>
                  <a:pt x="1333" y="126"/>
                </a:lnTo>
                <a:lnTo>
                  <a:pt x="1324" y="126"/>
                </a:lnTo>
                <a:lnTo>
                  <a:pt x="1317" y="121"/>
                </a:lnTo>
                <a:lnTo>
                  <a:pt x="1319" y="118"/>
                </a:lnTo>
                <a:lnTo>
                  <a:pt x="1317" y="118"/>
                </a:lnTo>
                <a:lnTo>
                  <a:pt x="1319" y="117"/>
                </a:lnTo>
                <a:lnTo>
                  <a:pt x="1317" y="114"/>
                </a:lnTo>
                <a:lnTo>
                  <a:pt x="1309" y="114"/>
                </a:lnTo>
                <a:lnTo>
                  <a:pt x="1309" y="114"/>
                </a:lnTo>
                <a:lnTo>
                  <a:pt x="1295" y="108"/>
                </a:lnTo>
                <a:lnTo>
                  <a:pt x="1296" y="107"/>
                </a:lnTo>
                <a:lnTo>
                  <a:pt x="1290" y="102"/>
                </a:lnTo>
                <a:lnTo>
                  <a:pt x="1284" y="94"/>
                </a:lnTo>
                <a:lnTo>
                  <a:pt x="1277" y="93"/>
                </a:lnTo>
                <a:lnTo>
                  <a:pt x="1281" y="91"/>
                </a:lnTo>
                <a:lnTo>
                  <a:pt x="1279" y="88"/>
                </a:lnTo>
                <a:lnTo>
                  <a:pt x="1253" y="81"/>
                </a:lnTo>
                <a:lnTo>
                  <a:pt x="1253" y="83"/>
                </a:lnTo>
                <a:lnTo>
                  <a:pt x="1244" y="81"/>
                </a:lnTo>
                <a:lnTo>
                  <a:pt x="1242" y="84"/>
                </a:lnTo>
                <a:lnTo>
                  <a:pt x="1261" y="90"/>
                </a:lnTo>
                <a:lnTo>
                  <a:pt x="1258" y="93"/>
                </a:lnTo>
                <a:lnTo>
                  <a:pt x="1244" y="93"/>
                </a:lnTo>
                <a:lnTo>
                  <a:pt x="1248" y="94"/>
                </a:lnTo>
                <a:lnTo>
                  <a:pt x="1243" y="96"/>
                </a:lnTo>
                <a:lnTo>
                  <a:pt x="1237" y="93"/>
                </a:lnTo>
                <a:lnTo>
                  <a:pt x="1231" y="95"/>
                </a:lnTo>
                <a:lnTo>
                  <a:pt x="1226" y="96"/>
                </a:lnTo>
                <a:lnTo>
                  <a:pt x="1231" y="99"/>
                </a:lnTo>
                <a:lnTo>
                  <a:pt x="1225" y="100"/>
                </a:lnTo>
                <a:lnTo>
                  <a:pt x="1245" y="104"/>
                </a:lnTo>
                <a:lnTo>
                  <a:pt x="1237" y="106"/>
                </a:lnTo>
                <a:lnTo>
                  <a:pt x="1250" y="112"/>
                </a:lnTo>
                <a:lnTo>
                  <a:pt x="1232" y="109"/>
                </a:lnTo>
                <a:lnTo>
                  <a:pt x="1232" y="109"/>
                </a:lnTo>
                <a:lnTo>
                  <a:pt x="1232" y="109"/>
                </a:lnTo>
                <a:lnTo>
                  <a:pt x="1218" y="108"/>
                </a:lnTo>
                <a:lnTo>
                  <a:pt x="1218" y="109"/>
                </a:lnTo>
                <a:lnTo>
                  <a:pt x="1217" y="109"/>
                </a:lnTo>
                <a:lnTo>
                  <a:pt x="1219" y="109"/>
                </a:lnTo>
                <a:lnTo>
                  <a:pt x="1222" y="116"/>
                </a:lnTo>
                <a:lnTo>
                  <a:pt x="1226" y="122"/>
                </a:lnTo>
                <a:lnTo>
                  <a:pt x="1209" y="122"/>
                </a:lnTo>
                <a:lnTo>
                  <a:pt x="1221" y="125"/>
                </a:lnTo>
                <a:lnTo>
                  <a:pt x="1229" y="121"/>
                </a:lnTo>
                <a:lnTo>
                  <a:pt x="1224" y="124"/>
                </a:lnTo>
                <a:lnTo>
                  <a:pt x="1228" y="126"/>
                </a:lnTo>
                <a:lnTo>
                  <a:pt x="1247" y="124"/>
                </a:lnTo>
                <a:lnTo>
                  <a:pt x="1237" y="126"/>
                </a:lnTo>
                <a:lnTo>
                  <a:pt x="1243" y="131"/>
                </a:lnTo>
                <a:lnTo>
                  <a:pt x="1214" y="124"/>
                </a:lnTo>
                <a:lnTo>
                  <a:pt x="1207" y="126"/>
                </a:lnTo>
                <a:close/>
                <a:moveTo>
                  <a:pt x="1182" y="180"/>
                </a:moveTo>
                <a:lnTo>
                  <a:pt x="1189" y="183"/>
                </a:lnTo>
                <a:lnTo>
                  <a:pt x="1189" y="187"/>
                </a:lnTo>
                <a:lnTo>
                  <a:pt x="1207" y="192"/>
                </a:lnTo>
                <a:lnTo>
                  <a:pt x="1192" y="194"/>
                </a:lnTo>
                <a:lnTo>
                  <a:pt x="1203" y="198"/>
                </a:lnTo>
                <a:lnTo>
                  <a:pt x="1201" y="199"/>
                </a:lnTo>
                <a:lnTo>
                  <a:pt x="1201" y="200"/>
                </a:lnTo>
                <a:lnTo>
                  <a:pt x="1207" y="203"/>
                </a:lnTo>
                <a:lnTo>
                  <a:pt x="1213" y="202"/>
                </a:lnTo>
                <a:lnTo>
                  <a:pt x="1211" y="202"/>
                </a:lnTo>
                <a:lnTo>
                  <a:pt x="1231" y="197"/>
                </a:lnTo>
                <a:lnTo>
                  <a:pt x="1235" y="192"/>
                </a:lnTo>
                <a:lnTo>
                  <a:pt x="1228" y="188"/>
                </a:lnTo>
                <a:lnTo>
                  <a:pt x="1236" y="184"/>
                </a:lnTo>
                <a:lnTo>
                  <a:pt x="1226" y="178"/>
                </a:lnTo>
                <a:lnTo>
                  <a:pt x="1213" y="178"/>
                </a:lnTo>
                <a:lnTo>
                  <a:pt x="1213" y="175"/>
                </a:lnTo>
                <a:lnTo>
                  <a:pt x="1201" y="172"/>
                </a:lnTo>
                <a:lnTo>
                  <a:pt x="1189" y="169"/>
                </a:lnTo>
                <a:lnTo>
                  <a:pt x="1181" y="170"/>
                </a:lnTo>
                <a:lnTo>
                  <a:pt x="1181" y="175"/>
                </a:lnTo>
                <a:lnTo>
                  <a:pt x="1188" y="177"/>
                </a:lnTo>
                <a:lnTo>
                  <a:pt x="1182" y="180"/>
                </a:lnTo>
                <a:close/>
                <a:moveTo>
                  <a:pt x="1169" y="138"/>
                </a:moveTo>
                <a:lnTo>
                  <a:pt x="1169" y="137"/>
                </a:lnTo>
                <a:lnTo>
                  <a:pt x="1176" y="141"/>
                </a:lnTo>
                <a:lnTo>
                  <a:pt x="1177" y="135"/>
                </a:lnTo>
                <a:lnTo>
                  <a:pt x="1177" y="131"/>
                </a:lnTo>
                <a:lnTo>
                  <a:pt x="1175" y="127"/>
                </a:lnTo>
                <a:lnTo>
                  <a:pt x="1164" y="124"/>
                </a:lnTo>
                <a:lnTo>
                  <a:pt x="1157" y="129"/>
                </a:lnTo>
                <a:lnTo>
                  <a:pt x="1159" y="138"/>
                </a:lnTo>
                <a:lnTo>
                  <a:pt x="1169" y="138"/>
                </a:lnTo>
                <a:close/>
                <a:moveTo>
                  <a:pt x="1184" y="238"/>
                </a:moveTo>
                <a:lnTo>
                  <a:pt x="1181" y="237"/>
                </a:lnTo>
                <a:lnTo>
                  <a:pt x="1177" y="237"/>
                </a:lnTo>
                <a:lnTo>
                  <a:pt x="1184" y="238"/>
                </a:lnTo>
                <a:close/>
                <a:moveTo>
                  <a:pt x="1486" y="200"/>
                </a:moveTo>
                <a:lnTo>
                  <a:pt x="1485" y="199"/>
                </a:lnTo>
                <a:lnTo>
                  <a:pt x="1481" y="200"/>
                </a:lnTo>
                <a:lnTo>
                  <a:pt x="1486" y="200"/>
                </a:lnTo>
                <a:close/>
                <a:moveTo>
                  <a:pt x="1307" y="456"/>
                </a:moveTo>
                <a:lnTo>
                  <a:pt x="1307" y="454"/>
                </a:lnTo>
                <a:lnTo>
                  <a:pt x="1304" y="454"/>
                </a:lnTo>
                <a:lnTo>
                  <a:pt x="1307" y="456"/>
                </a:lnTo>
                <a:close/>
                <a:moveTo>
                  <a:pt x="1307" y="314"/>
                </a:moveTo>
                <a:lnTo>
                  <a:pt x="1302" y="317"/>
                </a:lnTo>
                <a:lnTo>
                  <a:pt x="1306" y="317"/>
                </a:lnTo>
                <a:lnTo>
                  <a:pt x="1307" y="314"/>
                </a:lnTo>
                <a:close/>
                <a:moveTo>
                  <a:pt x="1467" y="258"/>
                </a:moveTo>
                <a:lnTo>
                  <a:pt x="1455" y="262"/>
                </a:lnTo>
                <a:lnTo>
                  <a:pt x="1460" y="264"/>
                </a:lnTo>
                <a:lnTo>
                  <a:pt x="1461" y="261"/>
                </a:lnTo>
                <a:lnTo>
                  <a:pt x="1467" y="263"/>
                </a:lnTo>
                <a:lnTo>
                  <a:pt x="1463" y="261"/>
                </a:lnTo>
                <a:lnTo>
                  <a:pt x="1469" y="258"/>
                </a:lnTo>
                <a:lnTo>
                  <a:pt x="1467" y="258"/>
                </a:lnTo>
                <a:close/>
                <a:moveTo>
                  <a:pt x="1087" y="172"/>
                </a:moveTo>
                <a:lnTo>
                  <a:pt x="1101" y="165"/>
                </a:lnTo>
                <a:lnTo>
                  <a:pt x="1105" y="167"/>
                </a:lnTo>
                <a:lnTo>
                  <a:pt x="1101" y="170"/>
                </a:lnTo>
                <a:lnTo>
                  <a:pt x="1106" y="170"/>
                </a:lnTo>
                <a:lnTo>
                  <a:pt x="1105" y="174"/>
                </a:lnTo>
                <a:lnTo>
                  <a:pt x="1112" y="174"/>
                </a:lnTo>
                <a:lnTo>
                  <a:pt x="1102" y="178"/>
                </a:lnTo>
                <a:lnTo>
                  <a:pt x="1111" y="178"/>
                </a:lnTo>
                <a:lnTo>
                  <a:pt x="1109" y="181"/>
                </a:lnTo>
                <a:lnTo>
                  <a:pt x="1091" y="177"/>
                </a:lnTo>
                <a:lnTo>
                  <a:pt x="1087" y="180"/>
                </a:lnTo>
                <a:lnTo>
                  <a:pt x="1097" y="187"/>
                </a:lnTo>
                <a:lnTo>
                  <a:pt x="1103" y="189"/>
                </a:lnTo>
                <a:lnTo>
                  <a:pt x="1120" y="186"/>
                </a:lnTo>
                <a:lnTo>
                  <a:pt x="1123" y="186"/>
                </a:lnTo>
                <a:lnTo>
                  <a:pt x="1121" y="188"/>
                </a:lnTo>
                <a:lnTo>
                  <a:pt x="1120" y="187"/>
                </a:lnTo>
                <a:lnTo>
                  <a:pt x="1112" y="189"/>
                </a:lnTo>
                <a:lnTo>
                  <a:pt x="1116" y="192"/>
                </a:lnTo>
                <a:lnTo>
                  <a:pt x="1120" y="188"/>
                </a:lnTo>
                <a:lnTo>
                  <a:pt x="1123" y="188"/>
                </a:lnTo>
                <a:lnTo>
                  <a:pt x="1130" y="187"/>
                </a:lnTo>
                <a:lnTo>
                  <a:pt x="1136" y="188"/>
                </a:lnTo>
                <a:lnTo>
                  <a:pt x="1134" y="190"/>
                </a:lnTo>
                <a:lnTo>
                  <a:pt x="1136" y="190"/>
                </a:lnTo>
                <a:lnTo>
                  <a:pt x="1136" y="188"/>
                </a:lnTo>
                <a:lnTo>
                  <a:pt x="1146" y="189"/>
                </a:lnTo>
                <a:lnTo>
                  <a:pt x="1151" y="199"/>
                </a:lnTo>
                <a:lnTo>
                  <a:pt x="1163" y="203"/>
                </a:lnTo>
                <a:lnTo>
                  <a:pt x="1176" y="199"/>
                </a:lnTo>
                <a:lnTo>
                  <a:pt x="1174" y="195"/>
                </a:lnTo>
                <a:lnTo>
                  <a:pt x="1176" y="194"/>
                </a:lnTo>
                <a:lnTo>
                  <a:pt x="1168" y="190"/>
                </a:lnTo>
                <a:lnTo>
                  <a:pt x="1161" y="190"/>
                </a:lnTo>
                <a:lnTo>
                  <a:pt x="1161" y="183"/>
                </a:lnTo>
                <a:lnTo>
                  <a:pt x="1161" y="181"/>
                </a:lnTo>
                <a:lnTo>
                  <a:pt x="1167" y="176"/>
                </a:lnTo>
                <a:lnTo>
                  <a:pt x="1161" y="175"/>
                </a:lnTo>
                <a:lnTo>
                  <a:pt x="1162" y="173"/>
                </a:lnTo>
                <a:lnTo>
                  <a:pt x="1157" y="169"/>
                </a:lnTo>
                <a:lnTo>
                  <a:pt x="1143" y="170"/>
                </a:lnTo>
                <a:lnTo>
                  <a:pt x="1146" y="165"/>
                </a:lnTo>
                <a:lnTo>
                  <a:pt x="1136" y="160"/>
                </a:lnTo>
                <a:lnTo>
                  <a:pt x="1125" y="162"/>
                </a:lnTo>
                <a:lnTo>
                  <a:pt x="1124" y="166"/>
                </a:lnTo>
                <a:lnTo>
                  <a:pt x="1121" y="165"/>
                </a:lnTo>
                <a:lnTo>
                  <a:pt x="1123" y="160"/>
                </a:lnTo>
                <a:lnTo>
                  <a:pt x="1116" y="153"/>
                </a:lnTo>
                <a:lnTo>
                  <a:pt x="1103" y="151"/>
                </a:lnTo>
                <a:lnTo>
                  <a:pt x="1079" y="153"/>
                </a:lnTo>
                <a:lnTo>
                  <a:pt x="1076" y="157"/>
                </a:lnTo>
                <a:lnTo>
                  <a:pt x="1076" y="166"/>
                </a:lnTo>
                <a:lnTo>
                  <a:pt x="1091" y="166"/>
                </a:lnTo>
                <a:lnTo>
                  <a:pt x="1087" y="172"/>
                </a:lnTo>
                <a:close/>
                <a:moveTo>
                  <a:pt x="1527" y="174"/>
                </a:moveTo>
                <a:lnTo>
                  <a:pt x="1533" y="175"/>
                </a:lnTo>
                <a:lnTo>
                  <a:pt x="1536" y="174"/>
                </a:lnTo>
                <a:lnTo>
                  <a:pt x="1527" y="174"/>
                </a:lnTo>
                <a:close/>
                <a:moveTo>
                  <a:pt x="1552" y="386"/>
                </a:moveTo>
                <a:lnTo>
                  <a:pt x="1555" y="388"/>
                </a:lnTo>
                <a:lnTo>
                  <a:pt x="1556" y="386"/>
                </a:lnTo>
                <a:lnTo>
                  <a:pt x="1553" y="385"/>
                </a:lnTo>
                <a:lnTo>
                  <a:pt x="1552" y="386"/>
                </a:lnTo>
                <a:close/>
                <a:moveTo>
                  <a:pt x="1548" y="383"/>
                </a:moveTo>
                <a:lnTo>
                  <a:pt x="1545" y="386"/>
                </a:lnTo>
                <a:lnTo>
                  <a:pt x="1549" y="383"/>
                </a:lnTo>
                <a:lnTo>
                  <a:pt x="1548" y="383"/>
                </a:lnTo>
                <a:close/>
                <a:moveTo>
                  <a:pt x="1499" y="341"/>
                </a:moveTo>
                <a:lnTo>
                  <a:pt x="1499" y="336"/>
                </a:lnTo>
                <a:lnTo>
                  <a:pt x="1494" y="335"/>
                </a:lnTo>
                <a:lnTo>
                  <a:pt x="1492" y="331"/>
                </a:lnTo>
                <a:lnTo>
                  <a:pt x="1488" y="330"/>
                </a:lnTo>
                <a:lnTo>
                  <a:pt x="1477" y="326"/>
                </a:lnTo>
                <a:lnTo>
                  <a:pt x="1460" y="328"/>
                </a:lnTo>
                <a:lnTo>
                  <a:pt x="1441" y="326"/>
                </a:lnTo>
                <a:lnTo>
                  <a:pt x="1438" y="326"/>
                </a:lnTo>
                <a:lnTo>
                  <a:pt x="1438" y="336"/>
                </a:lnTo>
                <a:lnTo>
                  <a:pt x="1446" y="339"/>
                </a:lnTo>
                <a:lnTo>
                  <a:pt x="1446" y="344"/>
                </a:lnTo>
                <a:lnTo>
                  <a:pt x="1451" y="349"/>
                </a:lnTo>
                <a:lnTo>
                  <a:pt x="1458" y="352"/>
                </a:lnTo>
                <a:lnTo>
                  <a:pt x="1477" y="349"/>
                </a:lnTo>
                <a:lnTo>
                  <a:pt x="1500" y="351"/>
                </a:lnTo>
                <a:lnTo>
                  <a:pt x="1507" y="348"/>
                </a:lnTo>
                <a:lnTo>
                  <a:pt x="1502" y="347"/>
                </a:lnTo>
                <a:lnTo>
                  <a:pt x="1502" y="343"/>
                </a:lnTo>
                <a:lnTo>
                  <a:pt x="1499" y="341"/>
                </a:lnTo>
                <a:close/>
                <a:moveTo>
                  <a:pt x="1079" y="217"/>
                </a:moveTo>
                <a:lnTo>
                  <a:pt x="1084" y="221"/>
                </a:lnTo>
                <a:lnTo>
                  <a:pt x="1091" y="223"/>
                </a:lnTo>
                <a:lnTo>
                  <a:pt x="1097" y="223"/>
                </a:lnTo>
                <a:lnTo>
                  <a:pt x="1091" y="218"/>
                </a:lnTo>
                <a:lnTo>
                  <a:pt x="1087" y="218"/>
                </a:lnTo>
                <a:lnTo>
                  <a:pt x="1089" y="213"/>
                </a:lnTo>
                <a:lnTo>
                  <a:pt x="1087" y="211"/>
                </a:lnTo>
                <a:lnTo>
                  <a:pt x="1079" y="203"/>
                </a:lnTo>
                <a:lnTo>
                  <a:pt x="1072" y="204"/>
                </a:lnTo>
                <a:lnTo>
                  <a:pt x="1076" y="207"/>
                </a:lnTo>
                <a:lnTo>
                  <a:pt x="1079" y="217"/>
                </a:lnTo>
                <a:close/>
                <a:moveTo>
                  <a:pt x="964" y="200"/>
                </a:moveTo>
                <a:lnTo>
                  <a:pt x="953" y="193"/>
                </a:lnTo>
                <a:lnTo>
                  <a:pt x="942" y="195"/>
                </a:lnTo>
                <a:lnTo>
                  <a:pt x="955" y="204"/>
                </a:lnTo>
                <a:lnTo>
                  <a:pt x="964" y="200"/>
                </a:lnTo>
                <a:close/>
                <a:moveTo>
                  <a:pt x="2538" y="766"/>
                </a:moveTo>
                <a:lnTo>
                  <a:pt x="2536" y="762"/>
                </a:lnTo>
                <a:lnTo>
                  <a:pt x="2533" y="762"/>
                </a:lnTo>
                <a:lnTo>
                  <a:pt x="2533" y="766"/>
                </a:lnTo>
                <a:lnTo>
                  <a:pt x="2536" y="766"/>
                </a:lnTo>
                <a:lnTo>
                  <a:pt x="2538" y="766"/>
                </a:lnTo>
                <a:close/>
                <a:moveTo>
                  <a:pt x="2548" y="793"/>
                </a:moveTo>
                <a:lnTo>
                  <a:pt x="2547" y="788"/>
                </a:lnTo>
                <a:lnTo>
                  <a:pt x="2542" y="795"/>
                </a:lnTo>
                <a:lnTo>
                  <a:pt x="2542" y="800"/>
                </a:lnTo>
                <a:lnTo>
                  <a:pt x="2547" y="795"/>
                </a:lnTo>
                <a:lnTo>
                  <a:pt x="2548" y="793"/>
                </a:lnTo>
                <a:close/>
                <a:moveTo>
                  <a:pt x="833" y="254"/>
                </a:moveTo>
                <a:lnTo>
                  <a:pt x="830" y="258"/>
                </a:lnTo>
                <a:lnTo>
                  <a:pt x="835" y="258"/>
                </a:lnTo>
                <a:lnTo>
                  <a:pt x="830" y="259"/>
                </a:lnTo>
                <a:lnTo>
                  <a:pt x="833" y="261"/>
                </a:lnTo>
                <a:lnTo>
                  <a:pt x="839" y="257"/>
                </a:lnTo>
                <a:lnTo>
                  <a:pt x="855" y="260"/>
                </a:lnTo>
                <a:lnTo>
                  <a:pt x="855" y="263"/>
                </a:lnTo>
                <a:lnTo>
                  <a:pt x="851" y="264"/>
                </a:lnTo>
                <a:lnTo>
                  <a:pt x="856" y="268"/>
                </a:lnTo>
                <a:lnTo>
                  <a:pt x="857" y="262"/>
                </a:lnTo>
                <a:lnTo>
                  <a:pt x="856" y="262"/>
                </a:lnTo>
                <a:lnTo>
                  <a:pt x="857" y="258"/>
                </a:lnTo>
                <a:lnTo>
                  <a:pt x="856" y="253"/>
                </a:lnTo>
                <a:lnTo>
                  <a:pt x="857" y="252"/>
                </a:lnTo>
                <a:lnTo>
                  <a:pt x="859" y="253"/>
                </a:lnTo>
                <a:lnTo>
                  <a:pt x="860" y="258"/>
                </a:lnTo>
                <a:lnTo>
                  <a:pt x="863" y="258"/>
                </a:lnTo>
                <a:lnTo>
                  <a:pt x="863" y="266"/>
                </a:lnTo>
                <a:lnTo>
                  <a:pt x="865" y="266"/>
                </a:lnTo>
                <a:lnTo>
                  <a:pt x="875" y="257"/>
                </a:lnTo>
                <a:lnTo>
                  <a:pt x="875" y="256"/>
                </a:lnTo>
                <a:lnTo>
                  <a:pt x="872" y="255"/>
                </a:lnTo>
                <a:lnTo>
                  <a:pt x="875" y="253"/>
                </a:lnTo>
                <a:lnTo>
                  <a:pt x="875" y="250"/>
                </a:lnTo>
                <a:lnTo>
                  <a:pt x="876" y="250"/>
                </a:lnTo>
                <a:lnTo>
                  <a:pt x="882" y="256"/>
                </a:lnTo>
                <a:lnTo>
                  <a:pt x="885" y="253"/>
                </a:lnTo>
                <a:lnTo>
                  <a:pt x="886" y="250"/>
                </a:lnTo>
                <a:lnTo>
                  <a:pt x="890" y="246"/>
                </a:lnTo>
                <a:lnTo>
                  <a:pt x="885" y="241"/>
                </a:lnTo>
                <a:lnTo>
                  <a:pt x="893" y="240"/>
                </a:lnTo>
                <a:lnTo>
                  <a:pt x="892" y="235"/>
                </a:lnTo>
                <a:lnTo>
                  <a:pt x="893" y="234"/>
                </a:lnTo>
                <a:lnTo>
                  <a:pt x="905" y="234"/>
                </a:lnTo>
                <a:lnTo>
                  <a:pt x="901" y="238"/>
                </a:lnTo>
                <a:lnTo>
                  <a:pt x="899" y="245"/>
                </a:lnTo>
                <a:lnTo>
                  <a:pt x="908" y="250"/>
                </a:lnTo>
                <a:lnTo>
                  <a:pt x="916" y="246"/>
                </a:lnTo>
                <a:lnTo>
                  <a:pt x="913" y="241"/>
                </a:lnTo>
                <a:lnTo>
                  <a:pt x="925" y="240"/>
                </a:lnTo>
                <a:lnTo>
                  <a:pt x="930" y="237"/>
                </a:lnTo>
                <a:lnTo>
                  <a:pt x="928" y="234"/>
                </a:lnTo>
                <a:lnTo>
                  <a:pt x="924" y="230"/>
                </a:lnTo>
                <a:lnTo>
                  <a:pt x="932" y="230"/>
                </a:lnTo>
                <a:lnTo>
                  <a:pt x="924" y="226"/>
                </a:lnTo>
                <a:lnTo>
                  <a:pt x="924" y="223"/>
                </a:lnTo>
                <a:lnTo>
                  <a:pt x="924" y="221"/>
                </a:lnTo>
                <a:lnTo>
                  <a:pt x="938" y="217"/>
                </a:lnTo>
                <a:lnTo>
                  <a:pt x="922" y="210"/>
                </a:lnTo>
                <a:lnTo>
                  <a:pt x="912" y="212"/>
                </a:lnTo>
                <a:lnTo>
                  <a:pt x="920" y="214"/>
                </a:lnTo>
                <a:lnTo>
                  <a:pt x="917" y="217"/>
                </a:lnTo>
                <a:lnTo>
                  <a:pt x="912" y="215"/>
                </a:lnTo>
                <a:lnTo>
                  <a:pt x="913" y="217"/>
                </a:lnTo>
                <a:lnTo>
                  <a:pt x="901" y="214"/>
                </a:lnTo>
                <a:lnTo>
                  <a:pt x="883" y="217"/>
                </a:lnTo>
                <a:lnTo>
                  <a:pt x="879" y="221"/>
                </a:lnTo>
                <a:lnTo>
                  <a:pt x="868" y="227"/>
                </a:lnTo>
                <a:lnTo>
                  <a:pt x="864" y="233"/>
                </a:lnTo>
                <a:lnTo>
                  <a:pt x="852" y="238"/>
                </a:lnTo>
                <a:lnTo>
                  <a:pt x="848" y="245"/>
                </a:lnTo>
                <a:lnTo>
                  <a:pt x="831" y="246"/>
                </a:lnTo>
                <a:lnTo>
                  <a:pt x="826" y="255"/>
                </a:lnTo>
                <a:lnTo>
                  <a:pt x="831" y="252"/>
                </a:lnTo>
                <a:lnTo>
                  <a:pt x="833" y="254"/>
                </a:lnTo>
                <a:close/>
                <a:moveTo>
                  <a:pt x="829" y="256"/>
                </a:moveTo>
                <a:lnTo>
                  <a:pt x="829" y="257"/>
                </a:lnTo>
                <a:lnTo>
                  <a:pt x="831" y="256"/>
                </a:lnTo>
                <a:lnTo>
                  <a:pt x="829" y="256"/>
                </a:lnTo>
                <a:close/>
                <a:moveTo>
                  <a:pt x="2527" y="877"/>
                </a:moveTo>
                <a:lnTo>
                  <a:pt x="2531" y="875"/>
                </a:lnTo>
                <a:lnTo>
                  <a:pt x="2527" y="875"/>
                </a:lnTo>
                <a:lnTo>
                  <a:pt x="2527" y="877"/>
                </a:lnTo>
                <a:close/>
                <a:moveTo>
                  <a:pt x="964" y="222"/>
                </a:moveTo>
                <a:lnTo>
                  <a:pt x="958" y="222"/>
                </a:lnTo>
                <a:lnTo>
                  <a:pt x="962" y="223"/>
                </a:lnTo>
                <a:lnTo>
                  <a:pt x="964" y="222"/>
                </a:lnTo>
                <a:close/>
                <a:moveTo>
                  <a:pt x="890" y="261"/>
                </a:moveTo>
                <a:lnTo>
                  <a:pt x="878" y="269"/>
                </a:lnTo>
                <a:lnTo>
                  <a:pt x="890" y="273"/>
                </a:lnTo>
                <a:lnTo>
                  <a:pt x="893" y="273"/>
                </a:lnTo>
                <a:lnTo>
                  <a:pt x="908" y="258"/>
                </a:lnTo>
                <a:lnTo>
                  <a:pt x="906" y="258"/>
                </a:lnTo>
                <a:lnTo>
                  <a:pt x="890" y="261"/>
                </a:lnTo>
                <a:close/>
                <a:moveTo>
                  <a:pt x="1025" y="229"/>
                </a:moveTo>
                <a:lnTo>
                  <a:pt x="1028" y="230"/>
                </a:lnTo>
                <a:lnTo>
                  <a:pt x="1027" y="229"/>
                </a:lnTo>
                <a:lnTo>
                  <a:pt x="1025" y="229"/>
                </a:lnTo>
                <a:close/>
                <a:moveTo>
                  <a:pt x="1017" y="242"/>
                </a:moveTo>
                <a:lnTo>
                  <a:pt x="1021" y="242"/>
                </a:lnTo>
                <a:lnTo>
                  <a:pt x="1009" y="245"/>
                </a:lnTo>
                <a:lnTo>
                  <a:pt x="1011" y="249"/>
                </a:lnTo>
                <a:lnTo>
                  <a:pt x="1025" y="255"/>
                </a:lnTo>
                <a:lnTo>
                  <a:pt x="1021" y="260"/>
                </a:lnTo>
                <a:lnTo>
                  <a:pt x="1014" y="261"/>
                </a:lnTo>
                <a:lnTo>
                  <a:pt x="1034" y="268"/>
                </a:lnTo>
                <a:lnTo>
                  <a:pt x="1031" y="272"/>
                </a:lnTo>
                <a:lnTo>
                  <a:pt x="1009" y="271"/>
                </a:lnTo>
                <a:lnTo>
                  <a:pt x="998" y="272"/>
                </a:lnTo>
                <a:lnTo>
                  <a:pt x="995" y="269"/>
                </a:lnTo>
                <a:lnTo>
                  <a:pt x="997" y="268"/>
                </a:lnTo>
                <a:lnTo>
                  <a:pt x="995" y="266"/>
                </a:lnTo>
                <a:lnTo>
                  <a:pt x="984" y="266"/>
                </a:lnTo>
                <a:lnTo>
                  <a:pt x="990" y="262"/>
                </a:lnTo>
                <a:lnTo>
                  <a:pt x="980" y="257"/>
                </a:lnTo>
                <a:lnTo>
                  <a:pt x="979" y="256"/>
                </a:lnTo>
                <a:lnTo>
                  <a:pt x="980" y="252"/>
                </a:lnTo>
                <a:lnTo>
                  <a:pt x="972" y="250"/>
                </a:lnTo>
                <a:lnTo>
                  <a:pt x="956" y="252"/>
                </a:lnTo>
                <a:lnTo>
                  <a:pt x="952" y="249"/>
                </a:lnTo>
                <a:lnTo>
                  <a:pt x="952" y="244"/>
                </a:lnTo>
                <a:lnTo>
                  <a:pt x="942" y="241"/>
                </a:lnTo>
                <a:lnTo>
                  <a:pt x="935" y="244"/>
                </a:lnTo>
                <a:lnTo>
                  <a:pt x="930" y="249"/>
                </a:lnTo>
                <a:lnTo>
                  <a:pt x="949" y="252"/>
                </a:lnTo>
                <a:lnTo>
                  <a:pt x="925" y="251"/>
                </a:lnTo>
                <a:lnTo>
                  <a:pt x="920" y="255"/>
                </a:lnTo>
                <a:lnTo>
                  <a:pt x="919" y="256"/>
                </a:lnTo>
                <a:lnTo>
                  <a:pt x="922" y="257"/>
                </a:lnTo>
                <a:lnTo>
                  <a:pt x="919" y="260"/>
                </a:lnTo>
                <a:lnTo>
                  <a:pt x="946" y="261"/>
                </a:lnTo>
                <a:lnTo>
                  <a:pt x="917" y="264"/>
                </a:lnTo>
                <a:lnTo>
                  <a:pt x="910" y="269"/>
                </a:lnTo>
                <a:lnTo>
                  <a:pt x="924" y="271"/>
                </a:lnTo>
                <a:lnTo>
                  <a:pt x="944" y="268"/>
                </a:lnTo>
                <a:lnTo>
                  <a:pt x="928" y="274"/>
                </a:lnTo>
                <a:lnTo>
                  <a:pt x="910" y="274"/>
                </a:lnTo>
                <a:lnTo>
                  <a:pt x="905" y="281"/>
                </a:lnTo>
                <a:lnTo>
                  <a:pt x="919" y="284"/>
                </a:lnTo>
                <a:lnTo>
                  <a:pt x="924" y="280"/>
                </a:lnTo>
                <a:lnTo>
                  <a:pt x="924" y="284"/>
                </a:lnTo>
                <a:lnTo>
                  <a:pt x="926" y="286"/>
                </a:lnTo>
                <a:lnTo>
                  <a:pt x="932" y="290"/>
                </a:lnTo>
                <a:lnTo>
                  <a:pt x="936" y="288"/>
                </a:lnTo>
                <a:lnTo>
                  <a:pt x="935" y="286"/>
                </a:lnTo>
                <a:lnTo>
                  <a:pt x="938" y="286"/>
                </a:lnTo>
                <a:lnTo>
                  <a:pt x="938" y="284"/>
                </a:lnTo>
                <a:lnTo>
                  <a:pt x="940" y="284"/>
                </a:lnTo>
                <a:lnTo>
                  <a:pt x="940" y="287"/>
                </a:lnTo>
                <a:lnTo>
                  <a:pt x="942" y="290"/>
                </a:lnTo>
                <a:lnTo>
                  <a:pt x="952" y="286"/>
                </a:lnTo>
                <a:lnTo>
                  <a:pt x="953" y="283"/>
                </a:lnTo>
                <a:lnTo>
                  <a:pt x="949" y="279"/>
                </a:lnTo>
                <a:lnTo>
                  <a:pt x="955" y="280"/>
                </a:lnTo>
                <a:lnTo>
                  <a:pt x="956" y="278"/>
                </a:lnTo>
                <a:lnTo>
                  <a:pt x="956" y="274"/>
                </a:lnTo>
                <a:lnTo>
                  <a:pt x="958" y="278"/>
                </a:lnTo>
                <a:lnTo>
                  <a:pt x="968" y="278"/>
                </a:lnTo>
                <a:lnTo>
                  <a:pt x="959" y="279"/>
                </a:lnTo>
                <a:lnTo>
                  <a:pt x="956" y="284"/>
                </a:lnTo>
                <a:lnTo>
                  <a:pt x="956" y="286"/>
                </a:lnTo>
                <a:lnTo>
                  <a:pt x="975" y="286"/>
                </a:lnTo>
                <a:lnTo>
                  <a:pt x="976" y="286"/>
                </a:lnTo>
                <a:lnTo>
                  <a:pt x="976" y="283"/>
                </a:lnTo>
                <a:lnTo>
                  <a:pt x="982" y="280"/>
                </a:lnTo>
                <a:lnTo>
                  <a:pt x="980" y="284"/>
                </a:lnTo>
                <a:lnTo>
                  <a:pt x="1003" y="280"/>
                </a:lnTo>
                <a:lnTo>
                  <a:pt x="991" y="287"/>
                </a:lnTo>
                <a:lnTo>
                  <a:pt x="975" y="290"/>
                </a:lnTo>
                <a:lnTo>
                  <a:pt x="952" y="297"/>
                </a:lnTo>
                <a:lnTo>
                  <a:pt x="962" y="303"/>
                </a:lnTo>
                <a:lnTo>
                  <a:pt x="976" y="306"/>
                </a:lnTo>
                <a:lnTo>
                  <a:pt x="991" y="302"/>
                </a:lnTo>
                <a:lnTo>
                  <a:pt x="1005" y="298"/>
                </a:lnTo>
                <a:lnTo>
                  <a:pt x="1011" y="294"/>
                </a:lnTo>
                <a:lnTo>
                  <a:pt x="1023" y="294"/>
                </a:lnTo>
                <a:lnTo>
                  <a:pt x="1034" y="287"/>
                </a:lnTo>
                <a:lnTo>
                  <a:pt x="1038" y="290"/>
                </a:lnTo>
                <a:lnTo>
                  <a:pt x="1034" y="287"/>
                </a:lnTo>
                <a:lnTo>
                  <a:pt x="1039" y="291"/>
                </a:lnTo>
                <a:lnTo>
                  <a:pt x="1046" y="290"/>
                </a:lnTo>
                <a:lnTo>
                  <a:pt x="1047" y="284"/>
                </a:lnTo>
                <a:lnTo>
                  <a:pt x="1049" y="290"/>
                </a:lnTo>
                <a:lnTo>
                  <a:pt x="1061" y="291"/>
                </a:lnTo>
                <a:lnTo>
                  <a:pt x="1072" y="286"/>
                </a:lnTo>
                <a:lnTo>
                  <a:pt x="1072" y="284"/>
                </a:lnTo>
                <a:lnTo>
                  <a:pt x="1072" y="280"/>
                </a:lnTo>
                <a:lnTo>
                  <a:pt x="1076" y="278"/>
                </a:lnTo>
                <a:lnTo>
                  <a:pt x="1078" y="274"/>
                </a:lnTo>
                <a:lnTo>
                  <a:pt x="1078" y="272"/>
                </a:lnTo>
                <a:lnTo>
                  <a:pt x="1082" y="268"/>
                </a:lnTo>
                <a:lnTo>
                  <a:pt x="1081" y="263"/>
                </a:lnTo>
                <a:lnTo>
                  <a:pt x="1079" y="260"/>
                </a:lnTo>
                <a:lnTo>
                  <a:pt x="1068" y="256"/>
                </a:lnTo>
                <a:lnTo>
                  <a:pt x="1060" y="257"/>
                </a:lnTo>
                <a:lnTo>
                  <a:pt x="1060" y="263"/>
                </a:lnTo>
                <a:lnTo>
                  <a:pt x="1064" y="264"/>
                </a:lnTo>
                <a:lnTo>
                  <a:pt x="1061" y="267"/>
                </a:lnTo>
                <a:lnTo>
                  <a:pt x="1057" y="262"/>
                </a:lnTo>
                <a:lnTo>
                  <a:pt x="1049" y="262"/>
                </a:lnTo>
                <a:lnTo>
                  <a:pt x="1045" y="264"/>
                </a:lnTo>
                <a:lnTo>
                  <a:pt x="1050" y="258"/>
                </a:lnTo>
                <a:lnTo>
                  <a:pt x="1047" y="258"/>
                </a:lnTo>
                <a:lnTo>
                  <a:pt x="1039" y="258"/>
                </a:lnTo>
                <a:lnTo>
                  <a:pt x="1038" y="253"/>
                </a:lnTo>
                <a:lnTo>
                  <a:pt x="1043" y="249"/>
                </a:lnTo>
                <a:lnTo>
                  <a:pt x="1036" y="245"/>
                </a:lnTo>
                <a:lnTo>
                  <a:pt x="1035" y="238"/>
                </a:lnTo>
                <a:lnTo>
                  <a:pt x="1038" y="234"/>
                </a:lnTo>
                <a:lnTo>
                  <a:pt x="1034" y="232"/>
                </a:lnTo>
                <a:lnTo>
                  <a:pt x="1025" y="234"/>
                </a:lnTo>
                <a:lnTo>
                  <a:pt x="1017" y="242"/>
                </a:lnTo>
                <a:close/>
                <a:moveTo>
                  <a:pt x="968" y="211"/>
                </a:moveTo>
                <a:lnTo>
                  <a:pt x="985" y="217"/>
                </a:lnTo>
                <a:lnTo>
                  <a:pt x="1012" y="211"/>
                </a:lnTo>
                <a:lnTo>
                  <a:pt x="1016" y="208"/>
                </a:lnTo>
                <a:lnTo>
                  <a:pt x="1014" y="206"/>
                </a:lnTo>
                <a:lnTo>
                  <a:pt x="1006" y="206"/>
                </a:lnTo>
                <a:lnTo>
                  <a:pt x="1003" y="202"/>
                </a:lnTo>
                <a:lnTo>
                  <a:pt x="1019" y="197"/>
                </a:lnTo>
                <a:lnTo>
                  <a:pt x="1023" y="194"/>
                </a:lnTo>
                <a:lnTo>
                  <a:pt x="997" y="194"/>
                </a:lnTo>
                <a:lnTo>
                  <a:pt x="969" y="199"/>
                </a:lnTo>
                <a:lnTo>
                  <a:pt x="968" y="200"/>
                </a:lnTo>
                <a:lnTo>
                  <a:pt x="968" y="204"/>
                </a:lnTo>
                <a:lnTo>
                  <a:pt x="968" y="211"/>
                </a:lnTo>
                <a:close/>
                <a:moveTo>
                  <a:pt x="949" y="230"/>
                </a:moveTo>
                <a:lnTo>
                  <a:pt x="946" y="234"/>
                </a:lnTo>
                <a:lnTo>
                  <a:pt x="957" y="237"/>
                </a:lnTo>
                <a:lnTo>
                  <a:pt x="966" y="234"/>
                </a:lnTo>
                <a:lnTo>
                  <a:pt x="960" y="230"/>
                </a:lnTo>
                <a:lnTo>
                  <a:pt x="949" y="230"/>
                </a:lnTo>
                <a:close/>
                <a:moveTo>
                  <a:pt x="986" y="183"/>
                </a:moveTo>
                <a:lnTo>
                  <a:pt x="993" y="187"/>
                </a:lnTo>
                <a:lnTo>
                  <a:pt x="1001" y="185"/>
                </a:lnTo>
                <a:lnTo>
                  <a:pt x="1009" y="190"/>
                </a:lnTo>
                <a:lnTo>
                  <a:pt x="1024" y="190"/>
                </a:lnTo>
                <a:lnTo>
                  <a:pt x="1027" y="182"/>
                </a:lnTo>
                <a:lnTo>
                  <a:pt x="1009" y="170"/>
                </a:lnTo>
                <a:lnTo>
                  <a:pt x="971" y="181"/>
                </a:lnTo>
                <a:lnTo>
                  <a:pt x="968" y="184"/>
                </a:lnTo>
                <a:lnTo>
                  <a:pt x="969" y="187"/>
                </a:lnTo>
                <a:lnTo>
                  <a:pt x="986" y="183"/>
                </a:lnTo>
                <a:close/>
                <a:moveTo>
                  <a:pt x="1168" y="238"/>
                </a:moveTo>
                <a:lnTo>
                  <a:pt x="1159" y="238"/>
                </a:lnTo>
                <a:lnTo>
                  <a:pt x="1169" y="241"/>
                </a:lnTo>
                <a:lnTo>
                  <a:pt x="1168" y="238"/>
                </a:lnTo>
                <a:close/>
                <a:moveTo>
                  <a:pt x="2520" y="734"/>
                </a:moveTo>
                <a:lnTo>
                  <a:pt x="2516" y="734"/>
                </a:lnTo>
                <a:lnTo>
                  <a:pt x="2520" y="735"/>
                </a:lnTo>
                <a:lnTo>
                  <a:pt x="2520" y="734"/>
                </a:lnTo>
                <a:close/>
                <a:moveTo>
                  <a:pt x="1136" y="242"/>
                </a:moveTo>
                <a:lnTo>
                  <a:pt x="1142" y="242"/>
                </a:lnTo>
                <a:lnTo>
                  <a:pt x="1157" y="238"/>
                </a:lnTo>
                <a:lnTo>
                  <a:pt x="1149" y="238"/>
                </a:lnTo>
                <a:lnTo>
                  <a:pt x="1136" y="242"/>
                </a:lnTo>
                <a:close/>
                <a:moveTo>
                  <a:pt x="1124" y="200"/>
                </a:moveTo>
                <a:lnTo>
                  <a:pt x="1125" y="204"/>
                </a:lnTo>
                <a:lnTo>
                  <a:pt x="1130" y="206"/>
                </a:lnTo>
                <a:lnTo>
                  <a:pt x="1146" y="204"/>
                </a:lnTo>
                <a:lnTo>
                  <a:pt x="1136" y="199"/>
                </a:lnTo>
                <a:lnTo>
                  <a:pt x="1124" y="200"/>
                </a:lnTo>
                <a:close/>
                <a:moveTo>
                  <a:pt x="1098" y="251"/>
                </a:moveTo>
                <a:lnTo>
                  <a:pt x="1095" y="253"/>
                </a:lnTo>
                <a:lnTo>
                  <a:pt x="1105" y="258"/>
                </a:lnTo>
                <a:lnTo>
                  <a:pt x="1112" y="258"/>
                </a:lnTo>
                <a:lnTo>
                  <a:pt x="1123" y="253"/>
                </a:lnTo>
                <a:lnTo>
                  <a:pt x="1124" y="252"/>
                </a:lnTo>
                <a:lnTo>
                  <a:pt x="1123" y="249"/>
                </a:lnTo>
                <a:lnTo>
                  <a:pt x="1098" y="251"/>
                </a:lnTo>
                <a:close/>
                <a:moveTo>
                  <a:pt x="1090" y="284"/>
                </a:moveTo>
                <a:lnTo>
                  <a:pt x="1098" y="287"/>
                </a:lnTo>
                <a:lnTo>
                  <a:pt x="1108" y="283"/>
                </a:lnTo>
                <a:lnTo>
                  <a:pt x="1105" y="278"/>
                </a:lnTo>
                <a:lnTo>
                  <a:pt x="1101" y="274"/>
                </a:lnTo>
                <a:lnTo>
                  <a:pt x="1091" y="278"/>
                </a:lnTo>
                <a:lnTo>
                  <a:pt x="1090" y="284"/>
                </a:lnTo>
                <a:close/>
                <a:moveTo>
                  <a:pt x="1202" y="301"/>
                </a:moveTo>
                <a:lnTo>
                  <a:pt x="1200" y="298"/>
                </a:lnTo>
                <a:lnTo>
                  <a:pt x="1192" y="302"/>
                </a:lnTo>
                <a:lnTo>
                  <a:pt x="1196" y="303"/>
                </a:lnTo>
                <a:lnTo>
                  <a:pt x="1202" y="301"/>
                </a:lnTo>
                <a:close/>
                <a:moveTo>
                  <a:pt x="1112" y="262"/>
                </a:moveTo>
                <a:lnTo>
                  <a:pt x="1125" y="258"/>
                </a:lnTo>
                <a:lnTo>
                  <a:pt x="1127" y="257"/>
                </a:lnTo>
                <a:lnTo>
                  <a:pt x="1103" y="262"/>
                </a:lnTo>
                <a:lnTo>
                  <a:pt x="1112" y="262"/>
                </a:lnTo>
                <a:close/>
                <a:moveTo>
                  <a:pt x="1157" y="269"/>
                </a:move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close/>
                <a:moveTo>
                  <a:pt x="1202" y="226"/>
                </a:moveTo>
                <a:lnTo>
                  <a:pt x="1198" y="227"/>
                </a:lnTo>
                <a:lnTo>
                  <a:pt x="1203" y="227"/>
                </a:lnTo>
                <a:lnTo>
                  <a:pt x="1202" y="226"/>
                </a:lnTo>
                <a:close/>
                <a:moveTo>
                  <a:pt x="1081" y="326"/>
                </a:moveTo>
                <a:lnTo>
                  <a:pt x="1065" y="326"/>
                </a:lnTo>
                <a:lnTo>
                  <a:pt x="1058" y="332"/>
                </a:lnTo>
                <a:lnTo>
                  <a:pt x="1067" y="336"/>
                </a:lnTo>
                <a:lnTo>
                  <a:pt x="1083" y="350"/>
                </a:lnTo>
                <a:lnTo>
                  <a:pt x="1084" y="350"/>
                </a:lnTo>
                <a:lnTo>
                  <a:pt x="1094" y="337"/>
                </a:lnTo>
                <a:lnTo>
                  <a:pt x="1095" y="331"/>
                </a:lnTo>
                <a:lnTo>
                  <a:pt x="1086" y="326"/>
                </a:lnTo>
                <a:lnTo>
                  <a:pt x="1081" y="326"/>
                </a:lnTo>
                <a:close/>
                <a:moveTo>
                  <a:pt x="1157" y="242"/>
                </a:moveTo>
                <a:lnTo>
                  <a:pt x="1166" y="242"/>
                </a:lnTo>
                <a:lnTo>
                  <a:pt x="1173" y="245"/>
                </a:lnTo>
                <a:lnTo>
                  <a:pt x="1173" y="244"/>
                </a:lnTo>
                <a:lnTo>
                  <a:pt x="1175" y="245"/>
                </a:lnTo>
                <a:lnTo>
                  <a:pt x="1173" y="242"/>
                </a:lnTo>
                <a:lnTo>
                  <a:pt x="1185" y="242"/>
                </a:lnTo>
                <a:lnTo>
                  <a:pt x="1185" y="239"/>
                </a:lnTo>
                <a:lnTo>
                  <a:pt x="1185" y="238"/>
                </a:lnTo>
                <a:lnTo>
                  <a:pt x="1192" y="241"/>
                </a:lnTo>
                <a:lnTo>
                  <a:pt x="1195" y="245"/>
                </a:lnTo>
                <a:lnTo>
                  <a:pt x="1192" y="246"/>
                </a:lnTo>
                <a:lnTo>
                  <a:pt x="1195" y="250"/>
                </a:lnTo>
                <a:lnTo>
                  <a:pt x="1198" y="252"/>
                </a:lnTo>
                <a:lnTo>
                  <a:pt x="1195" y="257"/>
                </a:lnTo>
                <a:lnTo>
                  <a:pt x="1196" y="263"/>
                </a:lnTo>
                <a:lnTo>
                  <a:pt x="1191" y="267"/>
                </a:lnTo>
                <a:lnTo>
                  <a:pt x="1200" y="268"/>
                </a:lnTo>
                <a:lnTo>
                  <a:pt x="1198" y="273"/>
                </a:lnTo>
                <a:lnTo>
                  <a:pt x="1202" y="277"/>
                </a:lnTo>
                <a:lnTo>
                  <a:pt x="1195" y="274"/>
                </a:lnTo>
                <a:lnTo>
                  <a:pt x="1189" y="274"/>
                </a:lnTo>
                <a:lnTo>
                  <a:pt x="1189" y="274"/>
                </a:lnTo>
                <a:lnTo>
                  <a:pt x="1190" y="278"/>
                </a:lnTo>
                <a:lnTo>
                  <a:pt x="1185" y="278"/>
                </a:lnTo>
                <a:lnTo>
                  <a:pt x="1185" y="279"/>
                </a:lnTo>
                <a:lnTo>
                  <a:pt x="1188" y="280"/>
                </a:lnTo>
                <a:lnTo>
                  <a:pt x="1188" y="283"/>
                </a:lnTo>
                <a:lnTo>
                  <a:pt x="1189" y="284"/>
                </a:lnTo>
                <a:lnTo>
                  <a:pt x="1189" y="290"/>
                </a:lnTo>
                <a:lnTo>
                  <a:pt x="1169" y="290"/>
                </a:lnTo>
                <a:lnTo>
                  <a:pt x="1170" y="287"/>
                </a:lnTo>
                <a:lnTo>
                  <a:pt x="1168" y="290"/>
                </a:lnTo>
                <a:lnTo>
                  <a:pt x="1159" y="290"/>
                </a:lnTo>
                <a:lnTo>
                  <a:pt x="1153" y="290"/>
                </a:lnTo>
                <a:lnTo>
                  <a:pt x="1153" y="286"/>
                </a:lnTo>
                <a:lnTo>
                  <a:pt x="1154" y="286"/>
                </a:lnTo>
                <a:lnTo>
                  <a:pt x="1162" y="282"/>
                </a:lnTo>
                <a:lnTo>
                  <a:pt x="1149" y="279"/>
                </a:lnTo>
                <a:lnTo>
                  <a:pt x="1153" y="278"/>
                </a:lnTo>
                <a:lnTo>
                  <a:pt x="1162" y="278"/>
                </a:lnTo>
                <a:lnTo>
                  <a:pt x="1157" y="275"/>
                </a:lnTo>
                <a:lnTo>
                  <a:pt x="1166" y="270"/>
                </a:lnTo>
                <a:lnTo>
                  <a:pt x="1163" y="270"/>
                </a:lnTo>
                <a:lnTo>
                  <a:pt x="1164" y="269"/>
                </a:lnTo>
                <a:lnTo>
                  <a:pt x="1158" y="269"/>
                </a:lnTo>
                <a:lnTo>
                  <a:pt x="1155" y="271"/>
                </a:lnTo>
                <a:lnTo>
                  <a:pt x="1157" y="269"/>
                </a:lnTo>
                <a:lnTo>
                  <a:pt x="1155" y="270"/>
                </a:lnTo>
                <a:lnTo>
                  <a:pt x="1124" y="273"/>
                </a:lnTo>
                <a:lnTo>
                  <a:pt x="1120" y="270"/>
                </a:lnTo>
                <a:lnTo>
                  <a:pt x="1124" y="270"/>
                </a:lnTo>
                <a:lnTo>
                  <a:pt x="1131" y="270"/>
                </a:lnTo>
                <a:lnTo>
                  <a:pt x="1130" y="266"/>
                </a:lnTo>
                <a:lnTo>
                  <a:pt x="1125" y="266"/>
                </a:lnTo>
                <a:lnTo>
                  <a:pt x="1127" y="264"/>
                </a:lnTo>
                <a:lnTo>
                  <a:pt x="1123" y="266"/>
                </a:lnTo>
                <a:lnTo>
                  <a:pt x="1111" y="266"/>
                </a:lnTo>
                <a:lnTo>
                  <a:pt x="1121" y="262"/>
                </a:lnTo>
                <a:lnTo>
                  <a:pt x="1130" y="262"/>
                </a:lnTo>
                <a:lnTo>
                  <a:pt x="1132" y="262"/>
                </a:lnTo>
                <a:lnTo>
                  <a:pt x="1140" y="264"/>
                </a:lnTo>
                <a:lnTo>
                  <a:pt x="1140" y="263"/>
                </a:lnTo>
                <a:lnTo>
                  <a:pt x="1137" y="260"/>
                </a:lnTo>
                <a:lnTo>
                  <a:pt x="1142" y="256"/>
                </a:lnTo>
                <a:lnTo>
                  <a:pt x="1136" y="257"/>
                </a:lnTo>
                <a:lnTo>
                  <a:pt x="1134" y="256"/>
                </a:lnTo>
                <a:lnTo>
                  <a:pt x="1140" y="250"/>
                </a:lnTo>
                <a:lnTo>
                  <a:pt x="1128" y="250"/>
                </a:lnTo>
                <a:lnTo>
                  <a:pt x="1128" y="245"/>
                </a:lnTo>
                <a:lnTo>
                  <a:pt x="1133" y="244"/>
                </a:lnTo>
                <a:lnTo>
                  <a:pt x="1142" y="245"/>
                </a:lnTo>
                <a:lnTo>
                  <a:pt x="1162" y="261"/>
                </a:lnTo>
                <a:lnTo>
                  <a:pt x="1169" y="257"/>
                </a:lnTo>
                <a:lnTo>
                  <a:pt x="1163" y="260"/>
                </a:lnTo>
                <a:lnTo>
                  <a:pt x="1158" y="252"/>
                </a:lnTo>
                <a:lnTo>
                  <a:pt x="1166" y="255"/>
                </a:lnTo>
                <a:lnTo>
                  <a:pt x="1169" y="253"/>
                </a:lnTo>
                <a:lnTo>
                  <a:pt x="1155" y="252"/>
                </a:lnTo>
                <a:lnTo>
                  <a:pt x="1154" y="250"/>
                </a:lnTo>
                <a:lnTo>
                  <a:pt x="1163" y="249"/>
                </a:lnTo>
                <a:lnTo>
                  <a:pt x="1151" y="247"/>
                </a:lnTo>
                <a:lnTo>
                  <a:pt x="1146" y="243"/>
                </a:lnTo>
                <a:lnTo>
                  <a:pt x="1157" y="242"/>
                </a:lnTo>
                <a:close/>
                <a:moveTo>
                  <a:pt x="1157" y="269"/>
                </a:moveTo>
                <a:lnTo>
                  <a:pt x="1155" y="269"/>
                </a:lnTo>
                <a:lnTo>
                  <a:pt x="1156" y="269"/>
                </a:ln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lnTo>
                  <a:pt x="1157" y="269"/>
                </a:lnTo>
                <a:close/>
                <a:moveTo>
                  <a:pt x="1196" y="283"/>
                </a:moveTo>
                <a:lnTo>
                  <a:pt x="1190" y="280"/>
                </a:lnTo>
                <a:lnTo>
                  <a:pt x="1191" y="284"/>
                </a:lnTo>
                <a:lnTo>
                  <a:pt x="1196" y="283"/>
                </a:lnTo>
                <a:close/>
                <a:moveTo>
                  <a:pt x="1176" y="324"/>
                </a:moveTo>
                <a:lnTo>
                  <a:pt x="1185" y="321"/>
                </a:lnTo>
                <a:lnTo>
                  <a:pt x="1192" y="317"/>
                </a:lnTo>
                <a:lnTo>
                  <a:pt x="1195" y="313"/>
                </a:lnTo>
                <a:lnTo>
                  <a:pt x="1169" y="320"/>
                </a:lnTo>
                <a:lnTo>
                  <a:pt x="1176" y="324"/>
                </a:lnTo>
                <a:close/>
                <a:moveTo>
                  <a:pt x="1190" y="280"/>
                </a:moveTo>
                <a:lnTo>
                  <a:pt x="1190" y="280"/>
                </a:lnTo>
                <a:lnTo>
                  <a:pt x="1190" y="280"/>
                </a:lnTo>
                <a:lnTo>
                  <a:pt x="1190" y="280"/>
                </a:lnTo>
                <a:lnTo>
                  <a:pt x="1190" y="280"/>
                </a:lnTo>
                <a:close/>
                <a:moveTo>
                  <a:pt x="1390" y="241"/>
                </a:moveTo>
                <a:lnTo>
                  <a:pt x="1390" y="244"/>
                </a:lnTo>
                <a:lnTo>
                  <a:pt x="1393" y="244"/>
                </a:lnTo>
                <a:lnTo>
                  <a:pt x="1390" y="241"/>
                </a:lnTo>
                <a:close/>
                <a:moveTo>
                  <a:pt x="2522" y="753"/>
                </a:moveTo>
                <a:lnTo>
                  <a:pt x="2520" y="754"/>
                </a:lnTo>
                <a:lnTo>
                  <a:pt x="2522" y="755"/>
                </a:lnTo>
                <a:lnTo>
                  <a:pt x="2522" y="753"/>
                </a:lnTo>
                <a:close/>
                <a:moveTo>
                  <a:pt x="1229" y="221"/>
                </a:moveTo>
                <a:lnTo>
                  <a:pt x="1228" y="218"/>
                </a:lnTo>
                <a:lnTo>
                  <a:pt x="1225" y="218"/>
                </a:lnTo>
                <a:lnTo>
                  <a:pt x="1229" y="221"/>
                </a:lnTo>
                <a:close/>
                <a:moveTo>
                  <a:pt x="1237" y="187"/>
                </a:moveTo>
                <a:lnTo>
                  <a:pt x="1244" y="189"/>
                </a:lnTo>
                <a:lnTo>
                  <a:pt x="1241" y="187"/>
                </a:lnTo>
                <a:lnTo>
                  <a:pt x="1237" y="187"/>
                </a:lnTo>
                <a:close/>
                <a:moveTo>
                  <a:pt x="1226" y="200"/>
                </a:moveTo>
                <a:lnTo>
                  <a:pt x="1215" y="206"/>
                </a:lnTo>
                <a:lnTo>
                  <a:pt x="1214" y="208"/>
                </a:lnTo>
                <a:lnTo>
                  <a:pt x="1221" y="214"/>
                </a:lnTo>
                <a:lnTo>
                  <a:pt x="1254" y="214"/>
                </a:lnTo>
                <a:lnTo>
                  <a:pt x="1257" y="208"/>
                </a:lnTo>
                <a:lnTo>
                  <a:pt x="1262" y="206"/>
                </a:lnTo>
                <a:lnTo>
                  <a:pt x="1260" y="204"/>
                </a:lnTo>
                <a:lnTo>
                  <a:pt x="1254" y="203"/>
                </a:lnTo>
                <a:lnTo>
                  <a:pt x="1228" y="204"/>
                </a:lnTo>
                <a:lnTo>
                  <a:pt x="1226" y="200"/>
                </a:lnTo>
                <a:close/>
                <a:moveTo>
                  <a:pt x="1292" y="222"/>
                </a:moveTo>
                <a:lnTo>
                  <a:pt x="1295" y="221"/>
                </a:lnTo>
                <a:lnTo>
                  <a:pt x="1290" y="218"/>
                </a:lnTo>
                <a:lnTo>
                  <a:pt x="1287" y="221"/>
                </a:lnTo>
                <a:lnTo>
                  <a:pt x="1292" y="222"/>
                </a:lnTo>
                <a:close/>
                <a:moveTo>
                  <a:pt x="1303" y="207"/>
                </a:moveTo>
                <a:lnTo>
                  <a:pt x="1291" y="206"/>
                </a:lnTo>
                <a:lnTo>
                  <a:pt x="1285" y="210"/>
                </a:lnTo>
                <a:lnTo>
                  <a:pt x="1285" y="215"/>
                </a:lnTo>
                <a:lnTo>
                  <a:pt x="1298" y="221"/>
                </a:lnTo>
                <a:lnTo>
                  <a:pt x="1309" y="215"/>
                </a:lnTo>
                <a:lnTo>
                  <a:pt x="1309" y="212"/>
                </a:lnTo>
                <a:lnTo>
                  <a:pt x="1303" y="207"/>
                </a:lnTo>
                <a:close/>
                <a:moveTo>
                  <a:pt x="1306" y="232"/>
                </a:moveTo>
                <a:lnTo>
                  <a:pt x="1296" y="234"/>
                </a:lnTo>
                <a:lnTo>
                  <a:pt x="1306" y="244"/>
                </a:lnTo>
                <a:lnTo>
                  <a:pt x="1310" y="241"/>
                </a:lnTo>
                <a:lnTo>
                  <a:pt x="1307" y="238"/>
                </a:lnTo>
                <a:lnTo>
                  <a:pt x="1310" y="234"/>
                </a:lnTo>
                <a:lnTo>
                  <a:pt x="1306" y="232"/>
                </a:lnTo>
                <a:close/>
                <a:moveTo>
                  <a:pt x="1210" y="343"/>
                </a:moveTo>
                <a:lnTo>
                  <a:pt x="1207" y="339"/>
                </a:lnTo>
                <a:lnTo>
                  <a:pt x="1204" y="341"/>
                </a:lnTo>
                <a:lnTo>
                  <a:pt x="1203" y="344"/>
                </a:lnTo>
                <a:lnTo>
                  <a:pt x="1206" y="348"/>
                </a:lnTo>
                <a:lnTo>
                  <a:pt x="1209" y="347"/>
                </a:lnTo>
                <a:lnTo>
                  <a:pt x="1210" y="343"/>
                </a:lnTo>
                <a:close/>
                <a:moveTo>
                  <a:pt x="1204" y="337"/>
                </a:moveTo>
                <a:lnTo>
                  <a:pt x="1203" y="337"/>
                </a:lnTo>
                <a:lnTo>
                  <a:pt x="1206" y="339"/>
                </a:lnTo>
                <a:lnTo>
                  <a:pt x="1204" y="337"/>
                </a:lnTo>
                <a:close/>
                <a:moveTo>
                  <a:pt x="1209" y="352"/>
                </a:moveTo>
                <a:lnTo>
                  <a:pt x="1209" y="351"/>
                </a:lnTo>
                <a:lnTo>
                  <a:pt x="1209" y="349"/>
                </a:lnTo>
                <a:lnTo>
                  <a:pt x="1204" y="352"/>
                </a:lnTo>
                <a:lnTo>
                  <a:pt x="1209" y="352"/>
                </a:lnTo>
                <a:close/>
                <a:moveTo>
                  <a:pt x="1215" y="274"/>
                </a:moveTo>
                <a:lnTo>
                  <a:pt x="1221" y="271"/>
                </a:lnTo>
                <a:lnTo>
                  <a:pt x="1218" y="269"/>
                </a:lnTo>
                <a:lnTo>
                  <a:pt x="1214" y="268"/>
                </a:lnTo>
                <a:lnTo>
                  <a:pt x="1204" y="272"/>
                </a:lnTo>
                <a:lnTo>
                  <a:pt x="1207" y="278"/>
                </a:lnTo>
                <a:lnTo>
                  <a:pt x="1213" y="274"/>
                </a:lnTo>
                <a:lnTo>
                  <a:pt x="1210" y="272"/>
                </a:lnTo>
                <a:lnTo>
                  <a:pt x="1213" y="271"/>
                </a:lnTo>
                <a:lnTo>
                  <a:pt x="1215" y="274"/>
                </a:lnTo>
                <a:close/>
                <a:moveTo>
                  <a:pt x="1237" y="266"/>
                </a:moveTo>
                <a:lnTo>
                  <a:pt x="1244" y="266"/>
                </a:lnTo>
                <a:lnTo>
                  <a:pt x="1241" y="258"/>
                </a:lnTo>
                <a:lnTo>
                  <a:pt x="1235" y="262"/>
                </a:lnTo>
                <a:lnTo>
                  <a:pt x="1237" y="266"/>
                </a:lnTo>
                <a:close/>
                <a:moveTo>
                  <a:pt x="1235" y="256"/>
                </a:moveTo>
                <a:lnTo>
                  <a:pt x="1236" y="252"/>
                </a:lnTo>
                <a:lnTo>
                  <a:pt x="1231" y="255"/>
                </a:lnTo>
                <a:lnTo>
                  <a:pt x="1235" y="256"/>
                </a:lnTo>
                <a:close/>
                <a:moveTo>
                  <a:pt x="1224" y="257"/>
                </a:moveTo>
                <a:lnTo>
                  <a:pt x="1221" y="260"/>
                </a:lnTo>
                <a:lnTo>
                  <a:pt x="1222" y="261"/>
                </a:lnTo>
                <a:lnTo>
                  <a:pt x="1224" y="257"/>
                </a:lnTo>
                <a:close/>
                <a:moveTo>
                  <a:pt x="1354" y="427"/>
                </a:moveTo>
                <a:lnTo>
                  <a:pt x="1346" y="427"/>
                </a:lnTo>
                <a:lnTo>
                  <a:pt x="1344" y="427"/>
                </a:lnTo>
                <a:lnTo>
                  <a:pt x="1347" y="431"/>
                </a:lnTo>
                <a:lnTo>
                  <a:pt x="1357" y="431"/>
                </a:lnTo>
                <a:lnTo>
                  <a:pt x="1354" y="427"/>
                </a:lnTo>
                <a:close/>
                <a:moveTo>
                  <a:pt x="2464" y="843"/>
                </a:moveTo>
                <a:lnTo>
                  <a:pt x="2472" y="840"/>
                </a:lnTo>
                <a:lnTo>
                  <a:pt x="2465" y="847"/>
                </a:lnTo>
                <a:lnTo>
                  <a:pt x="2472" y="843"/>
                </a:lnTo>
                <a:lnTo>
                  <a:pt x="2475" y="846"/>
                </a:lnTo>
                <a:lnTo>
                  <a:pt x="2471" y="849"/>
                </a:lnTo>
                <a:lnTo>
                  <a:pt x="2472" y="849"/>
                </a:lnTo>
                <a:lnTo>
                  <a:pt x="2471" y="851"/>
                </a:lnTo>
                <a:lnTo>
                  <a:pt x="2475" y="849"/>
                </a:lnTo>
                <a:lnTo>
                  <a:pt x="2478" y="849"/>
                </a:lnTo>
                <a:lnTo>
                  <a:pt x="2486" y="848"/>
                </a:lnTo>
                <a:lnTo>
                  <a:pt x="2490" y="843"/>
                </a:lnTo>
                <a:lnTo>
                  <a:pt x="2490" y="844"/>
                </a:lnTo>
                <a:lnTo>
                  <a:pt x="2495" y="844"/>
                </a:lnTo>
                <a:lnTo>
                  <a:pt x="2498" y="842"/>
                </a:lnTo>
                <a:lnTo>
                  <a:pt x="2499" y="840"/>
                </a:lnTo>
                <a:lnTo>
                  <a:pt x="2502" y="840"/>
                </a:lnTo>
                <a:lnTo>
                  <a:pt x="2502" y="836"/>
                </a:lnTo>
                <a:lnTo>
                  <a:pt x="2510" y="835"/>
                </a:lnTo>
                <a:lnTo>
                  <a:pt x="2510" y="831"/>
                </a:lnTo>
                <a:lnTo>
                  <a:pt x="2513" y="836"/>
                </a:lnTo>
                <a:lnTo>
                  <a:pt x="2522" y="836"/>
                </a:lnTo>
                <a:lnTo>
                  <a:pt x="2523" y="835"/>
                </a:lnTo>
                <a:lnTo>
                  <a:pt x="2519" y="831"/>
                </a:lnTo>
                <a:lnTo>
                  <a:pt x="2525" y="828"/>
                </a:lnTo>
                <a:lnTo>
                  <a:pt x="2522" y="825"/>
                </a:lnTo>
                <a:lnTo>
                  <a:pt x="2526" y="820"/>
                </a:lnTo>
                <a:lnTo>
                  <a:pt x="2526" y="816"/>
                </a:lnTo>
                <a:lnTo>
                  <a:pt x="2522" y="812"/>
                </a:lnTo>
                <a:lnTo>
                  <a:pt x="2524" y="808"/>
                </a:lnTo>
                <a:lnTo>
                  <a:pt x="2518" y="801"/>
                </a:lnTo>
                <a:lnTo>
                  <a:pt x="2518" y="800"/>
                </a:lnTo>
                <a:lnTo>
                  <a:pt x="2526" y="800"/>
                </a:lnTo>
                <a:lnTo>
                  <a:pt x="2523" y="797"/>
                </a:lnTo>
                <a:lnTo>
                  <a:pt x="2518" y="799"/>
                </a:lnTo>
                <a:lnTo>
                  <a:pt x="2516" y="796"/>
                </a:lnTo>
                <a:lnTo>
                  <a:pt x="2520" y="795"/>
                </a:lnTo>
                <a:lnTo>
                  <a:pt x="2523" y="796"/>
                </a:lnTo>
                <a:lnTo>
                  <a:pt x="2526" y="797"/>
                </a:lnTo>
                <a:lnTo>
                  <a:pt x="2527" y="796"/>
                </a:lnTo>
                <a:lnTo>
                  <a:pt x="2529" y="796"/>
                </a:lnTo>
                <a:lnTo>
                  <a:pt x="2527" y="786"/>
                </a:lnTo>
                <a:lnTo>
                  <a:pt x="2529" y="788"/>
                </a:lnTo>
                <a:lnTo>
                  <a:pt x="2531" y="790"/>
                </a:lnTo>
                <a:lnTo>
                  <a:pt x="2533" y="787"/>
                </a:lnTo>
                <a:lnTo>
                  <a:pt x="2529" y="784"/>
                </a:lnTo>
                <a:lnTo>
                  <a:pt x="2526" y="784"/>
                </a:lnTo>
                <a:lnTo>
                  <a:pt x="2527" y="781"/>
                </a:lnTo>
                <a:lnTo>
                  <a:pt x="2522" y="776"/>
                </a:lnTo>
                <a:lnTo>
                  <a:pt x="2522" y="776"/>
                </a:lnTo>
                <a:lnTo>
                  <a:pt x="2516" y="776"/>
                </a:lnTo>
                <a:lnTo>
                  <a:pt x="2510" y="775"/>
                </a:lnTo>
                <a:lnTo>
                  <a:pt x="2510" y="775"/>
                </a:lnTo>
                <a:lnTo>
                  <a:pt x="2506" y="772"/>
                </a:lnTo>
                <a:lnTo>
                  <a:pt x="2506" y="773"/>
                </a:lnTo>
                <a:lnTo>
                  <a:pt x="2503" y="774"/>
                </a:lnTo>
                <a:lnTo>
                  <a:pt x="2502" y="774"/>
                </a:lnTo>
                <a:lnTo>
                  <a:pt x="2499" y="776"/>
                </a:lnTo>
                <a:lnTo>
                  <a:pt x="2498" y="776"/>
                </a:lnTo>
                <a:lnTo>
                  <a:pt x="2498" y="779"/>
                </a:lnTo>
                <a:lnTo>
                  <a:pt x="2497" y="775"/>
                </a:lnTo>
                <a:lnTo>
                  <a:pt x="2490" y="776"/>
                </a:lnTo>
                <a:lnTo>
                  <a:pt x="2490" y="780"/>
                </a:lnTo>
                <a:lnTo>
                  <a:pt x="2491" y="781"/>
                </a:lnTo>
                <a:lnTo>
                  <a:pt x="2485" y="786"/>
                </a:lnTo>
                <a:lnTo>
                  <a:pt x="2488" y="787"/>
                </a:lnTo>
                <a:lnTo>
                  <a:pt x="2495" y="786"/>
                </a:lnTo>
                <a:lnTo>
                  <a:pt x="2494" y="788"/>
                </a:lnTo>
                <a:lnTo>
                  <a:pt x="2493" y="788"/>
                </a:lnTo>
                <a:lnTo>
                  <a:pt x="2494" y="789"/>
                </a:lnTo>
                <a:lnTo>
                  <a:pt x="2493" y="789"/>
                </a:lnTo>
                <a:lnTo>
                  <a:pt x="2487" y="793"/>
                </a:lnTo>
                <a:lnTo>
                  <a:pt x="2490" y="796"/>
                </a:lnTo>
                <a:lnTo>
                  <a:pt x="2482" y="796"/>
                </a:lnTo>
                <a:lnTo>
                  <a:pt x="2480" y="798"/>
                </a:lnTo>
                <a:lnTo>
                  <a:pt x="2476" y="796"/>
                </a:lnTo>
                <a:lnTo>
                  <a:pt x="2471" y="796"/>
                </a:lnTo>
                <a:lnTo>
                  <a:pt x="2468" y="797"/>
                </a:lnTo>
                <a:lnTo>
                  <a:pt x="2465" y="793"/>
                </a:lnTo>
                <a:lnTo>
                  <a:pt x="2462" y="794"/>
                </a:lnTo>
                <a:lnTo>
                  <a:pt x="2462" y="797"/>
                </a:lnTo>
                <a:lnTo>
                  <a:pt x="2465" y="796"/>
                </a:lnTo>
                <a:lnTo>
                  <a:pt x="2471" y="804"/>
                </a:lnTo>
                <a:lnTo>
                  <a:pt x="2468" y="804"/>
                </a:lnTo>
                <a:lnTo>
                  <a:pt x="2466" y="804"/>
                </a:lnTo>
                <a:lnTo>
                  <a:pt x="2466" y="808"/>
                </a:lnTo>
                <a:lnTo>
                  <a:pt x="2472" y="808"/>
                </a:lnTo>
                <a:lnTo>
                  <a:pt x="2464" y="809"/>
                </a:lnTo>
                <a:lnTo>
                  <a:pt x="2465" y="813"/>
                </a:lnTo>
                <a:lnTo>
                  <a:pt x="2471" y="811"/>
                </a:lnTo>
                <a:lnTo>
                  <a:pt x="2468" y="816"/>
                </a:lnTo>
                <a:lnTo>
                  <a:pt x="2471" y="816"/>
                </a:lnTo>
                <a:lnTo>
                  <a:pt x="2470" y="814"/>
                </a:lnTo>
                <a:lnTo>
                  <a:pt x="2482" y="813"/>
                </a:lnTo>
                <a:lnTo>
                  <a:pt x="2482" y="816"/>
                </a:lnTo>
                <a:lnTo>
                  <a:pt x="2478" y="816"/>
                </a:lnTo>
                <a:lnTo>
                  <a:pt x="2475" y="820"/>
                </a:lnTo>
                <a:lnTo>
                  <a:pt x="2476" y="821"/>
                </a:lnTo>
                <a:lnTo>
                  <a:pt x="2475" y="823"/>
                </a:lnTo>
                <a:lnTo>
                  <a:pt x="2468" y="827"/>
                </a:lnTo>
                <a:lnTo>
                  <a:pt x="2480" y="825"/>
                </a:lnTo>
                <a:lnTo>
                  <a:pt x="2482" y="824"/>
                </a:lnTo>
                <a:lnTo>
                  <a:pt x="2485" y="825"/>
                </a:lnTo>
                <a:lnTo>
                  <a:pt x="2471" y="827"/>
                </a:lnTo>
                <a:lnTo>
                  <a:pt x="2470" y="830"/>
                </a:lnTo>
                <a:lnTo>
                  <a:pt x="2470" y="834"/>
                </a:lnTo>
                <a:lnTo>
                  <a:pt x="2464" y="831"/>
                </a:lnTo>
                <a:lnTo>
                  <a:pt x="2458" y="835"/>
                </a:lnTo>
                <a:lnTo>
                  <a:pt x="2458" y="836"/>
                </a:lnTo>
                <a:lnTo>
                  <a:pt x="2469" y="835"/>
                </a:lnTo>
                <a:lnTo>
                  <a:pt x="2462" y="839"/>
                </a:lnTo>
                <a:lnTo>
                  <a:pt x="2458" y="840"/>
                </a:lnTo>
                <a:lnTo>
                  <a:pt x="2458" y="843"/>
                </a:lnTo>
                <a:lnTo>
                  <a:pt x="2462" y="842"/>
                </a:lnTo>
                <a:lnTo>
                  <a:pt x="2464" y="843"/>
                </a:lnTo>
                <a:close/>
                <a:moveTo>
                  <a:pt x="1579" y="605"/>
                </a:moveTo>
                <a:lnTo>
                  <a:pt x="1578" y="605"/>
                </a:lnTo>
                <a:lnTo>
                  <a:pt x="1579" y="607"/>
                </a:lnTo>
                <a:lnTo>
                  <a:pt x="1582" y="608"/>
                </a:lnTo>
                <a:lnTo>
                  <a:pt x="1585" y="614"/>
                </a:lnTo>
                <a:lnTo>
                  <a:pt x="1593" y="612"/>
                </a:lnTo>
                <a:lnTo>
                  <a:pt x="1591" y="611"/>
                </a:lnTo>
                <a:lnTo>
                  <a:pt x="1579" y="605"/>
                </a:lnTo>
                <a:lnTo>
                  <a:pt x="1579" y="605"/>
                </a:lnTo>
                <a:close/>
                <a:moveTo>
                  <a:pt x="2488" y="402"/>
                </a:moveTo>
                <a:lnTo>
                  <a:pt x="2482" y="405"/>
                </a:lnTo>
                <a:lnTo>
                  <a:pt x="2484" y="406"/>
                </a:lnTo>
                <a:lnTo>
                  <a:pt x="2488" y="402"/>
                </a:lnTo>
                <a:close/>
                <a:moveTo>
                  <a:pt x="2499" y="399"/>
                </a:moveTo>
                <a:lnTo>
                  <a:pt x="2492" y="399"/>
                </a:lnTo>
                <a:lnTo>
                  <a:pt x="2491" y="400"/>
                </a:lnTo>
                <a:lnTo>
                  <a:pt x="2491" y="400"/>
                </a:lnTo>
                <a:lnTo>
                  <a:pt x="2496" y="400"/>
                </a:lnTo>
                <a:lnTo>
                  <a:pt x="2499" y="399"/>
                </a:lnTo>
                <a:close/>
                <a:moveTo>
                  <a:pt x="1566" y="407"/>
                </a:moveTo>
                <a:lnTo>
                  <a:pt x="1566" y="407"/>
                </a:lnTo>
                <a:lnTo>
                  <a:pt x="1564" y="406"/>
                </a:lnTo>
                <a:lnTo>
                  <a:pt x="1563" y="407"/>
                </a:lnTo>
                <a:lnTo>
                  <a:pt x="1564" y="407"/>
                </a:lnTo>
                <a:lnTo>
                  <a:pt x="1566" y="407"/>
                </a:lnTo>
                <a:close/>
                <a:moveTo>
                  <a:pt x="2504" y="734"/>
                </a:moveTo>
                <a:lnTo>
                  <a:pt x="2503" y="732"/>
                </a:lnTo>
                <a:lnTo>
                  <a:pt x="2501" y="735"/>
                </a:lnTo>
                <a:lnTo>
                  <a:pt x="2503" y="735"/>
                </a:lnTo>
                <a:lnTo>
                  <a:pt x="2504" y="734"/>
                </a:lnTo>
                <a:close/>
                <a:moveTo>
                  <a:pt x="2489" y="400"/>
                </a:moveTo>
                <a:lnTo>
                  <a:pt x="2488" y="402"/>
                </a:lnTo>
                <a:lnTo>
                  <a:pt x="2491" y="400"/>
                </a:lnTo>
                <a:lnTo>
                  <a:pt x="2489" y="400"/>
                </a:lnTo>
                <a:close/>
                <a:moveTo>
                  <a:pt x="2504" y="732"/>
                </a:moveTo>
                <a:lnTo>
                  <a:pt x="2506" y="732"/>
                </a:lnTo>
                <a:lnTo>
                  <a:pt x="2506" y="727"/>
                </a:lnTo>
                <a:lnTo>
                  <a:pt x="2504" y="726"/>
                </a:lnTo>
                <a:lnTo>
                  <a:pt x="2504" y="732"/>
                </a:lnTo>
                <a:close/>
                <a:moveTo>
                  <a:pt x="1450" y="362"/>
                </a:moveTo>
                <a:lnTo>
                  <a:pt x="1450" y="362"/>
                </a:lnTo>
                <a:lnTo>
                  <a:pt x="1450" y="362"/>
                </a:lnTo>
                <a:lnTo>
                  <a:pt x="1450" y="362"/>
                </a:lnTo>
                <a:close/>
                <a:moveTo>
                  <a:pt x="1448" y="360"/>
                </a:moveTo>
                <a:lnTo>
                  <a:pt x="1450" y="362"/>
                </a:lnTo>
                <a:lnTo>
                  <a:pt x="1450" y="361"/>
                </a:lnTo>
                <a:lnTo>
                  <a:pt x="1448" y="360"/>
                </a:lnTo>
                <a:close/>
                <a:moveTo>
                  <a:pt x="1516" y="570"/>
                </a:moveTo>
                <a:lnTo>
                  <a:pt x="1514" y="570"/>
                </a:lnTo>
                <a:lnTo>
                  <a:pt x="1514" y="571"/>
                </a:lnTo>
                <a:lnTo>
                  <a:pt x="1514" y="572"/>
                </a:lnTo>
                <a:lnTo>
                  <a:pt x="1516" y="570"/>
                </a:lnTo>
                <a:close/>
                <a:moveTo>
                  <a:pt x="1533" y="566"/>
                </a:moveTo>
                <a:lnTo>
                  <a:pt x="1532" y="565"/>
                </a:lnTo>
                <a:lnTo>
                  <a:pt x="1532" y="566"/>
                </a:lnTo>
                <a:lnTo>
                  <a:pt x="1534" y="567"/>
                </a:lnTo>
                <a:lnTo>
                  <a:pt x="1534" y="566"/>
                </a:lnTo>
                <a:lnTo>
                  <a:pt x="1533" y="566"/>
                </a:lnTo>
                <a:close/>
                <a:moveTo>
                  <a:pt x="1466" y="361"/>
                </a:moveTo>
                <a:lnTo>
                  <a:pt x="1463" y="364"/>
                </a:lnTo>
                <a:lnTo>
                  <a:pt x="1466" y="365"/>
                </a:lnTo>
                <a:lnTo>
                  <a:pt x="1468" y="365"/>
                </a:lnTo>
                <a:lnTo>
                  <a:pt x="1469" y="365"/>
                </a:lnTo>
                <a:lnTo>
                  <a:pt x="1466" y="361"/>
                </a:lnTo>
                <a:close/>
                <a:moveTo>
                  <a:pt x="1470" y="370"/>
                </a:moveTo>
                <a:lnTo>
                  <a:pt x="1470" y="370"/>
                </a:lnTo>
                <a:lnTo>
                  <a:pt x="1470" y="370"/>
                </a:lnTo>
                <a:lnTo>
                  <a:pt x="1470" y="370"/>
                </a:lnTo>
                <a:close/>
                <a:moveTo>
                  <a:pt x="1466" y="368"/>
                </a:moveTo>
                <a:lnTo>
                  <a:pt x="1470" y="370"/>
                </a:lnTo>
                <a:lnTo>
                  <a:pt x="1468" y="365"/>
                </a:lnTo>
                <a:lnTo>
                  <a:pt x="1466" y="368"/>
                </a:lnTo>
                <a:close/>
                <a:moveTo>
                  <a:pt x="1456" y="435"/>
                </a:moveTo>
                <a:lnTo>
                  <a:pt x="1455" y="435"/>
                </a:lnTo>
                <a:lnTo>
                  <a:pt x="1445" y="435"/>
                </a:lnTo>
                <a:lnTo>
                  <a:pt x="1439" y="439"/>
                </a:lnTo>
                <a:lnTo>
                  <a:pt x="1443" y="439"/>
                </a:lnTo>
                <a:lnTo>
                  <a:pt x="1452" y="443"/>
                </a:lnTo>
                <a:lnTo>
                  <a:pt x="1449" y="439"/>
                </a:lnTo>
                <a:lnTo>
                  <a:pt x="1456" y="439"/>
                </a:lnTo>
                <a:lnTo>
                  <a:pt x="1461" y="436"/>
                </a:lnTo>
                <a:lnTo>
                  <a:pt x="1460" y="435"/>
                </a:lnTo>
                <a:lnTo>
                  <a:pt x="1456" y="435"/>
                </a:lnTo>
                <a:lnTo>
                  <a:pt x="1456" y="435"/>
                </a:lnTo>
                <a:close/>
                <a:moveTo>
                  <a:pt x="1599" y="246"/>
                </a:moveTo>
                <a:lnTo>
                  <a:pt x="1598" y="245"/>
                </a:lnTo>
                <a:lnTo>
                  <a:pt x="1596" y="245"/>
                </a:lnTo>
                <a:lnTo>
                  <a:pt x="1599" y="246"/>
                </a:lnTo>
                <a:close/>
                <a:moveTo>
                  <a:pt x="1634" y="440"/>
                </a:moveTo>
                <a:lnTo>
                  <a:pt x="1628" y="442"/>
                </a:lnTo>
                <a:lnTo>
                  <a:pt x="1631" y="442"/>
                </a:lnTo>
                <a:lnTo>
                  <a:pt x="1634" y="440"/>
                </a:lnTo>
                <a:close/>
                <a:moveTo>
                  <a:pt x="1603" y="240"/>
                </a:moveTo>
                <a:lnTo>
                  <a:pt x="1597" y="242"/>
                </a:lnTo>
                <a:lnTo>
                  <a:pt x="1606" y="242"/>
                </a:lnTo>
                <a:lnTo>
                  <a:pt x="1603" y="240"/>
                </a:lnTo>
                <a:close/>
                <a:moveTo>
                  <a:pt x="1651" y="474"/>
                </a:moveTo>
                <a:lnTo>
                  <a:pt x="1644" y="476"/>
                </a:lnTo>
                <a:lnTo>
                  <a:pt x="1648" y="477"/>
                </a:lnTo>
                <a:lnTo>
                  <a:pt x="1651" y="474"/>
                </a:lnTo>
                <a:close/>
                <a:moveTo>
                  <a:pt x="1686" y="492"/>
                </a:moveTo>
                <a:lnTo>
                  <a:pt x="1685" y="490"/>
                </a:lnTo>
                <a:lnTo>
                  <a:pt x="1682" y="492"/>
                </a:lnTo>
                <a:lnTo>
                  <a:pt x="1686" y="492"/>
                </a:lnTo>
                <a:close/>
                <a:moveTo>
                  <a:pt x="1626" y="458"/>
                </a:moveTo>
                <a:lnTo>
                  <a:pt x="1626" y="456"/>
                </a:lnTo>
                <a:lnTo>
                  <a:pt x="1625" y="456"/>
                </a:lnTo>
                <a:lnTo>
                  <a:pt x="1626" y="458"/>
                </a:lnTo>
                <a:close/>
                <a:moveTo>
                  <a:pt x="1659" y="476"/>
                </a:moveTo>
                <a:lnTo>
                  <a:pt x="1659" y="477"/>
                </a:lnTo>
                <a:lnTo>
                  <a:pt x="1661" y="477"/>
                </a:lnTo>
                <a:lnTo>
                  <a:pt x="1659" y="476"/>
                </a:lnTo>
                <a:close/>
                <a:moveTo>
                  <a:pt x="2509" y="626"/>
                </a:moveTo>
                <a:lnTo>
                  <a:pt x="2509" y="623"/>
                </a:lnTo>
                <a:lnTo>
                  <a:pt x="2516" y="627"/>
                </a:lnTo>
                <a:lnTo>
                  <a:pt x="2513" y="623"/>
                </a:lnTo>
                <a:lnTo>
                  <a:pt x="2509" y="620"/>
                </a:lnTo>
                <a:lnTo>
                  <a:pt x="2506" y="620"/>
                </a:lnTo>
                <a:lnTo>
                  <a:pt x="2506" y="621"/>
                </a:lnTo>
                <a:lnTo>
                  <a:pt x="2508" y="624"/>
                </a:lnTo>
                <a:lnTo>
                  <a:pt x="2504" y="624"/>
                </a:lnTo>
                <a:lnTo>
                  <a:pt x="2509" y="626"/>
                </a:lnTo>
                <a:close/>
                <a:moveTo>
                  <a:pt x="2506" y="723"/>
                </a:moveTo>
                <a:lnTo>
                  <a:pt x="2504" y="723"/>
                </a:lnTo>
                <a:lnTo>
                  <a:pt x="2506" y="726"/>
                </a:lnTo>
                <a:lnTo>
                  <a:pt x="2506" y="723"/>
                </a:lnTo>
                <a:close/>
                <a:moveTo>
                  <a:pt x="2508" y="721"/>
                </a:moveTo>
                <a:lnTo>
                  <a:pt x="2508" y="719"/>
                </a:lnTo>
                <a:lnTo>
                  <a:pt x="2501" y="721"/>
                </a:lnTo>
                <a:lnTo>
                  <a:pt x="2506" y="723"/>
                </a:lnTo>
                <a:lnTo>
                  <a:pt x="2508" y="721"/>
                </a:lnTo>
                <a:close/>
                <a:moveTo>
                  <a:pt x="2517" y="621"/>
                </a:moveTo>
                <a:lnTo>
                  <a:pt x="2509" y="617"/>
                </a:lnTo>
                <a:lnTo>
                  <a:pt x="2516" y="625"/>
                </a:lnTo>
                <a:lnTo>
                  <a:pt x="2517" y="621"/>
                </a:lnTo>
                <a:close/>
                <a:moveTo>
                  <a:pt x="1570" y="419"/>
                </a:moveTo>
                <a:lnTo>
                  <a:pt x="1570" y="419"/>
                </a:lnTo>
                <a:lnTo>
                  <a:pt x="1570" y="419"/>
                </a:lnTo>
                <a:lnTo>
                  <a:pt x="1570" y="419"/>
                </a:lnTo>
                <a:close/>
                <a:moveTo>
                  <a:pt x="1560" y="385"/>
                </a:moveTo>
                <a:lnTo>
                  <a:pt x="1572" y="388"/>
                </a:lnTo>
                <a:lnTo>
                  <a:pt x="1579" y="394"/>
                </a:lnTo>
                <a:lnTo>
                  <a:pt x="1574" y="401"/>
                </a:lnTo>
                <a:lnTo>
                  <a:pt x="1567" y="400"/>
                </a:lnTo>
                <a:lnTo>
                  <a:pt x="1561" y="407"/>
                </a:lnTo>
                <a:lnTo>
                  <a:pt x="1562" y="407"/>
                </a:lnTo>
                <a:lnTo>
                  <a:pt x="1563" y="407"/>
                </a:lnTo>
                <a:lnTo>
                  <a:pt x="1561" y="410"/>
                </a:lnTo>
                <a:lnTo>
                  <a:pt x="1559" y="412"/>
                </a:lnTo>
                <a:lnTo>
                  <a:pt x="1564" y="408"/>
                </a:lnTo>
                <a:lnTo>
                  <a:pt x="1567" y="407"/>
                </a:lnTo>
                <a:lnTo>
                  <a:pt x="1566" y="407"/>
                </a:lnTo>
                <a:lnTo>
                  <a:pt x="1566" y="403"/>
                </a:lnTo>
                <a:lnTo>
                  <a:pt x="1569" y="403"/>
                </a:lnTo>
                <a:lnTo>
                  <a:pt x="1574" y="402"/>
                </a:lnTo>
                <a:lnTo>
                  <a:pt x="1574" y="405"/>
                </a:lnTo>
                <a:lnTo>
                  <a:pt x="1569" y="407"/>
                </a:lnTo>
                <a:lnTo>
                  <a:pt x="1575" y="406"/>
                </a:lnTo>
                <a:lnTo>
                  <a:pt x="1579" y="401"/>
                </a:lnTo>
                <a:lnTo>
                  <a:pt x="1582" y="399"/>
                </a:lnTo>
                <a:lnTo>
                  <a:pt x="1586" y="401"/>
                </a:lnTo>
                <a:lnTo>
                  <a:pt x="1588" y="405"/>
                </a:lnTo>
                <a:lnTo>
                  <a:pt x="1585" y="410"/>
                </a:lnTo>
                <a:lnTo>
                  <a:pt x="1579" y="415"/>
                </a:lnTo>
                <a:lnTo>
                  <a:pt x="1574" y="420"/>
                </a:lnTo>
                <a:lnTo>
                  <a:pt x="1574" y="422"/>
                </a:lnTo>
                <a:lnTo>
                  <a:pt x="1572" y="429"/>
                </a:lnTo>
                <a:lnTo>
                  <a:pt x="1579" y="422"/>
                </a:lnTo>
                <a:lnTo>
                  <a:pt x="1582" y="413"/>
                </a:lnTo>
                <a:lnTo>
                  <a:pt x="1598" y="407"/>
                </a:lnTo>
                <a:lnTo>
                  <a:pt x="1600" y="407"/>
                </a:lnTo>
                <a:lnTo>
                  <a:pt x="1594" y="411"/>
                </a:lnTo>
                <a:lnTo>
                  <a:pt x="1588" y="413"/>
                </a:lnTo>
                <a:lnTo>
                  <a:pt x="1589" y="415"/>
                </a:lnTo>
                <a:lnTo>
                  <a:pt x="1588" y="419"/>
                </a:lnTo>
                <a:lnTo>
                  <a:pt x="1590" y="419"/>
                </a:lnTo>
                <a:lnTo>
                  <a:pt x="1590" y="415"/>
                </a:lnTo>
                <a:lnTo>
                  <a:pt x="1594" y="415"/>
                </a:lnTo>
                <a:lnTo>
                  <a:pt x="1604" y="409"/>
                </a:lnTo>
                <a:lnTo>
                  <a:pt x="1618" y="413"/>
                </a:lnTo>
                <a:lnTo>
                  <a:pt x="1618" y="416"/>
                </a:lnTo>
                <a:lnTo>
                  <a:pt x="1617" y="419"/>
                </a:lnTo>
                <a:lnTo>
                  <a:pt x="1614" y="416"/>
                </a:lnTo>
                <a:lnTo>
                  <a:pt x="1614" y="420"/>
                </a:lnTo>
                <a:lnTo>
                  <a:pt x="1600" y="425"/>
                </a:lnTo>
                <a:lnTo>
                  <a:pt x="1612" y="424"/>
                </a:lnTo>
                <a:lnTo>
                  <a:pt x="1615" y="426"/>
                </a:lnTo>
                <a:lnTo>
                  <a:pt x="1610" y="429"/>
                </a:lnTo>
                <a:lnTo>
                  <a:pt x="1621" y="425"/>
                </a:lnTo>
                <a:lnTo>
                  <a:pt x="1620" y="424"/>
                </a:lnTo>
                <a:lnTo>
                  <a:pt x="1621" y="420"/>
                </a:lnTo>
                <a:lnTo>
                  <a:pt x="1628" y="423"/>
                </a:lnTo>
                <a:lnTo>
                  <a:pt x="1637" y="432"/>
                </a:lnTo>
                <a:lnTo>
                  <a:pt x="1638" y="439"/>
                </a:lnTo>
                <a:lnTo>
                  <a:pt x="1626" y="439"/>
                </a:lnTo>
                <a:lnTo>
                  <a:pt x="1626" y="442"/>
                </a:lnTo>
                <a:lnTo>
                  <a:pt x="1622" y="440"/>
                </a:lnTo>
                <a:lnTo>
                  <a:pt x="1625" y="439"/>
                </a:lnTo>
                <a:lnTo>
                  <a:pt x="1626" y="439"/>
                </a:lnTo>
                <a:lnTo>
                  <a:pt x="1626" y="439"/>
                </a:lnTo>
                <a:lnTo>
                  <a:pt x="1626" y="436"/>
                </a:lnTo>
                <a:lnTo>
                  <a:pt x="1621" y="440"/>
                </a:lnTo>
                <a:lnTo>
                  <a:pt x="1622" y="440"/>
                </a:lnTo>
                <a:lnTo>
                  <a:pt x="1620" y="441"/>
                </a:lnTo>
                <a:lnTo>
                  <a:pt x="1619" y="442"/>
                </a:lnTo>
                <a:lnTo>
                  <a:pt x="1625" y="443"/>
                </a:lnTo>
                <a:lnTo>
                  <a:pt x="1637" y="443"/>
                </a:lnTo>
                <a:lnTo>
                  <a:pt x="1641" y="447"/>
                </a:lnTo>
                <a:lnTo>
                  <a:pt x="1644" y="450"/>
                </a:lnTo>
                <a:lnTo>
                  <a:pt x="1641" y="451"/>
                </a:lnTo>
                <a:lnTo>
                  <a:pt x="1611" y="445"/>
                </a:lnTo>
                <a:lnTo>
                  <a:pt x="1605" y="448"/>
                </a:lnTo>
                <a:lnTo>
                  <a:pt x="1611" y="447"/>
                </a:lnTo>
                <a:lnTo>
                  <a:pt x="1623" y="451"/>
                </a:lnTo>
                <a:lnTo>
                  <a:pt x="1616" y="451"/>
                </a:lnTo>
                <a:lnTo>
                  <a:pt x="1610" y="453"/>
                </a:lnTo>
                <a:lnTo>
                  <a:pt x="1610" y="456"/>
                </a:lnTo>
                <a:lnTo>
                  <a:pt x="1611" y="454"/>
                </a:lnTo>
                <a:lnTo>
                  <a:pt x="1621" y="452"/>
                </a:lnTo>
                <a:lnTo>
                  <a:pt x="1628" y="456"/>
                </a:lnTo>
                <a:lnTo>
                  <a:pt x="1626" y="456"/>
                </a:lnTo>
                <a:lnTo>
                  <a:pt x="1626" y="455"/>
                </a:lnTo>
                <a:lnTo>
                  <a:pt x="1625" y="455"/>
                </a:lnTo>
                <a:lnTo>
                  <a:pt x="1625" y="456"/>
                </a:lnTo>
                <a:lnTo>
                  <a:pt x="1616" y="459"/>
                </a:lnTo>
                <a:lnTo>
                  <a:pt x="1628" y="463"/>
                </a:lnTo>
                <a:lnTo>
                  <a:pt x="1604" y="459"/>
                </a:lnTo>
                <a:lnTo>
                  <a:pt x="1623" y="464"/>
                </a:lnTo>
                <a:lnTo>
                  <a:pt x="1612" y="467"/>
                </a:lnTo>
                <a:lnTo>
                  <a:pt x="1614" y="467"/>
                </a:lnTo>
                <a:lnTo>
                  <a:pt x="1619" y="467"/>
                </a:lnTo>
                <a:lnTo>
                  <a:pt x="1631" y="467"/>
                </a:lnTo>
                <a:lnTo>
                  <a:pt x="1630" y="468"/>
                </a:lnTo>
                <a:lnTo>
                  <a:pt x="1630" y="470"/>
                </a:lnTo>
                <a:lnTo>
                  <a:pt x="1633" y="468"/>
                </a:lnTo>
                <a:lnTo>
                  <a:pt x="1634" y="469"/>
                </a:lnTo>
                <a:lnTo>
                  <a:pt x="1634" y="468"/>
                </a:lnTo>
                <a:lnTo>
                  <a:pt x="1642" y="470"/>
                </a:lnTo>
                <a:lnTo>
                  <a:pt x="1640" y="471"/>
                </a:lnTo>
                <a:lnTo>
                  <a:pt x="1637" y="472"/>
                </a:lnTo>
                <a:lnTo>
                  <a:pt x="1639" y="474"/>
                </a:lnTo>
                <a:lnTo>
                  <a:pt x="1639" y="473"/>
                </a:lnTo>
                <a:lnTo>
                  <a:pt x="1641" y="474"/>
                </a:lnTo>
                <a:lnTo>
                  <a:pt x="1638" y="481"/>
                </a:lnTo>
                <a:lnTo>
                  <a:pt x="1642" y="477"/>
                </a:lnTo>
                <a:lnTo>
                  <a:pt x="1642" y="481"/>
                </a:lnTo>
                <a:lnTo>
                  <a:pt x="1645" y="479"/>
                </a:lnTo>
                <a:lnTo>
                  <a:pt x="1648" y="479"/>
                </a:lnTo>
                <a:lnTo>
                  <a:pt x="1647" y="480"/>
                </a:lnTo>
                <a:lnTo>
                  <a:pt x="1650" y="481"/>
                </a:lnTo>
                <a:lnTo>
                  <a:pt x="1653" y="479"/>
                </a:lnTo>
                <a:lnTo>
                  <a:pt x="1650" y="482"/>
                </a:lnTo>
                <a:lnTo>
                  <a:pt x="1650" y="485"/>
                </a:lnTo>
                <a:lnTo>
                  <a:pt x="1650" y="486"/>
                </a:lnTo>
                <a:lnTo>
                  <a:pt x="1654" y="482"/>
                </a:lnTo>
                <a:lnTo>
                  <a:pt x="1654" y="483"/>
                </a:lnTo>
                <a:lnTo>
                  <a:pt x="1661" y="483"/>
                </a:lnTo>
                <a:lnTo>
                  <a:pt x="1661" y="482"/>
                </a:lnTo>
                <a:lnTo>
                  <a:pt x="1668" y="479"/>
                </a:lnTo>
                <a:lnTo>
                  <a:pt x="1673" y="481"/>
                </a:lnTo>
                <a:lnTo>
                  <a:pt x="1667" y="485"/>
                </a:lnTo>
                <a:lnTo>
                  <a:pt x="1667" y="486"/>
                </a:lnTo>
                <a:lnTo>
                  <a:pt x="1665" y="489"/>
                </a:lnTo>
                <a:lnTo>
                  <a:pt x="1671" y="487"/>
                </a:lnTo>
                <a:lnTo>
                  <a:pt x="1672" y="487"/>
                </a:lnTo>
                <a:lnTo>
                  <a:pt x="1676" y="487"/>
                </a:lnTo>
                <a:lnTo>
                  <a:pt x="1679" y="489"/>
                </a:lnTo>
                <a:lnTo>
                  <a:pt x="1682" y="493"/>
                </a:lnTo>
                <a:lnTo>
                  <a:pt x="1676" y="495"/>
                </a:lnTo>
                <a:lnTo>
                  <a:pt x="1682" y="495"/>
                </a:lnTo>
                <a:lnTo>
                  <a:pt x="1685" y="500"/>
                </a:lnTo>
                <a:lnTo>
                  <a:pt x="1682" y="499"/>
                </a:lnTo>
                <a:lnTo>
                  <a:pt x="1675" y="502"/>
                </a:lnTo>
                <a:lnTo>
                  <a:pt x="1674" y="505"/>
                </a:lnTo>
                <a:lnTo>
                  <a:pt x="1676" y="502"/>
                </a:lnTo>
                <a:lnTo>
                  <a:pt x="1691" y="500"/>
                </a:lnTo>
                <a:lnTo>
                  <a:pt x="1685" y="507"/>
                </a:lnTo>
                <a:lnTo>
                  <a:pt x="1691" y="502"/>
                </a:lnTo>
                <a:lnTo>
                  <a:pt x="1691" y="499"/>
                </a:lnTo>
                <a:lnTo>
                  <a:pt x="1691" y="499"/>
                </a:lnTo>
                <a:lnTo>
                  <a:pt x="1693" y="499"/>
                </a:lnTo>
                <a:lnTo>
                  <a:pt x="1692" y="498"/>
                </a:lnTo>
                <a:lnTo>
                  <a:pt x="1694" y="497"/>
                </a:lnTo>
                <a:lnTo>
                  <a:pt x="1697" y="500"/>
                </a:lnTo>
                <a:lnTo>
                  <a:pt x="1691" y="504"/>
                </a:lnTo>
                <a:lnTo>
                  <a:pt x="1691" y="507"/>
                </a:lnTo>
                <a:lnTo>
                  <a:pt x="1686" y="511"/>
                </a:lnTo>
                <a:lnTo>
                  <a:pt x="1691" y="511"/>
                </a:lnTo>
                <a:lnTo>
                  <a:pt x="1691" y="513"/>
                </a:lnTo>
                <a:lnTo>
                  <a:pt x="1694" y="508"/>
                </a:lnTo>
                <a:lnTo>
                  <a:pt x="1700" y="507"/>
                </a:lnTo>
                <a:lnTo>
                  <a:pt x="1697" y="515"/>
                </a:lnTo>
                <a:lnTo>
                  <a:pt x="1699" y="511"/>
                </a:lnTo>
                <a:lnTo>
                  <a:pt x="1699" y="511"/>
                </a:lnTo>
                <a:lnTo>
                  <a:pt x="1704" y="511"/>
                </a:lnTo>
                <a:lnTo>
                  <a:pt x="1708" y="516"/>
                </a:lnTo>
                <a:lnTo>
                  <a:pt x="1705" y="510"/>
                </a:lnTo>
                <a:lnTo>
                  <a:pt x="1710" y="507"/>
                </a:lnTo>
                <a:lnTo>
                  <a:pt x="1712" y="507"/>
                </a:lnTo>
                <a:lnTo>
                  <a:pt x="1710" y="510"/>
                </a:lnTo>
                <a:lnTo>
                  <a:pt x="1716" y="508"/>
                </a:lnTo>
                <a:lnTo>
                  <a:pt x="1723" y="516"/>
                </a:lnTo>
                <a:lnTo>
                  <a:pt x="1720" y="517"/>
                </a:lnTo>
                <a:lnTo>
                  <a:pt x="1713" y="515"/>
                </a:lnTo>
                <a:lnTo>
                  <a:pt x="1710" y="519"/>
                </a:lnTo>
                <a:lnTo>
                  <a:pt x="1715" y="519"/>
                </a:lnTo>
                <a:lnTo>
                  <a:pt x="1719" y="521"/>
                </a:lnTo>
                <a:lnTo>
                  <a:pt x="1713" y="520"/>
                </a:lnTo>
                <a:lnTo>
                  <a:pt x="1720" y="523"/>
                </a:lnTo>
                <a:lnTo>
                  <a:pt x="1713" y="524"/>
                </a:lnTo>
                <a:lnTo>
                  <a:pt x="1705" y="523"/>
                </a:lnTo>
                <a:lnTo>
                  <a:pt x="1701" y="523"/>
                </a:lnTo>
                <a:lnTo>
                  <a:pt x="1707" y="524"/>
                </a:lnTo>
                <a:lnTo>
                  <a:pt x="1701" y="525"/>
                </a:lnTo>
                <a:lnTo>
                  <a:pt x="1699" y="523"/>
                </a:lnTo>
                <a:lnTo>
                  <a:pt x="1701" y="527"/>
                </a:lnTo>
                <a:lnTo>
                  <a:pt x="1710" y="527"/>
                </a:lnTo>
                <a:lnTo>
                  <a:pt x="1713" y="531"/>
                </a:lnTo>
                <a:lnTo>
                  <a:pt x="1705" y="531"/>
                </a:lnTo>
                <a:lnTo>
                  <a:pt x="1707" y="531"/>
                </a:lnTo>
                <a:lnTo>
                  <a:pt x="1707" y="535"/>
                </a:lnTo>
                <a:lnTo>
                  <a:pt x="1704" y="535"/>
                </a:lnTo>
                <a:lnTo>
                  <a:pt x="1699" y="536"/>
                </a:lnTo>
                <a:lnTo>
                  <a:pt x="1704" y="539"/>
                </a:lnTo>
                <a:lnTo>
                  <a:pt x="1701" y="539"/>
                </a:lnTo>
                <a:lnTo>
                  <a:pt x="1704" y="541"/>
                </a:lnTo>
                <a:lnTo>
                  <a:pt x="1701" y="543"/>
                </a:lnTo>
                <a:lnTo>
                  <a:pt x="1701" y="543"/>
                </a:lnTo>
                <a:lnTo>
                  <a:pt x="1699" y="543"/>
                </a:lnTo>
                <a:lnTo>
                  <a:pt x="1698" y="540"/>
                </a:lnTo>
                <a:lnTo>
                  <a:pt x="1695" y="535"/>
                </a:lnTo>
                <a:lnTo>
                  <a:pt x="1695" y="539"/>
                </a:lnTo>
                <a:lnTo>
                  <a:pt x="1695" y="541"/>
                </a:lnTo>
                <a:lnTo>
                  <a:pt x="1693" y="539"/>
                </a:lnTo>
                <a:lnTo>
                  <a:pt x="1687" y="539"/>
                </a:lnTo>
                <a:lnTo>
                  <a:pt x="1693" y="543"/>
                </a:lnTo>
                <a:lnTo>
                  <a:pt x="1689" y="543"/>
                </a:lnTo>
                <a:lnTo>
                  <a:pt x="1694" y="546"/>
                </a:lnTo>
                <a:lnTo>
                  <a:pt x="1687" y="543"/>
                </a:lnTo>
                <a:lnTo>
                  <a:pt x="1693" y="546"/>
                </a:lnTo>
                <a:lnTo>
                  <a:pt x="1691" y="550"/>
                </a:lnTo>
                <a:lnTo>
                  <a:pt x="1693" y="552"/>
                </a:lnTo>
                <a:lnTo>
                  <a:pt x="1689" y="557"/>
                </a:lnTo>
                <a:lnTo>
                  <a:pt x="1686" y="556"/>
                </a:lnTo>
                <a:lnTo>
                  <a:pt x="1687" y="554"/>
                </a:lnTo>
                <a:lnTo>
                  <a:pt x="1685" y="552"/>
                </a:lnTo>
                <a:lnTo>
                  <a:pt x="1681" y="554"/>
                </a:lnTo>
                <a:lnTo>
                  <a:pt x="1680" y="553"/>
                </a:lnTo>
                <a:lnTo>
                  <a:pt x="1681" y="551"/>
                </a:lnTo>
                <a:lnTo>
                  <a:pt x="1675" y="551"/>
                </a:lnTo>
                <a:lnTo>
                  <a:pt x="1675" y="553"/>
                </a:lnTo>
                <a:lnTo>
                  <a:pt x="1671" y="547"/>
                </a:lnTo>
                <a:lnTo>
                  <a:pt x="1674" y="547"/>
                </a:lnTo>
                <a:lnTo>
                  <a:pt x="1671" y="547"/>
                </a:lnTo>
                <a:lnTo>
                  <a:pt x="1676" y="544"/>
                </a:lnTo>
                <a:lnTo>
                  <a:pt x="1668" y="546"/>
                </a:lnTo>
                <a:lnTo>
                  <a:pt x="1667" y="545"/>
                </a:lnTo>
                <a:lnTo>
                  <a:pt x="1674" y="540"/>
                </a:lnTo>
                <a:lnTo>
                  <a:pt x="1668" y="543"/>
                </a:lnTo>
                <a:lnTo>
                  <a:pt x="1664" y="543"/>
                </a:lnTo>
                <a:lnTo>
                  <a:pt x="1672" y="539"/>
                </a:lnTo>
                <a:lnTo>
                  <a:pt x="1667" y="539"/>
                </a:lnTo>
                <a:lnTo>
                  <a:pt x="1660" y="535"/>
                </a:lnTo>
                <a:lnTo>
                  <a:pt x="1664" y="533"/>
                </a:lnTo>
                <a:lnTo>
                  <a:pt x="1674" y="531"/>
                </a:lnTo>
                <a:lnTo>
                  <a:pt x="1672" y="530"/>
                </a:lnTo>
                <a:lnTo>
                  <a:pt x="1674" y="525"/>
                </a:lnTo>
                <a:lnTo>
                  <a:pt x="1679" y="522"/>
                </a:lnTo>
                <a:lnTo>
                  <a:pt x="1674" y="523"/>
                </a:lnTo>
                <a:lnTo>
                  <a:pt x="1671" y="528"/>
                </a:lnTo>
                <a:lnTo>
                  <a:pt x="1655" y="531"/>
                </a:lnTo>
                <a:lnTo>
                  <a:pt x="1653" y="531"/>
                </a:lnTo>
                <a:lnTo>
                  <a:pt x="1659" y="527"/>
                </a:lnTo>
                <a:lnTo>
                  <a:pt x="1652" y="529"/>
                </a:lnTo>
                <a:lnTo>
                  <a:pt x="1651" y="527"/>
                </a:lnTo>
                <a:lnTo>
                  <a:pt x="1642" y="527"/>
                </a:lnTo>
                <a:lnTo>
                  <a:pt x="1642" y="523"/>
                </a:lnTo>
                <a:lnTo>
                  <a:pt x="1642" y="522"/>
                </a:lnTo>
                <a:lnTo>
                  <a:pt x="1641" y="522"/>
                </a:lnTo>
                <a:lnTo>
                  <a:pt x="1643" y="521"/>
                </a:lnTo>
                <a:lnTo>
                  <a:pt x="1641" y="521"/>
                </a:lnTo>
                <a:lnTo>
                  <a:pt x="1641" y="522"/>
                </a:lnTo>
                <a:lnTo>
                  <a:pt x="1640" y="520"/>
                </a:lnTo>
                <a:lnTo>
                  <a:pt x="1641" y="521"/>
                </a:lnTo>
                <a:lnTo>
                  <a:pt x="1641" y="517"/>
                </a:lnTo>
                <a:lnTo>
                  <a:pt x="1638" y="520"/>
                </a:lnTo>
                <a:lnTo>
                  <a:pt x="1634" y="519"/>
                </a:lnTo>
                <a:lnTo>
                  <a:pt x="1628" y="519"/>
                </a:lnTo>
                <a:lnTo>
                  <a:pt x="1633" y="520"/>
                </a:lnTo>
                <a:lnTo>
                  <a:pt x="1638" y="523"/>
                </a:lnTo>
                <a:lnTo>
                  <a:pt x="1634" y="523"/>
                </a:lnTo>
                <a:lnTo>
                  <a:pt x="1625" y="519"/>
                </a:lnTo>
                <a:lnTo>
                  <a:pt x="1629" y="525"/>
                </a:lnTo>
                <a:lnTo>
                  <a:pt x="1634" y="530"/>
                </a:lnTo>
                <a:lnTo>
                  <a:pt x="1634" y="531"/>
                </a:lnTo>
                <a:lnTo>
                  <a:pt x="1634" y="535"/>
                </a:lnTo>
                <a:lnTo>
                  <a:pt x="1626" y="535"/>
                </a:lnTo>
                <a:lnTo>
                  <a:pt x="1621" y="527"/>
                </a:lnTo>
                <a:lnTo>
                  <a:pt x="1612" y="527"/>
                </a:lnTo>
                <a:lnTo>
                  <a:pt x="1622" y="530"/>
                </a:lnTo>
                <a:lnTo>
                  <a:pt x="1622" y="531"/>
                </a:lnTo>
                <a:lnTo>
                  <a:pt x="1618" y="530"/>
                </a:lnTo>
                <a:lnTo>
                  <a:pt x="1618" y="535"/>
                </a:lnTo>
                <a:lnTo>
                  <a:pt x="1623" y="535"/>
                </a:lnTo>
                <a:lnTo>
                  <a:pt x="1621" y="539"/>
                </a:lnTo>
                <a:lnTo>
                  <a:pt x="1626" y="539"/>
                </a:lnTo>
                <a:lnTo>
                  <a:pt x="1625" y="541"/>
                </a:lnTo>
                <a:lnTo>
                  <a:pt x="1628" y="539"/>
                </a:lnTo>
                <a:lnTo>
                  <a:pt x="1634" y="539"/>
                </a:lnTo>
                <a:lnTo>
                  <a:pt x="1633" y="543"/>
                </a:lnTo>
                <a:lnTo>
                  <a:pt x="1637" y="545"/>
                </a:lnTo>
                <a:lnTo>
                  <a:pt x="1632" y="546"/>
                </a:lnTo>
                <a:lnTo>
                  <a:pt x="1640" y="549"/>
                </a:lnTo>
                <a:lnTo>
                  <a:pt x="1638" y="552"/>
                </a:lnTo>
                <a:lnTo>
                  <a:pt x="1638" y="554"/>
                </a:lnTo>
                <a:lnTo>
                  <a:pt x="1642" y="561"/>
                </a:lnTo>
                <a:lnTo>
                  <a:pt x="1642" y="554"/>
                </a:lnTo>
                <a:lnTo>
                  <a:pt x="1650" y="557"/>
                </a:lnTo>
                <a:lnTo>
                  <a:pt x="1650" y="562"/>
                </a:lnTo>
                <a:lnTo>
                  <a:pt x="1650" y="558"/>
                </a:lnTo>
                <a:lnTo>
                  <a:pt x="1650" y="563"/>
                </a:lnTo>
                <a:lnTo>
                  <a:pt x="1655" y="563"/>
                </a:lnTo>
                <a:lnTo>
                  <a:pt x="1653" y="558"/>
                </a:lnTo>
                <a:lnTo>
                  <a:pt x="1658" y="558"/>
                </a:lnTo>
                <a:lnTo>
                  <a:pt x="1658" y="561"/>
                </a:lnTo>
                <a:lnTo>
                  <a:pt x="1659" y="562"/>
                </a:lnTo>
                <a:lnTo>
                  <a:pt x="1659" y="568"/>
                </a:lnTo>
                <a:lnTo>
                  <a:pt x="1661" y="563"/>
                </a:lnTo>
                <a:lnTo>
                  <a:pt x="1663" y="563"/>
                </a:lnTo>
                <a:lnTo>
                  <a:pt x="1663" y="564"/>
                </a:lnTo>
                <a:lnTo>
                  <a:pt x="1661" y="566"/>
                </a:lnTo>
                <a:lnTo>
                  <a:pt x="1665" y="566"/>
                </a:lnTo>
                <a:lnTo>
                  <a:pt x="1667" y="570"/>
                </a:lnTo>
                <a:lnTo>
                  <a:pt x="1665" y="575"/>
                </a:lnTo>
                <a:lnTo>
                  <a:pt x="1661" y="575"/>
                </a:lnTo>
                <a:lnTo>
                  <a:pt x="1668" y="578"/>
                </a:lnTo>
                <a:lnTo>
                  <a:pt x="1665" y="579"/>
                </a:lnTo>
                <a:lnTo>
                  <a:pt x="1674" y="579"/>
                </a:lnTo>
                <a:lnTo>
                  <a:pt x="1668" y="584"/>
                </a:lnTo>
                <a:lnTo>
                  <a:pt x="1675" y="587"/>
                </a:lnTo>
                <a:lnTo>
                  <a:pt x="1675" y="589"/>
                </a:lnTo>
                <a:lnTo>
                  <a:pt x="1675" y="591"/>
                </a:lnTo>
                <a:lnTo>
                  <a:pt x="1675" y="591"/>
                </a:lnTo>
                <a:lnTo>
                  <a:pt x="1676" y="595"/>
                </a:lnTo>
                <a:lnTo>
                  <a:pt x="1675" y="596"/>
                </a:lnTo>
                <a:lnTo>
                  <a:pt x="1672" y="595"/>
                </a:lnTo>
                <a:lnTo>
                  <a:pt x="1671" y="587"/>
                </a:lnTo>
                <a:lnTo>
                  <a:pt x="1664" y="584"/>
                </a:lnTo>
                <a:lnTo>
                  <a:pt x="1668" y="587"/>
                </a:lnTo>
                <a:lnTo>
                  <a:pt x="1667" y="590"/>
                </a:lnTo>
                <a:lnTo>
                  <a:pt x="1671" y="596"/>
                </a:lnTo>
                <a:lnTo>
                  <a:pt x="1667" y="595"/>
                </a:lnTo>
                <a:lnTo>
                  <a:pt x="1668" y="598"/>
                </a:lnTo>
                <a:lnTo>
                  <a:pt x="1671" y="600"/>
                </a:lnTo>
                <a:lnTo>
                  <a:pt x="1671" y="604"/>
                </a:lnTo>
                <a:lnTo>
                  <a:pt x="1674" y="608"/>
                </a:lnTo>
                <a:lnTo>
                  <a:pt x="1671" y="608"/>
                </a:lnTo>
                <a:lnTo>
                  <a:pt x="1665" y="605"/>
                </a:lnTo>
                <a:lnTo>
                  <a:pt x="1670" y="610"/>
                </a:lnTo>
                <a:lnTo>
                  <a:pt x="1663" y="614"/>
                </a:lnTo>
                <a:lnTo>
                  <a:pt x="1663" y="610"/>
                </a:lnTo>
                <a:lnTo>
                  <a:pt x="1663" y="608"/>
                </a:lnTo>
                <a:lnTo>
                  <a:pt x="1660" y="608"/>
                </a:lnTo>
                <a:lnTo>
                  <a:pt x="1654" y="605"/>
                </a:lnTo>
                <a:lnTo>
                  <a:pt x="1654" y="603"/>
                </a:lnTo>
                <a:lnTo>
                  <a:pt x="1652" y="604"/>
                </a:lnTo>
                <a:lnTo>
                  <a:pt x="1648" y="600"/>
                </a:lnTo>
                <a:lnTo>
                  <a:pt x="1652" y="604"/>
                </a:lnTo>
                <a:lnTo>
                  <a:pt x="1647" y="603"/>
                </a:lnTo>
                <a:lnTo>
                  <a:pt x="1644" y="592"/>
                </a:lnTo>
                <a:lnTo>
                  <a:pt x="1640" y="595"/>
                </a:lnTo>
                <a:lnTo>
                  <a:pt x="1642" y="598"/>
                </a:lnTo>
                <a:lnTo>
                  <a:pt x="1642" y="604"/>
                </a:lnTo>
                <a:lnTo>
                  <a:pt x="1640" y="602"/>
                </a:lnTo>
                <a:lnTo>
                  <a:pt x="1640" y="599"/>
                </a:lnTo>
                <a:lnTo>
                  <a:pt x="1638" y="599"/>
                </a:lnTo>
                <a:lnTo>
                  <a:pt x="1638" y="598"/>
                </a:lnTo>
                <a:lnTo>
                  <a:pt x="1638" y="596"/>
                </a:lnTo>
                <a:lnTo>
                  <a:pt x="1638" y="595"/>
                </a:lnTo>
                <a:lnTo>
                  <a:pt x="1636" y="596"/>
                </a:lnTo>
                <a:lnTo>
                  <a:pt x="1626" y="585"/>
                </a:lnTo>
                <a:lnTo>
                  <a:pt x="1630" y="593"/>
                </a:lnTo>
                <a:lnTo>
                  <a:pt x="1616" y="587"/>
                </a:lnTo>
                <a:lnTo>
                  <a:pt x="1611" y="587"/>
                </a:lnTo>
                <a:lnTo>
                  <a:pt x="1621" y="599"/>
                </a:lnTo>
                <a:lnTo>
                  <a:pt x="1629" y="600"/>
                </a:lnTo>
                <a:lnTo>
                  <a:pt x="1626" y="603"/>
                </a:lnTo>
                <a:lnTo>
                  <a:pt x="1626" y="604"/>
                </a:lnTo>
                <a:lnTo>
                  <a:pt x="1630" y="603"/>
                </a:lnTo>
                <a:lnTo>
                  <a:pt x="1630" y="605"/>
                </a:lnTo>
                <a:lnTo>
                  <a:pt x="1633" y="604"/>
                </a:lnTo>
                <a:lnTo>
                  <a:pt x="1640" y="612"/>
                </a:lnTo>
                <a:lnTo>
                  <a:pt x="1638" y="612"/>
                </a:lnTo>
                <a:lnTo>
                  <a:pt x="1638" y="612"/>
                </a:lnTo>
                <a:lnTo>
                  <a:pt x="1646" y="615"/>
                </a:lnTo>
                <a:lnTo>
                  <a:pt x="1646" y="616"/>
                </a:lnTo>
                <a:lnTo>
                  <a:pt x="1645" y="619"/>
                </a:lnTo>
                <a:lnTo>
                  <a:pt x="1646" y="620"/>
                </a:lnTo>
                <a:lnTo>
                  <a:pt x="1646" y="620"/>
                </a:lnTo>
                <a:lnTo>
                  <a:pt x="1650" y="620"/>
                </a:lnTo>
                <a:lnTo>
                  <a:pt x="1650" y="620"/>
                </a:lnTo>
                <a:lnTo>
                  <a:pt x="1654" y="622"/>
                </a:lnTo>
                <a:lnTo>
                  <a:pt x="1652" y="624"/>
                </a:lnTo>
                <a:lnTo>
                  <a:pt x="1653" y="628"/>
                </a:lnTo>
                <a:lnTo>
                  <a:pt x="1647" y="628"/>
                </a:lnTo>
                <a:lnTo>
                  <a:pt x="1641" y="626"/>
                </a:lnTo>
                <a:lnTo>
                  <a:pt x="1608" y="617"/>
                </a:lnTo>
                <a:lnTo>
                  <a:pt x="1601" y="612"/>
                </a:lnTo>
                <a:lnTo>
                  <a:pt x="1602" y="612"/>
                </a:lnTo>
                <a:lnTo>
                  <a:pt x="1593" y="612"/>
                </a:lnTo>
                <a:lnTo>
                  <a:pt x="1591" y="611"/>
                </a:lnTo>
                <a:lnTo>
                  <a:pt x="1586" y="608"/>
                </a:lnTo>
                <a:lnTo>
                  <a:pt x="1579" y="605"/>
                </a:lnTo>
                <a:lnTo>
                  <a:pt x="1582" y="600"/>
                </a:lnTo>
                <a:lnTo>
                  <a:pt x="1582" y="598"/>
                </a:lnTo>
                <a:lnTo>
                  <a:pt x="1578" y="603"/>
                </a:lnTo>
                <a:lnTo>
                  <a:pt x="1572" y="599"/>
                </a:lnTo>
                <a:lnTo>
                  <a:pt x="1570" y="595"/>
                </a:lnTo>
                <a:lnTo>
                  <a:pt x="1572" y="595"/>
                </a:lnTo>
                <a:lnTo>
                  <a:pt x="1578" y="591"/>
                </a:lnTo>
                <a:lnTo>
                  <a:pt x="1570" y="591"/>
                </a:lnTo>
                <a:lnTo>
                  <a:pt x="1570" y="585"/>
                </a:lnTo>
                <a:lnTo>
                  <a:pt x="1566" y="585"/>
                </a:lnTo>
                <a:lnTo>
                  <a:pt x="1566" y="587"/>
                </a:lnTo>
                <a:lnTo>
                  <a:pt x="1569" y="587"/>
                </a:lnTo>
                <a:lnTo>
                  <a:pt x="1567" y="589"/>
                </a:lnTo>
                <a:lnTo>
                  <a:pt x="1563" y="585"/>
                </a:lnTo>
                <a:lnTo>
                  <a:pt x="1561" y="586"/>
                </a:lnTo>
                <a:lnTo>
                  <a:pt x="1561" y="587"/>
                </a:lnTo>
                <a:lnTo>
                  <a:pt x="1560" y="587"/>
                </a:lnTo>
                <a:lnTo>
                  <a:pt x="1559" y="587"/>
                </a:lnTo>
                <a:lnTo>
                  <a:pt x="1558" y="587"/>
                </a:lnTo>
                <a:lnTo>
                  <a:pt x="1558" y="585"/>
                </a:lnTo>
                <a:lnTo>
                  <a:pt x="1559" y="584"/>
                </a:lnTo>
                <a:lnTo>
                  <a:pt x="1558" y="582"/>
                </a:lnTo>
                <a:lnTo>
                  <a:pt x="1558" y="579"/>
                </a:lnTo>
                <a:lnTo>
                  <a:pt x="1554" y="577"/>
                </a:lnTo>
                <a:lnTo>
                  <a:pt x="1554" y="579"/>
                </a:lnTo>
                <a:lnTo>
                  <a:pt x="1553" y="578"/>
                </a:lnTo>
                <a:lnTo>
                  <a:pt x="1548" y="575"/>
                </a:lnTo>
                <a:lnTo>
                  <a:pt x="1546" y="575"/>
                </a:lnTo>
                <a:lnTo>
                  <a:pt x="1546" y="568"/>
                </a:lnTo>
                <a:lnTo>
                  <a:pt x="1547" y="566"/>
                </a:lnTo>
                <a:lnTo>
                  <a:pt x="1546" y="562"/>
                </a:lnTo>
                <a:lnTo>
                  <a:pt x="1546" y="566"/>
                </a:lnTo>
                <a:lnTo>
                  <a:pt x="1545" y="567"/>
                </a:lnTo>
                <a:lnTo>
                  <a:pt x="1545" y="567"/>
                </a:lnTo>
                <a:lnTo>
                  <a:pt x="1545" y="567"/>
                </a:lnTo>
                <a:lnTo>
                  <a:pt x="1545" y="566"/>
                </a:lnTo>
                <a:lnTo>
                  <a:pt x="1543" y="567"/>
                </a:lnTo>
                <a:lnTo>
                  <a:pt x="1544" y="567"/>
                </a:lnTo>
                <a:lnTo>
                  <a:pt x="1542" y="567"/>
                </a:lnTo>
                <a:lnTo>
                  <a:pt x="1542" y="567"/>
                </a:lnTo>
                <a:lnTo>
                  <a:pt x="1542" y="567"/>
                </a:lnTo>
                <a:lnTo>
                  <a:pt x="1540" y="567"/>
                </a:lnTo>
                <a:lnTo>
                  <a:pt x="1541" y="568"/>
                </a:lnTo>
                <a:lnTo>
                  <a:pt x="1538" y="571"/>
                </a:lnTo>
                <a:lnTo>
                  <a:pt x="1536" y="567"/>
                </a:lnTo>
                <a:lnTo>
                  <a:pt x="1535" y="567"/>
                </a:lnTo>
                <a:lnTo>
                  <a:pt x="1534" y="566"/>
                </a:lnTo>
                <a:lnTo>
                  <a:pt x="1534" y="561"/>
                </a:lnTo>
                <a:lnTo>
                  <a:pt x="1532" y="565"/>
                </a:lnTo>
                <a:lnTo>
                  <a:pt x="1527" y="561"/>
                </a:lnTo>
                <a:lnTo>
                  <a:pt x="1530" y="558"/>
                </a:lnTo>
                <a:lnTo>
                  <a:pt x="1526" y="557"/>
                </a:lnTo>
                <a:lnTo>
                  <a:pt x="1526" y="561"/>
                </a:lnTo>
                <a:lnTo>
                  <a:pt x="1522" y="558"/>
                </a:lnTo>
                <a:lnTo>
                  <a:pt x="1531" y="566"/>
                </a:lnTo>
                <a:lnTo>
                  <a:pt x="1526" y="570"/>
                </a:lnTo>
                <a:lnTo>
                  <a:pt x="1510" y="564"/>
                </a:lnTo>
                <a:lnTo>
                  <a:pt x="1510" y="566"/>
                </a:lnTo>
                <a:lnTo>
                  <a:pt x="1514" y="571"/>
                </a:lnTo>
                <a:lnTo>
                  <a:pt x="1510" y="571"/>
                </a:lnTo>
                <a:lnTo>
                  <a:pt x="1514" y="572"/>
                </a:lnTo>
                <a:lnTo>
                  <a:pt x="1497" y="572"/>
                </a:lnTo>
                <a:lnTo>
                  <a:pt x="1500" y="573"/>
                </a:lnTo>
                <a:lnTo>
                  <a:pt x="1493" y="572"/>
                </a:lnTo>
                <a:lnTo>
                  <a:pt x="1489" y="573"/>
                </a:lnTo>
                <a:lnTo>
                  <a:pt x="1485" y="568"/>
                </a:lnTo>
                <a:lnTo>
                  <a:pt x="1481" y="570"/>
                </a:lnTo>
                <a:lnTo>
                  <a:pt x="1474" y="566"/>
                </a:lnTo>
                <a:lnTo>
                  <a:pt x="1474" y="561"/>
                </a:lnTo>
                <a:lnTo>
                  <a:pt x="1478" y="558"/>
                </a:lnTo>
                <a:lnTo>
                  <a:pt x="1478" y="556"/>
                </a:lnTo>
                <a:lnTo>
                  <a:pt x="1489" y="550"/>
                </a:lnTo>
                <a:lnTo>
                  <a:pt x="1486" y="546"/>
                </a:lnTo>
                <a:lnTo>
                  <a:pt x="1489" y="546"/>
                </a:lnTo>
                <a:lnTo>
                  <a:pt x="1488" y="545"/>
                </a:lnTo>
                <a:lnTo>
                  <a:pt x="1511" y="549"/>
                </a:lnTo>
                <a:lnTo>
                  <a:pt x="1514" y="554"/>
                </a:lnTo>
                <a:lnTo>
                  <a:pt x="1514" y="559"/>
                </a:lnTo>
                <a:lnTo>
                  <a:pt x="1514" y="559"/>
                </a:lnTo>
                <a:lnTo>
                  <a:pt x="1519" y="564"/>
                </a:lnTo>
                <a:lnTo>
                  <a:pt x="1520" y="562"/>
                </a:lnTo>
                <a:lnTo>
                  <a:pt x="1519" y="559"/>
                </a:lnTo>
                <a:lnTo>
                  <a:pt x="1515" y="559"/>
                </a:lnTo>
                <a:lnTo>
                  <a:pt x="1518" y="556"/>
                </a:lnTo>
                <a:lnTo>
                  <a:pt x="1518" y="552"/>
                </a:lnTo>
                <a:lnTo>
                  <a:pt x="1517" y="554"/>
                </a:lnTo>
                <a:lnTo>
                  <a:pt x="1509" y="546"/>
                </a:lnTo>
                <a:lnTo>
                  <a:pt x="1518" y="549"/>
                </a:lnTo>
                <a:lnTo>
                  <a:pt x="1518" y="546"/>
                </a:lnTo>
                <a:lnTo>
                  <a:pt x="1518" y="546"/>
                </a:lnTo>
                <a:lnTo>
                  <a:pt x="1529" y="547"/>
                </a:lnTo>
                <a:lnTo>
                  <a:pt x="1536" y="543"/>
                </a:lnTo>
                <a:lnTo>
                  <a:pt x="1545" y="543"/>
                </a:lnTo>
                <a:lnTo>
                  <a:pt x="1542" y="535"/>
                </a:lnTo>
                <a:lnTo>
                  <a:pt x="1538" y="533"/>
                </a:lnTo>
                <a:lnTo>
                  <a:pt x="1531" y="527"/>
                </a:lnTo>
                <a:lnTo>
                  <a:pt x="1545" y="516"/>
                </a:lnTo>
                <a:lnTo>
                  <a:pt x="1549" y="513"/>
                </a:lnTo>
                <a:lnTo>
                  <a:pt x="1555" y="505"/>
                </a:lnTo>
                <a:lnTo>
                  <a:pt x="1560" y="504"/>
                </a:lnTo>
                <a:lnTo>
                  <a:pt x="1562" y="500"/>
                </a:lnTo>
                <a:lnTo>
                  <a:pt x="1559" y="490"/>
                </a:lnTo>
                <a:lnTo>
                  <a:pt x="1555" y="488"/>
                </a:lnTo>
                <a:lnTo>
                  <a:pt x="1557" y="486"/>
                </a:lnTo>
                <a:lnTo>
                  <a:pt x="1550" y="482"/>
                </a:lnTo>
                <a:lnTo>
                  <a:pt x="1550" y="481"/>
                </a:lnTo>
                <a:lnTo>
                  <a:pt x="1551" y="476"/>
                </a:lnTo>
                <a:lnTo>
                  <a:pt x="1545" y="474"/>
                </a:lnTo>
                <a:lnTo>
                  <a:pt x="1548" y="471"/>
                </a:lnTo>
                <a:lnTo>
                  <a:pt x="1544" y="475"/>
                </a:lnTo>
                <a:lnTo>
                  <a:pt x="1541" y="475"/>
                </a:lnTo>
                <a:lnTo>
                  <a:pt x="1539" y="471"/>
                </a:lnTo>
                <a:lnTo>
                  <a:pt x="1538" y="471"/>
                </a:lnTo>
                <a:lnTo>
                  <a:pt x="1538" y="467"/>
                </a:lnTo>
                <a:lnTo>
                  <a:pt x="1538" y="468"/>
                </a:lnTo>
                <a:lnTo>
                  <a:pt x="1533" y="466"/>
                </a:lnTo>
                <a:lnTo>
                  <a:pt x="1527" y="462"/>
                </a:lnTo>
                <a:lnTo>
                  <a:pt x="1529" y="459"/>
                </a:lnTo>
                <a:lnTo>
                  <a:pt x="1527" y="459"/>
                </a:lnTo>
                <a:lnTo>
                  <a:pt x="1525" y="459"/>
                </a:lnTo>
                <a:lnTo>
                  <a:pt x="1522" y="459"/>
                </a:lnTo>
                <a:lnTo>
                  <a:pt x="1527" y="456"/>
                </a:lnTo>
                <a:lnTo>
                  <a:pt x="1526" y="453"/>
                </a:lnTo>
                <a:lnTo>
                  <a:pt x="1522" y="454"/>
                </a:lnTo>
                <a:lnTo>
                  <a:pt x="1521" y="458"/>
                </a:lnTo>
                <a:lnTo>
                  <a:pt x="1515" y="454"/>
                </a:lnTo>
                <a:lnTo>
                  <a:pt x="1514" y="458"/>
                </a:lnTo>
                <a:lnTo>
                  <a:pt x="1498" y="463"/>
                </a:lnTo>
                <a:lnTo>
                  <a:pt x="1498" y="462"/>
                </a:lnTo>
                <a:lnTo>
                  <a:pt x="1499" y="458"/>
                </a:lnTo>
                <a:lnTo>
                  <a:pt x="1498" y="456"/>
                </a:lnTo>
                <a:lnTo>
                  <a:pt x="1498" y="455"/>
                </a:lnTo>
                <a:lnTo>
                  <a:pt x="1508" y="455"/>
                </a:lnTo>
                <a:lnTo>
                  <a:pt x="1514" y="453"/>
                </a:lnTo>
                <a:lnTo>
                  <a:pt x="1514" y="450"/>
                </a:lnTo>
                <a:lnTo>
                  <a:pt x="1499" y="441"/>
                </a:lnTo>
                <a:lnTo>
                  <a:pt x="1503" y="440"/>
                </a:lnTo>
                <a:lnTo>
                  <a:pt x="1505" y="439"/>
                </a:lnTo>
                <a:lnTo>
                  <a:pt x="1500" y="439"/>
                </a:lnTo>
                <a:lnTo>
                  <a:pt x="1501" y="441"/>
                </a:lnTo>
                <a:lnTo>
                  <a:pt x="1500" y="440"/>
                </a:lnTo>
                <a:lnTo>
                  <a:pt x="1492" y="439"/>
                </a:lnTo>
                <a:lnTo>
                  <a:pt x="1497" y="437"/>
                </a:lnTo>
                <a:lnTo>
                  <a:pt x="1496" y="435"/>
                </a:lnTo>
                <a:lnTo>
                  <a:pt x="1489" y="435"/>
                </a:lnTo>
                <a:lnTo>
                  <a:pt x="1492" y="431"/>
                </a:lnTo>
                <a:lnTo>
                  <a:pt x="1482" y="435"/>
                </a:lnTo>
                <a:lnTo>
                  <a:pt x="1482" y="424"/>
                </a:lnTo>
                <a:lnTo>
                  <a:pt x="1478" y="422"/>
                </a:lnTo>
                <a:lnTo>
                  <a:pt x="1470" y="424"/>
                </a:lnTo>
                <a:lnTo>
                  <a:pt x="1470" y="420"/>
                </a:lnTo>
                <a:lnTo>
                  <a:pt x="1470" y="419"/>
                </a:lnTo>
                <a:lnTo>
                  <a:pt x="1470" y="420"/>
                </a:lnTo>
                <a:lnTo>
                  <a:pt x="1468" y="417"/>
                </a:lnTo>
                <a:lnTo>
                  <a:pt x="1463" y="416"/>
                </a:lnTo>
                <a:lnTo>
                  <a:pt x="1463" y="419"/>
                </a:lnTo>
                <a:lnTo>
                  <a:pt x="1460" y="416"/>
                </a:lnTo>
                <a:lnTo>
                  <a:pt x="1456" y="419"/>
                </a:lnTo>
                <a:lnTo>
                  <a:pt x="1467" y="421"/>
                </a:lnTo>
                <a:lnTo>
                  <a:pt x="1470" y="430"/>
                </a:lnTo>
                <a:lnTo>
                  <a:pt x="1469" y="435"/>
                </a:lnTo>
                <a:lnTo>
                  <a:pt x="1460" y="435"/>
                </a:lnTo>
                <a:lnTo>
                  <a:pt x="1459" y="433"/>
                </a:lnTo>
                <a:lnTo>
                  <a:pt x="1456" y="435"/>
                </a:lnTo>
                <a:lnTo>
                  <a:pt x="1449" y="430"/>
                </a:lnTo>
                <a:lnTo>
                  <a:pt x="1426" y="425"/>
                </a:lnTo>
                <a:lnTo>
                  <a:pt x="1434" y="429"/>
                </a:lnTo>
                <a:lnTo>
                  <a:pt x="1441" y="435"/>
                </a:lnTo>
                <a:lnTo>
                  <a:pt x="1437" y="436"/>
                </a:lnTo>
                <a:lnTo>
                  <a:pt x="1422" y="425"/>
                </a:lnTo>
                <a:lnTo>
                  <a:pt x="1407" y="420"/>
                </a:lnTo>
                <a:lnTo>
                  <a:pt x="1426" y="430"/>
                </a:lnTo>
                <a:lnTo>
                  <a:pt x="1420" y="435"/>
                </a:lnTo>
                <a:lnTo>
                  <a:pt x="1414" y="431"/>
                </a:lnTo>
                <a:lnTo>
                  <a:pt x="1414" y="431"/>
                </a:lnTo>
                <a:lnTo>
                  <a:pt x="1414" y="431"/>
                </a:lnTo>
                <a:lnTo>
                  <a:pt x="1407" y="428"/>
                </a:lnTo>
                <a:lnTo>
                  <a:pt x="1396" y="431"/>
                </a:lnTo>
                <a:lnTo>
                  <a:pt x="1373" y="425"/>
                </a:lnTo>
                <a:lnTo>
                  <a:pt x="1365" y="429"/>
                </a:lnTo>
                <a:lnTo>
                  <a:pt x="1374" y="431"/>
                </a:lnTo>
                <a:lnTo>
                  <a:pt x="1366" y="431"/>
                </a:lnTo>
                <a:lnTo>
                  <a:pt x="1354" y="423"/>
                </a:lnTo>
                <a:lnTo>
                  <a:pt x="1354" y="423"/>
                </a:lnTo>
                <a:lnTo>
                  <a:pt x="1350" y="423"/>
                </a:lnTo>
                <a:lnTo>
                  <a:pt x="1348" y="418"/>
                </a:lnTo>
                <a:lnTo>
                  <a:pt x="1346" y="419"/>
                </a:lnTo>
                <a:lnTo>
                  <a:pt x="1345" y="419"/>
                </a:lnTo>
                <a:lnTo>
                  <a:pt x="1345" y="423"/>
                </a:lnTo>
                <a:lnTo>
                  <a:pt x="1341" y="423"/>
                </a:lnTo>
                <a:lnTo>
                  <a:pt x="1337" y="425"/>
                </a:lnTo>
                <a:lnTo>
                  <a:pt x="1332" y="423"/>
                </a:lnTo>
                <a:lnTo>
                  <a:pt x="1336" y="423"/>
                </a:lnTo>
                <a:lnTo>
                  <a:pt x="1333" y="421"/>
                </a:lnTo>
                <a:lnTo>
                  <a:pt x="1324" y="416"/>
                </a:lnTo>
                <a:lnTo>
                  <a:pt x="1314" y="405"/>
                </a:lnTo>
                <a:lnTo>
                  <a:pt x="1317" y="402"/>
                </a:lnTo>
                <a:lnTo>
                  <a:pt x="1313" y="399"/>
                </a:lnTo>
                <a:lnTo>
                  <a:pt x="1335" y="405"/>
                </a:lnTo>
                <a:lnTo>
                  <a:pt x="1348" y="403"/>
                </a:lnTo>
                <a:lnTo>
                  <a:pt x="1340" y="399"/>
                </a:lnTo>
                <a:lnTo>
                  <a:pt x="1333" y="399"/>
                </a:lnTo>
                <a:lnTo>
                  <a:pt x="1333" y="394"/>
                </a:lnTo>
                <a:lnTo>
                  <a:pt x="1325" y="396"/>
                </a:lnTo>
                <a:lnTo>
                  <a:pt x="1307" y="393"/>
                </a:lnTo>
                <a:lnTo>
                  <a:pt x="1306" y="386"/>
                </a:lnTo>
                <a:lnTo>
                  <a:pt x="1309" y="382"/>
                </a:lnTo>
                <a:lnTo>
                  <a:pt x="1304" y="376"/>
                </a:lnTo>
                <a:lnTo>
                  <a:pt x="1306" y="374"/>
                </a:lnTo>
                <a:lnTo>
                  <a:pt x="1313" y="371"/>
                </a:lnTo>
                <a:lnTo>
                  <a:pt x="1307" y="371"/>
                </a:lnTo>
                <a:lnTo>
                  <a:pt x="1306" y="366"/>
                </a:lnTo>
                <a:lnTo>
                  <a:pt x="1309" y="358"/>
                </a:lnTo>
                <a:lnTo>
                  <a:pt x="1313" y="359"/>
                </a:lnTo>
                <a:lnTo>
                  <a:pt x="1313" y="352"/>
                </a:lnTo>
                <a:lnTo>
                  <a:pt x="1313" y="351"/>
                </a:lnTo>
                <a:lnTo>
                  <a:pt x="1313" y="347"/>
                </a:lnTo>
                <a:lnTo>
                  <a:pt x="1316" y="341"/>
                </a:lnTo>
                <a:lnTo>
                  <a:pt x="1324" y="332"/>
                </a:lnTo>
                <a:lnTo>
                  <a:pt x="1341" y="325"/>
                </a:lnTo>
                <a:lnTo>
                  <a:pt x="1360" y="321"/>
                </a:lnTo>
                <a:lnTo>
                  <a:pt x="1381" y="325"/>
                </a:lnTo>
                <a:lnTo>
                  <a:pt x="1365" y="336"/>
                </a:lnTo>
                <a:lnTo>
                  <a:pt x="1353" y="349"/>
                </a:lnTo>
                <a:lnTo>
                  <a:pt x="1351" y="354"/>
                </a:lnTo>
                <a:lnTo>
                  <a:pt x="1358" y="364"/>
                </a:lnTo>
                <a:lnTo>
                  <a:pt x="1353" y="367"/>
                </a:lnTo>
                <a:lnTo>
                  <a:pt x="1353" y="375"/>
                </a:lnTo>
                <a:lnTo>
                  <a:pt x="1368" y="388"/>
                </a:lnTo>
                <a:lnTo>
                  <a:pt x="1379" y="390"/>
                </a:lnTo>
                <a:lnTo>
                  <a:pt x="1384" y="390"/>
                </a:lnTo>
                <a:lnTo>
                  <a:pt x="1382" y="386"/>
                </a:lnTo>
                <a:lnTo>
                  <a:pt x="1384" y="383"/>
                </a:lnTo>
                <a:lnTo>
                  <a:pt x="1374" y="383"/>
                </a:lnTo>
                <a:lnTo>
                  <a:pt x="1369" y="382"/>
                </a:lnTo>
                <a:lnTo>
                  <a:pt x="1370" y="379"/>
                </a:lnTo>
                <a:lnTo>
                  <a:pt x="1369" y="376"/>
                </a:lnTo>
                <a:lnTo>
                  <a:pt x="1362" y="375"/>
                </a:lnTo>
                <a:lnTo>
                  <a:pt x="1369" y="373"/>
                </a:lnTo>
                <a:lnTo>
                  <a:pt x="1369" y="371"/>
                </a:lnTo>
                <a:lnTo>
                  <a:pt x="1369" y="367"/>
                </a:lnTo>
                <a:lnTo>
                  <a:pt x="1379" y="368"/>
                </a:lnTo>
                <a:lnTo>
                  <a:pt x="1389" y="376"/>
                </a:lnTo>
                <a:lnTo>
                  <a:pt x="1389" y="375"/>
                </a:lnTo>
                <a:lnTo>
                  <a:pt x="1379" y="367"/>
                </a:lnTo>
                <a:lnTo>
                  <a:pt x="1385" y="364"/>
                </a:lnTo>
                <a:lnTo>
                  <a:pt x="1380" y="365"/>
                </a:lnTo>
                <a:lnTo>
                  <a:pt x="1381" y="361"/>
                </a:lnTo>
                <a:lnTo>
                  <a:pt x="1376" y="365"/>
                </a:lnTo>
                <a:lnTo>
                  <a:pt x="1369" y="361"/>
                </a:lnTo>
                <a:lnTo>
                  <a:pt x="1369" y="360"/>
                </a:lnTo>
                <a:lnTo>
                  <a:pt x="1368" y="359"/>
                </a:lnTo>
                <a:lnTo>
                  <a:pt x="1365" y="355"/>
                </a:lnTo>
                <a:lnTo>
                  <a:pt x="1365" y="349"/>
                </a:lnTo>
                <a:lnTo>
                  <a:pt x="1372" y="347"/>
                </a:lnTo>
                <a:lnTo>
                  <a:pt x="1393" y="352"/>
                </a:lnTo>
                <a:lnTo>
                  <a:pt x="1369" y="344"/>
                </a:lnTo>
                <a:lnTo>
                  <a:pt x="1373" y="341"/>
                </a:lnTo>
                <a:lnTo>
                  <a:pt x="1374" y="342"/>
                </a:lnTo>
                <a:lnTo>
                  <a:pt x="1376" y="341"/>
                </a:lnTo>
                <a:lnTo>
                  <a:pt x="1399" y="347"/>
                </a:lnTo>
                <a:lnTo>
                  <a:pt x="1376" y="339"/>
                </a:lnTo>
                <a:lnTo>
                  <a:pt x="1381" y="335"/>
                </a:lnTo>
                <a:lnTo>
                  <a:pt x="1387" y="339"/>
                </a:lnTo>
                <a:lnTo>
                  <a:pt x="1381" y="335"/>
                </a:lnTo>
                <a:lnTo>
                  <a:pt x="1390" y="331"/>
                </a:lnTo>
                <a:lnTo>
                  <a:pt x="1392" y="332"/>
                </a:lnTo>
                <a:lnTo>
                  <a:pt x="1410" y="326"/>
                </a:lnTo>
                <a:lnTo>
                  <a:pt x="1429" y="326"/>
                </a:lnTo>
                <a:lnTo>
                  <a:pt x="1430" y="331"/>
                </a:lnTo>
                <a:lnTo>
                  <a:pt x="1430" y="337"/>
                </a:lnTo>
                <a:lnTo>
                  <a:pt x="1441" y="343"/>
                </a:lnTo>
                <a:lnTo>
                  <a:pt x="1441" y="348"/>
                </a:lnTo>
                <a:lnTo>
                  <a:pt x="1447" y="352"/>
                </a:lnTo>
                <a:lnTo>
                  <a:pt x="1429" y="368"/>
                </a:lnTo>
                <a:lnTo>
                  <a:pt x="1442" y="360"/>
                </a:lnTo>
                <a:lnTo>
                  <a:pt x="1442" y="364"/>
                </a:lnTo>
                <a:lnTo>
                  <a:pt x="1436" y="371"/>
                </a:lnTo>
                <a:lnTo>
                  <a:pt x="1443" y="375"/>
                </a:lnTo>
                <a:lnTo>
                  <a:pt x="1445" y="373"/>
                </a:lnTo>
                <a:lnTo>
                  <a:pt x="1443" y="370"/>
                </a:lnTo>
                <a:lnTo>
                  <a:pt x="1448" y="368"/>
                </a:lnTo>
                <a:lnTo>
                  <a:pt x="1447" y="367"/>
                </a:lnTo>
                <a:lnTo>
                  <a:pt x="1456" y="371"/>
                </a:lnTo>
                <a:lnTo>
                  <a:pt x="1448" y="365"/>
                </a:lnTo>
                <a:lnTo>
                  <a:pt x="1451" y="363"/>
                </a:lnTo>
                <a:lnTo>
                  <a:pt x="1450" y="362"/>
                </a:lnTo>
                <a:lnTo>
                  <a:pt x="1454" y="360"/>
                </a:lnTo>
                <a:lnTo>
                  <a:pt x="1456" y="365"/>
                </a:lnTo>
                <a:lnTo>
                  <a:pt x="1455" y="368"/>
                </a:lnTo>
                <a:lnTo>
                  <a:pt x="1459" y="366"/>
                </a:lnTo>
                <a:lnTo>
                  <a:pt x="1456" y="363"/>
                </a:lnTo>
                <a:lnTo>
                  <a:pt x="1459" y="363"/>
                </a:lnTo>
                <a:lnTo>
                  <a:pt x="1460" y="366"/>
                </a:lnTo>
                <a:lnTo>
                  <a:pt x="1460" y="364"/>
                </a:lnTo>
                <a:lnTo>
                  <a:pt x="1466" y="367"/>
                </a:lnTo>
                <a:lnTo>
                  <a:pt x="1466" y="370"/>
                </a:lnTo>
                <a:lnTo>
                  <a:pt x="1462" y="375"/>
                </a:lnTo>
                <a:lnTo>
                  <a:pt x="1471" y="378"/>
                </a:lnTo>
                <a:lnTo>
                  <a:pt x="1466" y="375"/>
                </a:lnTo>
                <a:lnTo>
                  <a:pt x="1466" y="370"/>
                </a:lnTo>
                <a:lnTo>
                  <a:pt x="1473" y="371"/>
                </a:lnTo>
                <a:lnTo>
                  <a:pt x="1470" y="370"/>
                </a:lnTo>
                <a:lnTo>
                  <a:pt x="1470" y="365"/>
                </a:lnTo>
                <a:lnTo>
                  <a:pt x="1492" y="372"/>
                </a:lnTo>
                <a:lnTo>
                  <a:pt x="1472" y="361"/>
                </a:lnTo>
                <a:lnTo>
                  <a:pt x="1474" y="360"/>
                </a:lnTo>
                <a:lnTo>
                  <a:pt x="1485" y="354"/>
                </a:lnTo>
                <a:lnTo>
                  <a:pt x="1497" y="354"/>
                </a:lnTo>
                <a:lnTo>
                  <a:pt x="1499" y="357"/>
                </a:lnTo>
                <a:lnTo>
                  <a:pt x="1506" y="359"/>
                </a:lnTo>
                <a:lnTo>
                  <a:pt x="1506" y="361"/>
                </a:lnTo>
                <a:lnTo>
                  <a:pt x="1509" y="359"/>
                </a:lnTo>
                <a:lnTo>
                  <a:pt x="1520" y="361"/>
                </a:lnTo>
                <a:lnTo>
                  <a:pt x="1525" y="369"/>
                </a:lnTo>
                <a:lnTo>
                  <a:pt x="1523" y="372"/>
                </a:lnTo>
                <a:lnTo>
                  <a:pt x="1534" y="373"/>
                </a:lnTo>
                <a:lnTo>
                  <a:pt x="1536" y="375"/>
                </a:lnTo>
                <a:lnTo>
                  <a:pt x="1534" y="379"/>
                </a:lnTo>
                <a:lnTo>
                  <a:pt x="1519" y="383"/>
                </a:lnTo>
                <a:lnTo>
                  <a:pt x="1525" y="385"/>
                </a:lnTo>
                <a:lnTo>
                  <a:pt x="1516" y="388"/>
                </a:lnTo>
                <a:lnTo>
                  <a:pt x="1528" y="385"/>
                </a:lnTo>
                <a:lnTo>
                  <a:pt x="1529" y="385"/>
                </a:lnTo>
                <a:lnTo>
                  <a:pt x="1536" y="382"/>
                </a:lnTo>
                <a:lnTo>
                  <a:pt x="1534" y="385"/>
                </a:lnTo>
                <a:lnTo>
                  <a:pt x="1536" y="388"/>
                </a:lnTo>
                <a:lnTo>
                  <a:pt x="1538" y="383"/>
                </a:lnTo>
                <a:lnTo>
                  <a:pt x="1542" y="383"/>
                </a:lnTo>
                <a:lnTo>
                  <a:pt x="1544" y="383"/>
                </a:lnTo>
                <a:lnTo>
                  <a:pt x="1538" y="388"/>
                </a:lnTo>
                <a:lnTo>
                  <a:pt x="1533" y="390"/>
                </a:lnTo>
                <a:lnTo>
                  <a:pt x="1538" y="389"/>
                </a:lnTo>
                <a:lnTo>
                  <a:pt x="1536" y="394"/>
                </a:lnTo>
                <a:lnTo>
                  <a:pt x="1534" y="396"/>
                </a:lnTo>
                <a:lnTo>
                  <a:pt x="1537" y="394"/>
                </a:lnTo>
                <a:lnTo>
                  <a:pt x="1539" y="388"/>
                </a:lnTo>
                <a:lnTo>
                  <a:pt x="1542" y="386"/>
                </a:lnTo>
                <a:lnTo>
                  <a:pt x="1542" y="393"/>
                </a:lnTo>
                <a:lnTo>
                  <a:pt x="1544" y="389"/>
                </a:lnTo>
                <a:lnTo>
                  <a:pt x="1547" y="390"/>
                </a:lnTo>
                <a:lnTo>
                  <a:pt x="1545" y="393"/>
                </a:lnTo>
                <a:lnTo>
                  <a:pt x="1551" y="394"/>
                </a:lnTo>
                <a:lnTo>
                  <a:pt x="1546" y="396"/>
                </a:lnTo>
                <a:lnTo>
                  <a:pt x="1546" y="399"/>
                </a:lnTo>
                <a:lnTo>
                  <a:pt x="1548" y="396"/>
                </a:lnTo>
                <a:lnTo>
                  <a:pt x="1552" y="394"/>
                </a:lnTo>
                <a:lnTo>
                  <a:pt x="1548" y="393"/>
                </a:lnTo>
                <a:lnTo>
                  <a:pt x="1547" y="388"/>
                </a:lnTo>
                <a:lnTo>
                  <a:pt x="1549" y="386"/>
                </a:lnTo>
                <a:lnTo>
                  <a:pt x="1552" y="388"/>
                </a:lnTo>
                <a:lnTo>
                  <a:pt x="1549" y="390"/>
                </a:lnTo>
                <a:lnTo>
                  <a:pt x="1553" y="388"/>
                </a:lnTo>
                <a:lnTo>
                  <a:pt x="1555" y="390"/>
                </a:lnTo>
                <a:lnTo>
                  <a:pt x="1552" y="391"/>
                </a:lnTo>
                <a:lnTo>
                  <a:pt x="1556" y="391"/>
                </a:lnTo>
                <a:lnTo>
                  <a:pt x="1560" y="385"/>
                </a:lnTo>
                <a:close/>
                <a:moveTo>
                  <a:pt x="1397" y="332"/>
                </a:moveTo>
                <a:lnTo>
                  <a:pt x="1394" y="332"/>
                </a:lnTo>
                <a:lnTo>
                  <a:pt x="1395" y="332"/>
                </a:lnTo>
                <a:lnTo>
                  <a:pt x="1397" y="336"/>
                </a:lnTo>
                <a:lnTo>
                  <a:pt x="1397" y="332"/>
                </a:lnTo>
                <a:close/>
                <a:moveTo>
                  <a:pt x="1359" y="415"/>
                </a:moveTo>
                <a:lnTo>
                  <a:pt x="1357" y="417"/>
                </a:lnTo>
                <a:lnTo>
                  <a:pt x="1359" y="417"/>
                </a:lnTo>
                <a:lnTo>
                  <a:pt x="1359" y="415"/>
                </a:lnTo>
                <a:close/>
                <a:moveTo>
                  <a:pt x="1377" y="395"/>
                </a:moveTo>
                <a:lnTo>
                  <a:pt x="1365" y="397"/>
                </a:lnTo>
                <a:lnTo>
                  <a:pt x="1352" y="402"/>
                </a:lnTo>
                <a:lnTo>
                  <a:pt x="1377" y="397"/>
                </a:lnTo>
                <a:lnTo>
                  <a:pt x="1377" y="395"/>
                </a:lnTo>
                <a:close/>
                <a:moveTo>
                  <a:pt x="1443" y="375"/>
                </a:moveTo>
                <a:lnTo>
                  <a:pt x="1441" y="375"/>
                </a:lnTo>
                <a:lnTo>
                  <a:pt x="1437" y="379"/>
                </a:lnTo>
                <a:lnTo>
                  <a:pt x="1443" y="375"/>
                </a:lnTo>
                <a:close/>
                <a:moveTo>
                  <a:pt x="1469" y="414"/>
                </a:moveTo>
                <a:lnTo>
                  <a:pt x="1466" y="412"/>
                </a:lnTo>
                <a:lnTo>
                  <a:pt x="1465" y="413"/>
                </a:lnTo>
                <a:lnTo>
                  <a:pt x="1467" y="413"/>
                </a:lnTo>
                <a:lnTo>
                  <a:pt x="1469" y="414"/>
                </a:lnTo>
                <a:close/>
                <a:moveTo>
                  <a:pt x="1476" y="376"/>
                </a:moveTo>
                <a:lnTo>
                  <a:pt x="1479" y="375"/>
                </a:lnTo>
                <a:lnTo>
                  <a:pt x="1475" y="375"/>
                </a:lnTo>
                <a:lnTo>
                  <a:pt x="1475" y="375"/>
                </a:lnTo>
                <a:lnTo>
                  <a:pt x="1476" y="376"/>
                </a:lnTo>
                <a:close/>
                <a:moveTo>
                  <a:pt x="1482" y="382"/>
                </a:moveTo>
                <a:lnTo>
                  <a:pt x="1476" y="377"/>
                </a:lnTo>
                <a:lnTo>
                  <a:pt x="1477" y="379"/>
                </a:lnTo>
                <a:lnTo>
                  <a:pt x="1482" y="382"/>
                </a:lnTo>
                <a:close/>
                <a:moveTo>
                  <a:pt x="1509" y="375"/>
                </a:moveTo>
                <a:lnTo>
                  <a:pt x="1508" y="375"/>
                </a:lnTo>
                <a:lnTo>
                  <a:pt x="1504" y="380"/>
                </a:lnTo>
                <a:lnTo>
                  <a:pt x="1509" y="375"/>
                </a:lnTo>
                <a:close/>
                <a:moveTo>
                  <a:pt x="1528" y="385"/>
                </a:moveTo>
                <a:lnTo>
                  <a:pt x="1521" y="389"/>
                </a:lnTo>
                <a:lnTo>
                  <a:pt x="1526" y="388"/>
                </a:lnTo>
                <a:lnTo>
                  <a:pt x="1526" y="390"/>
                </a:lnTo>
                <a:lnTo>
                  <a:pt x="1526" y="388"/>
                </a:lnTo>
                <a:lnTo>
                  <a:pt x="1528" y="385"/>
                </a:lnTo>
                <a:close/>
                <a:moveTo>
                  <a:pt x="1538" y="463"/>
                </a:moveTo>
                <a:lnTo>
                  <a:pt x="1536" y="463"/>
                </a:lnTo>
                <a:lnTo>
                  <a:pt x="1538" y="465"/>
                </a:lnTo>
                <a:lnTo>
                  <a:pt x="1538" y="463"/>
                </a:lnTo>
                <a:close/>
                <a:moveTo>
                  <a:pt x="1545" y="394"/>
                </a:moveTo>
                <a:lnTo>
                  <a:pt x="1544" y="394"/>
                </a:lnTo>
                <a:lnTo>
                  <a:pt x="1541" y="399"/>
                </a:lnTo>
                <a:lnTo>
                  <a:pt x="1544" y="396"/>
                </a:lnTo>
                <a:lnTo>
                  <a:pt x="1545" y="394"/>
                </a:lnTo>
                <a:close/>
                <a:moveTo>
                  <a:pt x="1548" y="399"/>
                </a:moveTo>
                <a:lnTo>
                  <a:pt x="1545" y="401"/>
                </a:lnTo>
                <a:lnTo>
                  <a:pt x="1547" y="402"/>
                </a:lnTo>
                <a:lnTo>
                  <a:pt x="1548" y="399"/>
                </a:lnTo>
                <a:close/>
                <a:moveTo>
                  <a:pt x="1562" y="580"/>
                </a:moveTo>
                <a:lnTo>
                  <a:pt x="1562" y="582"/>
                </a:lnTo>
                <a:lnTo>
                  <a:pt x="1562" y="582"/>
                </a:lnTo>
                <a:lnTo>
                  <a:pt x="1562" y="580"/>
                </a:lnTo>
                <a:close/>
                <a:moveTo>
                  <a:pt x="1698" y="527"/>
                </a:moveTo>
                <a:lnTo>
                  <a:pt x="1699" y="528"/>
                </a:lnTo>
                <a:lnTo>
                  <a:pt x="1699" y="527"/>
                </a:lnTo>
                <a:lnTo>
                  <a:pt x="1698" y="527"/>
                </a:lnTo>
                <a:close/>
                <a:moveTo>
                  <a:pt x="1680" y="499"/>
                </a:moveTo>
                <a:lnTo>
                  <a:pt x="1672" y="500"/>
                </a:lnTo>
                <a:lnTo>
                  <a:pt x="1681" y="499"/>
                </a:lnTo>
                <a:lnTo>
                  <a:pt x="1672" y="497"/>
                </a:lnTo>
                <a:lnTo>
                  <a:pt x="1680" y="499"/>
                </a:lnTo>
                <a:close/>
                <a:moveTo>
                  <a:pt x="1658" y="487"/>
                </a:moveTo>
                <a:lnTo>
                  <a:pt x="1663" y="490"/>
                </a:lnTo>
                <a:lnTo>
                  <a:pt x="1663" y="488"/>
                </a:lnTo>
                <a:lnTo>
                  <a:pt x="1659" y="486"/>
                </a:lnTo>
                <a:lnTo>
                  <a:pt x="1658" y="487"/>
                </a:lnTo>
                <a:close/>
                <a:moveTo>
                  <a:pt x="1646" y="520"/>
                </a:moveTo>
                <a:lnTo>
                  <a:pt x="1643" y="521"/>
                </a:lnTo>
                <a:lnTo>
                  <a:pt x="1643" y="521"/>
                </a:lnTo>
                <a:lnTo>
                  <a:pt x="1646" y="520"/>
                </a:lnTo>
                <a:close/>
                <a:moveTo>
                  <a:pt x="1641" y="485"/>
                </a:moveTo>
                <a:lnTo>
                  <a:pt x="1648" y="486"/>
                </a:lnTo>
                <a:lnTo>
                  <a:pt x="1648" y="484"/>
                </a:lnTo>
                <a:lnTo>
                  <a:pt x="1647" y="485"/>
                </a:lnTo>
                <a:lnTo>
                  <a:pt x="1641" y="485"/>
                </a:lnTo>
                <a:close/>
                <a:moveTo>
                  <a:pt x="1626" y="474"/>
                </a:moveTo>
                <a:lnTo>
                  <a:pt x="1630" y="473"/>
                </a:lnTo>
                <a:lnTo>
                  <a:pt x="1631" y="474"/>
                </a:lnTo>
                <a:lnTo>
                  <a:pt x="1635" y="472"/>
                </a:lnTo>
                <a:lnTo>
                  <a:pt x="1628" y="473"/>
                </a:lnTo>
                <a:lnTo>
                  <a:pt x="1626" y="474"/>
                </a:lnTo>
                <a:close/>
                <a:moveTo>
                  <a:pt x="1604" y="435"/>
                </a:moveTo>
                <a:lnTo>
                  <a:pt x="1604" y="435"/>
                </a:lnTo>
                <a:lnTo>
                  <a:pt x="1605" y="434"/>
                </a:lnTo>
                <a:lnTo>
                  <a:pt x="1604" y="435"/>
                </a:lnTo>
                <a:lnTo>
                  <a:pt x="1604" y="435"/>
                </a:lnTo>
                <a:close/>
                <a:moveTo>
                  <a:pt x="1594" y="443"/>
                </a:moveTo>
                <a:lnTo>
                  <a:pt x="1605" y="443"/>
                </a:lnTo>
                <a:lnTo>
                  <a:pt x="1609" y="442"/>
                </a:lnTo>
                <a:lnTo>
                  <a:pt x="1594" y="443"/>
                </a:lnTo>
                <a:close/>
                <a:moveTo>
                  <a:pt x="1599" y="435"/>
                </a:moveTo>
                <a:lnTo>
                  <a:pt x="1598" y="435"/>
                </a:lnTo>
                <a:lnTo>
                  <a:pt x="1596" y="440"/>
                </a:lnTo>
                <a:lnTo>
                  <a:pt x="1599" y="435"/>
                </a:lnTo>
                <a:close/>
                <a:moveTo>
                  <a:pt x="1593" y="431"/>
                </a:moveTo>
                <a:lnTo>
                  <a:pt x="1594" y="431"/>
                </a:lnTo>
                <a:lnTo>
                  <a:pt x="1598" y="429"/>
                </a:lnTo>
                <a:lnTo>
                  <a:pt x="1598" y="428"/>
                </a:lnTo>
                <a:lnTo>
                  <a:pt x="1599" y="426"/>
                </a:lnTo>
                <a:lnTo>
                  <a:pt x="1593" y="431"/>
                </a:lnTo>
                <a:close/>
                <a:moveTo>
                  <a:pt x="1570" y="419"/>
                </a:moveTo>
                <a:lnTo>
                  <a:pt x="1569" y="423"/>
                </a:lnTo>
                <a:lnTo>
                  <a:pt x="1571" y="423"/>
                </a:lnTo>
                <a:lnTo>
                  <a:pt x="1574" y="415"/>
                </a:lnTo>
                <a:lnTo>
                  <a:pt x="1572" y="415"/>
                </a:lnTo>
                <a:lnTo>
                  <a:pt x="1569" y="419"/>
                </a:lnTo>
                <a:lnTo>
                  <a:pt x="1570" y="419"/>
                </a:lnTo>
                <a:close/>
                <a:moveTo>
                  <a:pt x="1565" y="212"/>
                </a:moveTo>
                <a:lnTo>
                  <a:pt x="1561" y="215"/>
                </a:lnTo>
                <a:lnTo>
                  <a:pt x="1569" y="218"/>
                </a:lnTo>
                <a:lnTo>
                  <a:pt x="1578" y="216"/>
                </a:lnTo>
                <a:lnTo>
                  <a:pt x="1565" y="212"/>
                </a:lnTo>
                <a:close/>
                <a:moveTo>
                  <a:pt x="1564" y="595"/>
                </a:moveTo>
                <a:lnTo>
                  <a:pt x="1570" y="595"/>
                </a:lnTo>
                <a:lnTo>
                  <a:pt x="1569" y="594"/>
                </a:lnTo>
                <a:lnTo>
                  <a:pt x="1564" y="595"/>
                </a:lnTo>
                <a:close/>
                <a:moveTo>
                  <a:pt x="1314" y="65"/>
                </a:moveTo>
                <a:lnTo>
                  <a:pt x="1316" y="65"/>
                </a:lnTo>
                <a:lnTo>
                  <a:pt x="1317" y="64"/>
                </a:lnTo>
                <a:lnTo>
                  <a:pt x="1314" y="65"/>
                </a:lnTo>
                <a:close/>
                <a:moveTo>
                  <a:pt x="1871" y="61"/>
                </a:moveTo>
                <a:lnTo>
                  <a:pt x="1848" y="50"/>
                </a:lnTo>
                <a:lnTo>
                  <a:pt x="1843" y="47"/>
                </a:lnTo>
                <a:lnTo>
                  <a:pt x="1840" y="51"/>
                </a:lnTo>
                <a:lnTo>
                  <a:pt x="1845" y="55"/>
                </a:lnTo>
                <a:lnTo>
                  <a:pt x="1871" y="61"/>
                </a:lnTo>
                <a:close/>
                <a:moveTo>
                  <a:pt x="1862" y="52"/>
                </a:moveTo>
                <a:lnTo>
                  <a:pt x="1855" y="50"/>
                </a:lnTo>
                <a:lnTo>
                  <a:pt x="1856" y="52"/>
                </a:lnTo>
                <a:lnTo>
                  <a:pt x="1862" y="52"/>
                </a:lnTo>
                <a:close/>
                <a:moveTo>
                  <a:pt x="1506" y="158"/>
                </a:moveTo>
                <a:lnTo>
                  <a:pt x="1489" y="155"/>
                </a:lnTo>
                <a:lnTo>
                  <a:pt x="1488" y="158"/>
                </a:lnTo>
                <a:lnTo>
                  <a:pt x="1506" y="158"/>
                </a:lnTo>
                <a:close/>
                <a:moveTo>
                  <a:pt x="1393" y="166"/>
                </a:moveTo>
                <a:lnTo>
                  <a:pt x="1402" y="166"/>
                </a:lnTo>
                <a:lnTo>
                  <a:pt x="1399" y="165"/>
                </a:lnTo>
                <a:lnTo>
                  <a:pt x="1390" y="163"/>
                </a:lnTo>
                <a:lnTo>
                  <a:pt x="1393" y="166"/>
                </a:lnTo>
                <a:close/>
                <a:moveTo>
                  <a:pt x="2339" y="58"/>
                </a:moveTo>
                <a:lnTo>
                  <a:pt x="2333" y="52"/>
                </a:lnTo>
                <a:lnTo>
                  <a:pt x="2341" y="61"/>
                </a:lnTo>
                <a:lnTo>
                  <a:pt x="2339" y="58"/>
                </a:lnTo>
                <a:close/>
                <a:moveTo>
                  <a:pt x="1514" y="162"/>
                </a:moveTo>
                <a:lnTo>
                  <a:pt x="1531" y="162"/>
                </a:lnTo>
                <a:lnTo>
                  <a:pt x="1526" y="160"/>
                </a:lnTo>
                <a:lnTo>
                  <a:pt x="1531" y="158"/>
                </a:lnTo>
                <a:lnTo>
                  <a:pt x="1506" y="158"/>
                </a:lnTo>
                <a:lnTo>
                  <a:pt x="1507" y="158"/>
                </a:lnTo>
                <a:lnTo>
                  <a:pt x="1514" y="162"/>
                </a:lnTo>
                <a:close/>
                <a:moveTo>
                  <a:pt x="1915" y="42"/>
                </a:moveTo>
                <a:lnTo>
                  <a:pt x="1905" y="40"/>
                </a:lnTo>
                <a:lnTo>
                  <a:pt x="1913" y="44"/>
                </a:lnTo>
                <a:lnTo>
                  <a:pt x="1915" y="42"/>
                </a:lnTo>
                <a:close/>
                <a:moveTo>
                  <a:pt x="1927" y="33"/>
                </a:moveTo>
                <a:lnTo>
                  <a:pt x="1912" y="30"/>
                </a:lnTo>
                <a:lnTo>
                  <a:pt x="1913" y="33"/>
                </a:lnTo>
                <a:lnTo>
                  <a:pt x="1927" y="33"/>
                </a:lnTo>
                <a:close/>
                <a:moveTo>
                  <a:pt x="2023" y="17"/>
                </a:moveTo>
                <a:lnTo>
                  <a:pt x="2013" y="17"/>
                </a:lnTo>
                <a:lnTo>
                  <a:pt x="2035" y="25"/>
                </a:lnTo>
                <a:lnTo>
                  <a:pt x="2023" y="17"/>
                </a:lnTo>
                <a:close/>
                <a:moveTo>
                  <a:pt x="1935" y="29"/>
                </a:moveTo>
                <a:lnTo>
                  <a:pt x="1941" y="29"/>
                </a:lnTo>
                <a:lnTo>
                  <a:pt x="1928" y="25"/>
                </a:lnTo>
                <a:lnTo>
                  <a:pt x="1935" y="29"/>
                </a:lnTo>
                <a:close/>
                <a:moveTo>
                  <a:pt x="1534" y="567"/>
                </a:moveTo>
                <a:lnTo>
                  <a:pt x="1535" y="567"/>
                </a:lnTo>
                <a:lnTo>
                  <a:pt x="1534" y="567"/>
                </a:lnTo>
                <a:lnTo>
                  <a:pt x="1534" y="567"/>
                </a:lnTo>
                <a:close/>
                <a:moveTo>
                  <a:pt x="2311" y="73"/>
                </a:moveTo>
                <a:lnTo>
                  <a:pt x="2322" y="70"/>
                </a:lnTo>
                <a:lnTo>
                  <a:pt x="2311" y="69"/>
                </a:lnTo>
                <a:lnTo>
                  <a:pt x="2310" y="70"/>
                </a:lnTo>
                <a:lnTo>
                  <a:pt x="2313" y="72"/>
                </a:lnTo>
                <a:lnTo>
                  <a:pt x="2311" y="73"/>
                </a:lnTo>
                <a:close/>
                <a:moveTo>
                  <a:pt x="1381" y="161"/>
                </a:moveTo>
                <a:lnTo>
                  <a:pt x="1382" y="163"/>
                </a:lnTo>
                <a:lnTo>
                  <a:pt x="1390" y="163"/>
                </a:lnTo>
                <a:lnTo>
                  <a:pt x="1385" y="160"/>
                </a:lnTo>
                <a:lnTo>
                  <a:pt x="1381" y="161"/>
                </a:lnTo>
                <a:close/>
                <a:moveTo>
                  <a:pt x="2329" y="65"/>
                </a:moveTo>
                <a:lnTo>
                  <a:pt x="2319" y="57"/>
                </a:lnTo>
                <a:lnTo>
                  <a:pt x="2313" y="57"/>
                </a:lnTo>
                <a:lnTo>
                  <a:pt x="2321" y="65"/>
                </a:lnTo>
                <a:lnTo>
                  <a:pt x="2329" y="65"/>
                </a:lnTo>
                <a:close/>
                <a:moveTo>
                  <a:pt x="1684" y="256"/>
                </a:moveTo>
                <a:lnTo>
                  <a:pt x="1685" y="257"/>
                </a:lnTo>
                <a:lnTo>
                  <a:pt x="1685" y="254"/>
                </a:lnTo>
                <a:lnTo>
                  <a:pt x="1684" y="256"/>
                </a:lnTo>
                <a:close/>
                <a:moveTo>
                  <a:pt x="1554" y="580"/>
                </a:moveTo>
                <a:lnTo>
                  <a:pt x="1554" y="579"/>
                </a:lnTo>
                <a:lnTo>
                  <a:pt x="1553" y="579"/>
                </a:lnTo>
                <a:lnTo>
                  <a:pt x="1554" y="580"/>
                </a:lnTo>
                <a:close/>
                <a:moveTo>
                  <a:pt x="1555" y="579"/>
                </a:moveTo>
                <a:lnTo>
                  <a:pt x="1554" y="579"/>
                </a:lnTo>
                <a:lnTo>
                  <a:pt x="1554" y="579"/>
                </a:lnTo>
                <a:lnTo>
                  <a:pt x="1555" y="579"/>
                </a:lnTo>
                <a:close/>
                <a:moveTo>
                  <a:pt x="1541" y="570"/>
                </a:moveTo>
                <a:lnTo>
                  <a:pt x="1542" y="572"/>
                </a:lnTo>
                <a:lnTo>
                  <a:pt x="1542" y="570"/>
                </a:lnTo>
                <a:lnTo>
                  <a:pt x="1542" y="568"/>
                </a:lnTo>
                <a:lnTo>
                  <a:pt x="1541" y="570"/>
                </a:lnTo>
                <a:close/>
                <a:moveTo>
                  <a:pt x="1544" y="567"/>
                </a:moveTo>
                <a:lnTo>
                  <a:pt x="1542" y="570"/>
                </a:lnTo>
                <a:lnTo>
                  <a:pt x="1544" y="570"/>
                </a:lnTo>
                <a:lnTo>
                  <a:pt x="1545" y="567"/>
                </a:lnTo>
                <a:lnTo>
                  <a:pt x="1544" y="567"/>
                </a:lnTo>
                <a:lnTo>
                  <a:pt x="1544" y="567"/>
                </a:lnTo>
                <a:close/>
                <a:moveTo>
                  <a:pt x="1536" y="567"/>
                </a:moveTo>
                <a:lnTo>
                  <a:pt x="1535" y="567"/>
                </a:lnTo>
                <a:lnTo>
                  <a:pt x="1535" y="567"/>
                </a:lnTo>
                <a:lnTo>
                  <a:pt x="1536" y="567"/>
                </a:lnTo>
                <a:close/>
                <a:moveTo>
                  <a:pt x="2344" y="73"/>
                </a:moveTo>
                <a:lnTo>
                  <a:pt x="2350" y="73"/>
                </a:lnTo>
                <a:lnTo>
                  <a:pt x="2343" y="69"/>
                </a:lnTo>
                <a:lnTo>
                  <a:pt x="2335" y="69"/>
                </a:lnTo>
                <a:lnTo>
                  <a:pt x="2344" y="73"/>
                </a:lnTo>
                <a:close/>
                <a:moveTo>
                  <a:pt x="1543" y="567"/>
                </a:moveTo>
                <a:lnTo>
                  <a:pt x="1542" y="567"/>
                </a:lnTo>
                <a:lnTo>
                  <a:pt x="1542" y="567"/>
                </a:lnTo>
                <a:lnTo>
                  <a:pt x="1543" y="567"/>
                </a:lnTo>
                <a:close/>
                <a:moveTo>
                  <a:pt x="1682" y="596"/>
                </a:moveTo>
                <a:lnTo>
                  <a:pt x="1680" y="591"/>
                </a:lnTo>
                <a:lnTo>
                  <a:pt x="1678" y="587"/>
                </a:lnTo>
                <a:lnTo>
                  <a:pt x="1675" y="588"/>
                </a:lnTo>
                <a:lnTo>
                  <a:pt x="1675" y="589"/>
                </a:lnTo>
                <a:lnTo>
                  <a:pt x="1675" y="591"/>
                </a:lnTo>
                <a:lnTo>
                  <a:pt x="1682" y="596"/>
                </a:lnTo>
                <a:close/>
                <a:moveTo>
                  <a:pt x="1278" y="72"/>
                </a:moveTo>
                <a:lnTo>
                  <a:pt x="1275" y="72"/>
                </a:lnTo>
                <a:lnTo>
                  <a:pt x="1300" y="62"/>
                </a:lnTo>
                <a:lnTo>
                  <a:pt x="1310" y="62"/>
                </a:lnTo>
                <a:lnTo>
                  <a:pt x="1315" y="67"/>
                </a:lnTo>
                <a:lnTo>
                  <a:pt x="1316" y="65"/>
                </a:lnTo>
                <a:lnTo>
                  <a:pt x="1321" y="65"/>
                </a:lnTo>
                <a:lnTo>
                  <a:pt x="1319" y="62"/>
                </a:lnTo>
                <a:lnTo>
                  <a:pt x="1333" y="55"/>
                </a:lnTo>
                <a:lnTo>
                  <a:pt x="1344" y="56"/>
                </a:lnTo>
                <a:lnTo>
                  <a:pt x="1346" y="58"/>
                </a:lnTo>
                <a:lnTo>
                  <a:pt x="1344" y="60"/>
                </a:lnTo>
                <a:lnTo>
                  <a:pt x="1352" y="62"/>
                </a:lnTo>
                <a:lnTo>
                  <a:pt x="1347" y="61"/>
                </a:lnTo>
                <a:lnTo>
                  <a:pt x="1350" y="57"/>
                </a:lnTo>
                <a:lnTo>
                  <a:pt x="1359" y="57"/>
                </a:lnTo>
                <a:lnTo>
                  <a:pt x="1370" y="66"/>
                </a:lnTo>
                <a:lnTo>
                  <a:pt x="1368" y="61"/>
                </a:lnTo>
                <a:lnTo>
                  <a:pt x="1376" y="61"/>
                </a:lnTo>
                <a:lnTo>
                  <a:pt x="1381" y="63"/>
                </a:lnTo>
                <a:lnTo>
                  <a:pt x="1377" y="61"/>
                </a:lnTo>
                <a:lnTo>
                  <a:pt x="1380" y="61"/>
                </a:lnTo>
                <a:lnTo>
                  <a:pt x="1384" y="63"/>
                </a:lnTo>
                <a:lnTo>
                  <a:pt x="1380" y="58"/>
                </a:lnTo>
                <a:lnTo>
                  <a:pt x="1354" y="54"/>
                </a:lnTo>
                <a:lnTo>
                  <a:pt x="1350" y="51"/>
                </a:lnTo>
                <a:lnTo>
                  <a:pt x="1373" y="49"/>
                </a:lnTo>
                <a:lnTo>
                  <a:pt x="1370" y="45"/>
                </a:lnTo>
                <a:lnTo>
                  <a:pt x="1365" y="43"/>
                </a:lnTo>
                <a:lnTo>
                  <a:pt x="1377" y="42"/>
                </a:lnTo>
                <a:lnTo>
                  <a:pt x="1400" y="47"/>
                </a:lnTo>
                <a:lnTo>
                  <a:pt x="1408" y="54"/>
                </a:lnTo>
                <a:lnTo>
                  <a:pt x="1403" y="56"/>
                </a:lnTo>
                <a:lnTo>
                  <a:pt x="1425" y="58"/>
                </a:lnTo>
                <a:lnTo>
                  <a:pt x="1414" y="54"/>
                </a:lnTo>
                <a:lnTo>
                  <a:pt x="1407" y="50"/>
                </a:lnTo>
                <a:lnTo>
                  <a:pt x="1414" y="49"/>
                </a:lnTo>
                <a:lnTo>
                  <a:pt x="1463" y="65"/>
                </a:lnTo>
                <a:lnTo>
                  <a:pt x="1453" y="58"/>
                </a:lnTo>
                <a:lnTo>
                  <a:pt x="1441" y="56"/>
                </a:lnTo>
                <a:lnTo>
                  <a:pt x="1437" y="55"/>
                </a:lnTo>
                <a:lnTo>
                  <a:pt x="1439" y="54"/>
                </a:lnTo>
                <a:lnTo>
                  <a:pt x="1425" y="50"/>
                </a:lnTo>
                <a:lnTo>
                  <a:pt x="1412" y="46"/>
                </a:lnTo>
                <a:lnTo>
                  <a:pt x="1415" y="41"/>
                </a:lnTo>
                <a:lnTo>
                  <a:pt x="1429" y="41"/>
                </a:lnTo>
                <a:lnTo>
                  <a:pt x="1416" y="37"/>
                </a:lnTo>
                <a:lnTo>
                  <a:pt x="1420" y="36"/>
                </a:lnTo>
                <a:lnTo>
                  <a:pt x="1442" y="38"/>
                </a:lnTo>
                <a:lnTo>
                  <a:pt x="1427" y="31"/>
                </a:lnTo>
                <a:lnTo>
                  <a:pt x="1429" y="28"/>
                </a:lnTo>
                <a:lnTo>
                  <a:pt x="1445" y="31"/>
                </a:lnTo>
                <a:lnTo>
                  <a:pt x="1453" y="37"/>
                </a:lnTo>
                <a:lnTo>
                  <a:pt x="1455" y="37"/>
                </a:lnTo>
                <a:lnTo>
                  <a:pt x="1472" y="37"/>
                </a:lnTo>
                <a:lnTo>
                  <a:pt x="1453" y="33"/>
                </a:lnTo>
                <a:lnTo>
                  <a:pt x="1452" y="31"/>
                </a:lnTo>
                <a:lnTo>
                  <a:pt x="1456" y="28"/>
                </a:lnTo>
                <a:lnTo>
                  <a:pt x="1445" y="27"/>
                </a:lnTo>
                <a:lnTo>
                  <a:pt x="1453" y="25"/>
                </a:lnTo>
                <a:lnTo>
                  <a:pt x="1460" y="25"/>
                </a:lnTo>
                <a:lnTo>
                  <a:pt x="1463" y="27"/>
                </a:lnTo>
                <a:lnTo>
                  <a:pt x="1469" y="24"/>
                </a:lnTo>
                <a:lnTo>
                  <a:pt x="1470" y="25"/>
                </a:lnTo>
                <a:lnTo>
                  <a:pt x="1470" y="29"/>
                </a:lnTo>
                <a:lnTo>
                  <a:pt x="1479" y="29"/>
                </a:lnTo>
                <a:lnTo>
                  <a:pt x="1477" y="27"/>
                </a:lnTo>
                <a:lnTo>
                  <a:pt x="1483" y="25"/>
                </a:lnTo>
                <a:lnTo>
                  <a:pt x="1510" y="36"/>
                </a:lnTo>
                <a:lnTo>
                  <a:pt x="1505" y="43"/>
                </a:lnTo>
                <a:lnTo>
                  <a:pt x="1519" y="36"/>
                </a:lnTo>
                <a:lnTo>
                  <a:pt x="1504" y="32"/>
                </a:lnTo>
                <a:lnTo>
                  <a:pt x="1508" y="31"/>
                </a:lnTo>
                <a:lnTo>
                  <a:pt x="1488" y="23"/>
                </a:lnTo>
                <a:lnTo>
                  <a:pt x="1492" y="21"/>
                </a:lnTo>
                <a:lnTo>
                  <a:pt x="1531" y="21"/>
                </a:lnTo>
                <a:lnTo>
                  <a:pt x="1541" y="27"/>
                </a:lnTo>
                <a:lnTo>
                  <a:pt x="1559" y="34"/>
                </a:lnTo>
                <a:lnTo>
                  <a:pt x="1560" y="32"/>
                </a:lnTo>
                <a:lnTo>
                  <a:pt x="1542" y="26"/>
                </a:lnTo>
                <a:lnTo>
                  <a:pt x="1559" y="21"/>
                </a:lnTo>
                <a:lnTo>
                  <a:pt x="1571" y="21"/>
                </a:lnTo>
                <a:lnTo>
                  <a:pt x="1572" y="21"/>
                </a:lnTo>
                <a:lnTo>
                  <a:pt x="1569" y="23"/>
                </a:lnTo>
                <a:lnTo>
                  <a:pt x="1582" y="27"/>
                </a:lnTo>
                <a:lnTo>
                  <a:pt x="1574" y="22"/>
                </a:lnTo>
                <a:lnTo>
                  <a:pt x="1592" y="16"/>
                </a:lnTo>
                <a:lnTo>
                  <a:pt x="1604" y="20"/>
                </a:lnTo>
                <a:lnTo>
                  <a:pt x="1602" y="22"/>
                </a:lnTo>
                <a:lnTo>
                  <a:pt x="1609" y="20"/>
                </a:lnTo>
                <a:lnTo>
                  <a:pt x="1618" y="22"/>
                </a:lnTo>
                <a:lnTo>
                  <a:pt x="1618" y="29"/>
                </a:lnTo>
                <a:lnTo>
                  <a:pt x="1648" y="29"/>
                </a:lnTo>
                <a:lnTo>
                  <a:pt x="1615" y="38"/>
                </a:lnTo>
                <a:lnTo>
                  <a:pt x="1633" y="35"/>
                </a:lnTo>
                <a:lnTo>
                  <a:pt x="1657" y="28"/>
                </a:lnTo>
                <a:lnTo>
                  <a:pt x="1665" y="30"/>
                </a:lnTo>
                <a:lnTo>
                  <a:pt x="1667" y="28"/>
                </a:lnTo>
                <a:lnTo>
                  <a:pt x="1664" y="27"/>
                </a:lnTo>
                <a:lnTo>
                  <a:pt x="1674" y="25"/>
                </a:lnTo>
                <a:lnTo>
                  <a:pt x="1671" y="27"/>
                </a:lnTo>
                <a:lnTo>
                  <a:pt x="1676" y="31"/>
                </a:lnTo>
                <a:lnTo>
                  <a:pt x="1691" y="28"/>
                </a:lnTo>
                <a:lnTo>
                  <a:pt x="1693" y="31"/>
                </a:lnTo>
                <a:lnTo>
                  <a:pt x="1686" y="34"/>
                </a:lnTo>
                <a:lnTo>
                  <a:pt x="1699" y="39"/>
                </a:lnTo>
                <a:lnTo>
                  <a:pt x="1696" y="42"/>
                </a:lnTo>
                <a:lnTo>
                  <a:pt x="1693" y="44"/>
                </a:lnTo>
                <a:lnTo>
                  <a:pt x="1710" y="41"/>
                </a:lnTo>
                <a:lnTo>
                  <a:pt x="1707" y="45"/>
                </a:lnTo>
                <a:lnTo>
                  <a:pt x="1720" y="45"/>
                </a:lnTo>
                <a:lnTo>
                  <a:pt x="1726" y="48"/>
                </a:lnTo>
                <a:lnTo>
                  <a:pt x="1724" y="50"/>
                </a:lnTo>
                <a:lnTo>
                  <a:pt x="1708" y="58"/>
                </a:lnTo>
                <a:lnTo>
                  <a:pt x="1686" y="66"/>
                </a:lnTo>
                <a:lnTo>
                  <a:pt x="1679" y="66"/>
                </a:lnTo>
                <a:lnTo>
                  <a:pt x="1681" y="69"/>
                </a:lnTo>
                <a:lnTo>
                  <a:pt x="1679" y="69"/>
                </a:lnTo>
                <a:lnTo>
                  <a:pt x="1665" y="69"/>
                </a:lnTo>
                <a:lnTo>
                  <a:pt x="1653" y="73"/>
                </a:lnTo>
                <a:lnTo>
                  <a:pt x="1664" y="73"/>
                </a:lnTo>
                <a:lnTo>
                  <a:pt x="1657" y="75"/>
                </a:lnTo>
                <a:lnTo>
                  <a:pt x="1621" y="74"/>
                </a:lnTo>
                <a:lnTo>
                  <a:pt x="1605" y="71"/>
                </a:lnTo>
                <a:lnTo>
                  <a:pt x="1620" y="77"/>
                </a:lnTo>
                <a:lnTo>
                  <a:pt x="1644" y="77"/>
                </a:lnTo>
                <a:lnTo>
                  <a:pt x="1593" y="89"/>
                </a:lnTo>
                <a:lnTo>
                  <a:pt x="1601" y="89"/>
                </a:lnTo>
                <a:lnTo>
                  <a:pt x="1594" y="93"/>
                </a:lnTo>
                <a:lnTo>
                  <a:pt x="1596" y="93"/>
                </a:lnTo>
                <a:lnTo>
                  <a:pt x="1659" y="78"/>
                </a:lnTo>
                <a:lnTo>
                  <a:pt x="1675" y="74"/>
                </a:lnTo>
                <a:lnTo>
                  <a:pt x="1676" y="77"/>
                </a:lnTo>
                <a:lnTo>
                  <a:pt x="1637" y="96"/>
                </a:lnTo>
                <a:lnTo>
                  <a:pt x="1630" y="97"/>
                </a:lnTo>
                <a:lnTo>
                  <a:pt x="1631" y="97"/>
                </a:lnTo>
                <a:lnTo>
                  <a:pt x="1611" y="109"/>
                </a:lnTo>
                <a:lnTo>
                  <a:pt x="1604" y="116"/>
                </a:lnTo>
                <a:lnTo>
                  <a:pt x="1594" y="120"/>
                </a:lnTo>
                <a:lnTo>
                  <a:pt x="1596" y="120"/>
                </a:lnTo>
                <a:lnTo>
                  <a:pt x="1593" y="123"/>
                </a:lnTo>
                <a:lnTo>
                  <a:pt x="1571" y="126"/>
                </a:lnTo>
                <a:lnTo>
                  <a:pt x="1561" y="123"/>
                </a:lnTo>
                <a:lnTo>
                  <a:pt x="1567" y="126"/>
                </a:lnTo>
                <a:lnTo>
                  <a:pt x="1558" y="126"/>
                </a:lnTo>
                <a:lnTo>
                  <a:pt x="1558" y="127"/>
                </a:lnTo>
                <a:lnTo>
                  <a:pt x="1587" y="126"/>
                </a:lnTo>
                <a:lnTo>
                  <a:pt x="1574" y="132"/>
                </a:lnTo>
                <a:lnTo>
                  <a:pt x="1582" y="135"/>
                </a:lnTo>
                <a:lnTo>
                  <a:pt x="1579" y="138"/>
                </a:lnTo>
                <a:lnTo>
                  <a:pt x="1562" y="142"/>
                </a:lnTo>
                <a:lnTo>
                  <a:pt x="1553" y="141"/>
                </a:lnTo>
                <a:lnTo>
                  <a:pt x="1552" y="138"/>
                </a:lnTo>
                <a:lnTo>
                  <a:pt x="1534" y="138"/>
                </a:lnTo>
                <a:lnTo>
                  <a:pt x="1526" y="138"/>
                </a:lnTo>
                <a:lnTo>
                  <a:pt x="1547" y="139"/>
                </a:lnTo>
                <a:lnTo>
                  <a:pt x="1549" y="143"/>
                </a:lnTo>
                <a:lnTo>
                  <a:pt x="1542" y="147"/>
                </a:lnTo>
                <a:lnTo>
                  <a:pt x="1538" y="143"/>
                </a:lnTo>
                <a:lnTo>
                  <a:pt x="1539" y="147"/>
                </a:lnTo>
                <a:lnTo>
                  <a:pt x="1536" y="149"/>
                </a:lnTo>
                <a:lnTo>
                  <a:pt x="1525" y="146"/>
                </a:lnTo>
                <a:lnTo>
                  <a:pt x="1522" y="147"/>
                </a:lnTo>
                <a:lnTo>
                  <a:pt x="1525" y="149"/>
                </a:lnTo>
                <a:lnTo>
                  <a:pt x="1522" y="151"/>
                </a:lnTo>
                <a:lnTo>
                  <a:pt x="1493" y="143"/>
                </a:lnTo>
                <a:lnTo>
                  <a:pt x="1492" y="147"/>
                </a:lnTo>
                <a:lnTo>
                  <a:pt x="1505" y="149"/>
                </a:lnTo>
                <a:lnTo>
                  <a:pt x="1507" y="154"/>
                </a:lnTo>
                <a:lnTo>
                  <a:pt x="1496" y="154"/>
                </a:lnTo>
                <a:lnTo>
                  <a:pt x="1489" y="149"/>
                </a:lnTo>
                <a:lnTo>
                  <a:pt x="1493" y="153"/>
                </a:lnTo>
                <a:lnTo>
                  <a:pt x="1479" y="152"/>
                </a:lnTo>
                <a:lnTo>
                  <a:pt x="1489" y="155"/>
                </a:lnTo>
                <a:lnTo>
                  <a:pt x="1489" y="155"/>
                </a:lnTo>
                <a:lnTo>
                  <a:pt x="1483" y="154"/>
                </a:lnTo>
                <a:lnTo>
                  <a:pt x="1477" y="157"/>
                </a:lnTo>
                <a:lnTo>
                  <a:pt x="1507" y="160"/>
                </a:lnTo>
                <a:lnTo>
                  <a:pt x="1486" y="162"/>
                </a:lnTo>
                <a:lnTo>
                  <a:pt x="1467" y="160"/>
                </a:lnTo>
                <a:lnTo>
                  <a:pt x="1485" y="162"/>
                </a:lnTo>
                <a:lnTo>
                  <a:pt x="1483" y="164"/>
                </a:lnTo>
                <a:lnTo>
                  <a:pt x="1500" y="162"/>
                </a:lnTo>
                <a:lnTo>
                  <a:pt x="1514" y="164"/>
                </a:lnTo>
                <a:lnTo>
                  <a:pt x="1503" y="169"/>
                </a:lnTo>
                <a:lnTo>
                  <a:pt x="1519" y="166"/>
                </a:lnTo>
                <a:lnTo>
                  <a:pt x="1526" y="169"/>
                </a:lnTo>
                <a:lnTo>
                  <a:pt x="1527" y="172"/>
                </a:lnTo>
                <a:lnTo>
                  <a:pt x="1525" y="173"/>
                </a:lnTo>
                <a:lnTo>
                  <a:pt x="1526" y="177"/>
                </a:lnTo>
                <a:lnTo>
                  <a:pt x="1522" y="178"/>
                </a:lnTo>
                <a:lnTo>
                  <a:pt x="1500" y="178"/>
                </a:lnTo>
                <a:lnTo>
                  <a:pt x="1516" y="182"/>
                </a:lnTo>
                <a:lnTo>
                  <a:pt x="1522" y="185"/>
                </a:lnTo>
                <a:lnTo>
                  <a:pt x="1515" y="190"/>
                </a:lnTo>
                <a:lnTo>
                  <a:pt x="1496" y="190"/>
                </a:lnTo>
                <a:lnTo>
                  <a:pt x="1515" y="192"/>
                </a:lnTo>
                <a:lnTo>
                  <a:pt x="1510" y="195"/>
                </a:lnTo>
                <a:lnTo>
                  <a:pt x="1505" y="194"/>
                </a:lnTo>
                <a:lnTo>
                  <a:pt x="1496" y="198"/>
                </a:lnTo>
                <a:lnTo>
                  <a:pt x="1476" y="195"/>
                </a:lnTo>
                <a:lnTo>
                  <a:pt x="1473" y="198"/>
                </a:lnTo>
                <a:lnTo>
                  <a:pt x="1478" y="200"/>
                </a:lnTo>
                <a:lnTo>
                  <a:pt x="1478" y="204"/>
                </a:lnTo>
                <a:lnTo>
                  <a:pt x="1481" y="207"/>
                </a:lnTo>
                <a:lnTo>
                  <a:pt x="1477" y="216"/>
                </a:lnTo>
                <a:lnTo>
                  <a:pt x="1463" y="218"/>
                </a:lnTo>
                <a:lnTo>
                  <a:pt x="1445" y="218"/>
                </a:lnTo>
                <a:lnTo>
                  <a:pt x="1433" y="215"/>
                </a:lnTo>
                <a:lnTo>
                  <a:pt x="1422" y="206"/>
                </a:lnTo>
                <a:lnTo>
                  <a:pt x="1422" y="207"/>
                </a:lnTo>
                <a:lnTo>
                  <a:pt x="1427" y="211"/>
                </a:lnTo>
                <a:lnTo>
                  <a:pt x="1426" y="215"/>
                </a:lnTo>
                <a:lnTo>
                  <a:pt x="1434" y="218"/>
                </a:lnTo>
                <a:lnTo>
                  <a:pt x="1420" y="218"/>
                </a:lnTo>
                <a:lnTo>
                  <a:pt x="1425" y="222"/>
                </a:lnTo>
                <a:lnTo>
                  <a:pt x="1434" y="218"/>
                </a:lnTo>
                <a:lnTo>
                  <a:pt x="1449" y="221"/>
                </a:lnTo>
                <a:lnTo>
                  <a:pt x="1455" y="218"/>
                </a:lnTo>
                <a:lnTo>
                  <a:pt x="1463" y="221"/>
                </a:lnTo>
                <a:lnTo>
                  <a:pt x="1466" y="224"/>
                </a:lnTo>
                <a:lnTo>
                  <a:pt x="1460" y="230"/>
                </a:lnTo>
                <a:lnTo>
                  <a:pt x="1466" y="230"/>
                </a:lnTo>
                <a:lnTo>
                  <a:pt x="1466" y="234"/>
                </a:lnTo>
                <a:lnTo>
                  <a:pt x="1469" y="234"/>
                </a:lnTo>
                <a:lnTo>
                  <a:pt x="1475" y="228"/>
                </a:lnTo>
                <a:lnTo>
                  <a:pt x="1482" y="229"/>
                </a:lnTo>
                <a:lnTo>
                  <a:pt x="1482" y="237"/>
                </a:lnTo>
                <a:lnTo>
                  <a:pt x="1474" y="244"/>
                </a:lnTo>
                <a:lnTo>
                  <a:pt x="1469" y="240"/>
                </a:lnTo>
                <a:lnTo>
                  <a:pt x="1460" y="249"/>
                </a:lnTo>
                <a:lnTo>
                  <a:pt x="1434" y="252"/>
                </a:lnTo>
                <a:lnTo>
                  <a:pt x="1434" y="251"/>
                </a:lnTo>
                <a:lnTo>
                  <a:pt x="1440" y="245"/>
                </a:lnTo>
                <a:lnTo>
                  <a:pt x="1433" y="241"/>
                </a:lnTo>
                <a:lnTo>
                  <a:pt x="1429" y="244"/>
                </a:lnTo>
                <a:lnTo>
                  <a:pt x="1422" y="241"/>
                </a:lnTo>
                <a:lnTo>
                  <a:pt x="1423" y="240"/>
                </a:lnTo>
                <a:lnTo>
                  <a:pt x="1422" y="238"/>
                </a:lnTo>
                <a:lnTo>
                  <a:pt x="1426" y="237"/>
                </a:lnTo>
                <a:lnTo>
                  <a:pt x="1418" y="238"/>
                </a:lnTo>
                <a:lnTo>
                  <a:pt x="1412" y="232"/>
                </a:lnTo>
                <a:lnTo>
                  <a:pt x="1415" y="238"/>
                </a:lnTo>
                <a:lnTo>
                  <a:pt x="1422" y="240"/>
                </a:lnTo>
                <a:lnTo>
                  <a:pt x="1418" y="241"/>
                </a:lnTo>
                <a:lnTo>
                  <a:pt x="1420" y="244"/>
                </a:lnTo>
                <a:lnTo>
                  <a:pt x="1407" y="245"/>
                </a:lnTo>
                <a:lnTo>
                  <a:pt x="1402" y="234"/>
                </a:lnTo>
                <a:lnTo>
                  <a:pt x="1400" y="238"/>
                </a:lnTo>
                <a:lnTo>
                  <a:pt x="1403" y="241"/>
                </a:lnTo>
                <a:lnTo>
                  <a:pt x="1403" y="246"/>
                </a:lnTo>
                <a:lnTo>
                  <a:pt x="1396" y="246"/>
                </a:lnTo>
                <a:lnTo>
                  <a:pt x="1390" y="239"/>
                </a:lnTo>
                <a:lnTo>
                  <a:pt x="1388" y="241"/>
                </a:lnTo>
                <a:lnTo>
                  <a:pt x="1390" y="244"/>
                </a:lnTo>
                <a:lnTo>
                  <a:pt x="1384" y="245"/>
                </a:lnTo>
                <a:lnTo>
                  <a:pt x="1377" y="240"/>
                </a:lnTo>
                <a:lnTo>
                  <a:pt x="1380" y="246"/>
                </a:lnTo>
                <a:lnTo>
                  <a:pt x="1387" y="250"/>
                </a:lnTo>
                <a:lnTo>
                  <a:pt x="1380" y="250"/>
                </a:lnTo>
                <a:lnTo>
                  <a:pt x="1359" y="246"/>
                </a:lnTo>
                <a:lnTo>
                  <a:pt x="1357" y="244"/>
                </a:lnTo>
                <a:lnTo>
                  <a:pt x="1360" y="241"/>
                </a:lnTo>
                <a:lnTo>
                  <a:pt x="1355" y="238"/>
                </a:lnTo>
                <a:lnTo>
                  <a:pt x="1358" y="241"/>
                </a:lnTo>
                <a:lnTo>
                  <a:pt x="1353" y="244"/>
                </a:lnTo>
                <a:lnTo>
                  <a:pt x="1353" y="246"/>
                </a:lnTo>
                <a:lnTo>
                  <a:pt x="1340" y="244"/>
                </a:lnTo>
                <a:lnTo>
                  <a:pt x="1337" y="238"/>
                </a:lnTo>
                <a:lnTo>
                  <a:pt x="1337" y="244"/>
                </a:lnTo>
                <a:lnTo>
                  <a:pt x="1341" y="246"/>
                </a:lnTo>
                <a:lnTo>
                  <a:pt x="1328" y="245"/>
                </a:lnTo>
                <a:lnTo>
                  <a:pt x="1329" y="241"/>
                </a:lnTo>
                <a:lnTo>
                  <a:pt x="1326" y="238"/>
                </a:lnTo>
                <a:lnTo>
                  <a:pt x="1328" y="232"/>
                </a:lnTo>
                <a:lnTo>
                  <a:pt x="1324" y="234"/>
                </a:lnTo>
                <a:lnTo>
                  <a:pt x="1325" y="240"/>
                </a:lnTo>
                <a:lnTo>
                  <a:pt x="1321" y="245"/>
                </a:lnTo>
                <a:lnTo>
                  <a:pt x="1321" y="240"/>
                </a:lnTo>
                <a:lnTo>
                  <a:pt x="1320" y="245"/>
                </a:lnTo>
                <a:lnTo>
                  <a:pt x="1310" y="240"/>
                </a:lnTo>
                <a:lnTo>
                  <a:pt x="1314" y="238"/>
                </a:lnTo>
                <a:lnTo>
                  <a:pt x="1313" y="234"/>
                </a:lnTo>
                <a:lnTo>
                  <a:pt x="1328" y="226"/>
                </a:lnTo>
                <a:lnTo>
                  <a:pt x="1326" y="226"/>
                </a:lnTo>
                <a:lnTo>
                  <a:pt x="1352" y="222"/>
                </a:lnTo>
                <a:lnTo>
                  <a:pt x="1346" y="222"/>
                </a:lnTo>
                <a:lnTo>
                  <a:pt x="1350" y="219"/>
                </a:lnTo>
                <a:lnTo>
                  <a:pt x="1346" y="219"/>
                </a:lnTo>
                <a:lnTo>
                  <a:pt x="1350" y="218"/>
                </a:lnTo>
                <a:lnTo>
                  <a:pt x="1340" y="218"/>
                </a:lnTo>
                <a:lnTo>
                  <a:pt x="1335" y="216"/>
                </a:lnTo>
                <a:lnTo>
                  <a:pt x="1337" y="212"/>
                </a:lnTo>
                <a:lnTo>
                  <a:pt x="1337" y="210"/>
                </a:lnTo>
                <a:lnTo>
                  <a:pt x="1331" y="206"/>
                </a:lnTo>
                <a:lnTo>
                  <a:pt x="1333" y="200"/>
                </a:lnTo>
                <a:lnTo>
                  <a:pt x="1346" y="199"/>
                </a:lnTo>
                <a:lnTo>
                  <a:pt x="1357" y="200"/>
                </a:lnTo>
                <a:lnTo>
                  <a:pt x="1363" y="204"/>
                </a:lnTo>
                <a:lnTo>
                  <a:pt x="1368" y="212"/>
                </a:lnTo>
                <a:lnTo>
                  <a:pt x="1366" y="214"/>
                </a:lnTo>
                <a:lnTo>
                  <a:pt x="1369" y="212"/>
                </a:lnTo>
                <a:lnTo>
                  <a:pt x="1385" y="217"/>
                </a:lnTo>
                <a:lnTo>
                  <a:pt x="1384" y="214"/>
                </a:lnTo>
                <a:lnTo>
                  <a:pt x="1400" y="215"/>
                </a:lnTo>
                <a:lnTo>
                  <a:pt x="1396" y="212"/>
                </a:lnTo>
                <a:lnTo>
                  <a:pt x="1393" y="214"/>
                </a:lnTo>
                <a:lnTo>
                  <a:pt x="1381" y="214"/>
                </a:lnTo>
                <a:lnTo>
                  <a:pt x="1380" y="211"/>
                </a:lnTo>
                <a:lnTo>
                  <a:pt x="1380" y="211"/>
                </a:lnTo>
                <a:lnTo>
                  <a:pt x="1376" y="212"/>
                </a:lnTo>
                <a:lnTo>
                  <a:pt x="1369" y="210"/>
                </a:lnTo>
                <a:lnTo>
                  <a:pt x="1374" y="210"/>
                </a:lnTo>
                <a:lnTo>
                  <a:pt x="1380" y="211"/>
                </a:lnTo>
                <a:lnTo>
                  <a:pt x="1385" y="204"/>
                </a:lnTo>
                <a:lnTo>
                  <a:pt x="1380" y="207"/>
                </a:lnTo>
                <a:lnTo>
                  <a:pt x="1373" y="205"/>
                </a:lnTo>
                <a:lnTo>
                  <a:pt x="1377" y="202"/>
                </a:lnTo>
                <a:lnTo>
                  <a:pt x="1373" y="202"/>
                </a:lnTo>
                <a:lnTo>
                  <a:pt x="1370" y="202"/>
                </a:lnTo>
                <a:lnTo>
                  <a:pt x="1368" y="200"/>
                </a:lnTo>
                <a:lnTo>
                  <a:pt x="1377" y="194"/>
                </a:lnTo>
                <a:lnTo>
                  <a:pt x="1376" y="194"/>
                </a:lnTo>
                <a:lnTo>
                  <a:pt x="1377" y="190"/>
                </a:lnTo>
                <a:lnTo>
                  <a:pt x="1390" y="190"/>
                </a:lnTo>
                <a:lnTo>
                  <a:pt x="1380" y="189"/>
                </a:lnTo>
                <a:lnTo>
                  <a:pt x="1381" y="186"/>
                </a:lnTo>
                <a:lnTo>
                  <a:pt x="1384" y="186"/>
                </a:lnTo>
                <a:lnTo>
                  <a:pt x="1380" y="184"/>
                </a:lnTo>
                <a:lnTo>
                  <a:pt x="1384" y="176"/>
                </a:lnTo>
                <a:lnTo>
                  <a:pt x="1376" y="181"/>
                </a:lnTo>
                <a:lnTo>
                  <a:pt x="1379" y="184"/>
                </a:lnTo>
                <a:lnTo>
                  <a:pt x="1369" y="192"/>
                </a:lnTo>
                <a:lnTo>
                  <a:pt x="1357" y="193"/>
                </a:lnTo>
                <a:lnTo>
                  <a:pt x="1357" y="191"/>
                </a:lnTo>
                <a:lnTo>
                  <a:pt x="1352" y="194"/>
                </a:lnTo>
                <a:lnTo>
                  <a:pt x="1341" y="194"/>
                </a:lnTo>
                <a:lnTo>
                  <a:pt x="1347" y="190"/>
                </a:lnTo>
                <a:lnTo>
                  <a:pt x="1337" y="190"/>
                </a:lnTo>
                <a:lnTo>
                  <a:pt x="1337" y="181"/>
                </a:lnTo>
                <a:lnTo>
                  <a:pt x="1347" y="178"/>
                </a:lnTo>
                <a:lnTo>
                  <a:pt x="1350" y="178"/>
                </a:lnTo>
                <a:lnTo>
                  <a:pt x="1347" y="177"/>
                </a:lnTo>
                <a:lnTo>
                  <a:pt x="1350" y="172"/>
                </a:lnTo>
                <a:lnTo>
                  <a:pt x="1377" y="165"/>
                </a:lnTo>
                <a:lnTo>
                  <a:pt x="1396" y="170"/>
                </a:lnTo>
                <a:lnTo>
                  <a:pt x="1416" y="178"/>
                </a:lnTo>
                <a:lnTo>
                  <a:pt x="1418" y="178"/>
                </a:lnTo>
                <a:lnTo>
                  <a:pt x="1414" y="175"/>
                </a:lnTo>
                <a:lnTo>
                  <a:pt x="1420" y="174"/>
                </a:lnTo>
                <a:lnTo>
                  <a:pt x="1410" y="174"/>
                </a:lnTo>
                <a:lnTo>
                  <a:pt x="1403" y="170"/>
                </a:lnTo>
                <a:lnTo>
                  <a:pt x="1426" y="170"/>
                </a:lnTo>
                <a:lnTo>
                  <a:pt x="1426" y="164"/>
                </a:lnTo>
                <a:lnTo>
                  <a:pt x="1429" y="162"/>
                </a:lnTo>
                <a:lnTo>
                  <a:pt x="1415" y="166"/>
                </a:lnTo>
                <a:lnTo>
                  <a:pt x="1399" y="165"/>
                </a:lnTo>
                <a:lnTo>
                  <a:pt x="1392" y="159"/>
                </a:lnTo>
                <a:lnTo>
                  <a:pt x="1393" y="154"/>
                </a:lnTo>
                <a:lnTo>
                  <a:pt x="1387" y="157"/>
                </a:lnTo>
                <a:lnTo>
                  <a:pt x="1385" y="149"/>
                </a:lnTo>
                <a:lnTo>
                  <a:pt x="1379" y="147"/>
                </a:lnTo>
                <a:lnTo>
                  <a:pt x="1375" y="142"/>
                </a:lnTo>
                <a:lnTo>
                  <a:pt x="1353" y="137"/>
                </a:lnTo>
                <a:lnTo>
                  <a:pt x="1353" y="132"/>
                </a:lnTo>
                <a:lnTo>
                  <a:pt x="1357" y="131"/>
                </a:lnTo>
                <a:lnTo>
                  <a:pt x="1374" y="132"/>
                </a:lnTo>
                <a:lnTo>
                  <a:pt x="1357" y="130"/>
                </a:lnTo>
                <a:lnTo>
                  <a:pt x="1354" y="126"/>
                </a:lnTo>
                <a:lnTo>
                  <a:pt x="1355" y="119"/>
                </a:lnTo>
                <a:lnTo>
                  <a:pt x="1395" y="121"/>
                </a:lnTo>
                <a:lnTo>
                  <a:pt x="1420" y="135"/>
                </a:lnTo>
                <a:lnTo>
                  <a:pt x="1423" y="141"/>
                </a:lnTo>
                <a:lnTo>
                  <a:pt x="1426" y="145"/>
                </a:lnTo>
                <a:lnTo>
                  <a:pt x="1426" y="145"/>
                </a:lnTo>
                <a:lnTo>
                  <a:pt x="1430" y="142"/>
                </a:lnTo>
                <a:lnTo>
                  <a:pt x="1442" y="143"/>
                </a:lnTo>
                <a:lnTo>
                  <a:pt x="1453" y="141"/>
                </a:lnTo>
                <a:lnTo>
                  <a:pt x="1455" y="139"/>
                </a:lnTo>
                <a:lnTo>
                  <a:pt x="1439" y="141"/>
                </a:lnTo>
                <a:lnTo>
                  <a:pt x="1429" y="139"/>
                </a:lnTo>
                <a:lnTo>
                  <a:pt x="1427" y="132"/>
                </a:lnTo>
                <a:lnTo>
                  <a:pt x="1430" y="131"/>
                </a:lnTo>
                <a:lnTo>
                  <a:pt x="1420" y="130"/>
                </a:lnTo>
                <a:lnTo>
                  <a:pt x="1403" y="119"/>
                </a:lnTo>
                <a:lnTo>
                  <a:pt x="1448" y="112"/>
                </a:lnTo>
                <a:lnTo>
                  <a:pt x="1481" y="108"/>
                </a:lnTo>
                <a:lnTo>
                  <a:pt x="1452" y="107"/>
                </a:lnTo>
                <a:lnTo>
                  <a:pt x="1472" y="103"/>
                </a:lnTo>
                <a:lnTo>
                  <a:pt x="1503" y="101"/>
                </a:lnTo>
                <a:lnTo>
                  <a:pt x="1466" y="101"/>
                </a:lnTo>
                <a:lnTo>
                  <a:pt x="1466" y="94"/>
                </a:lnTo>
                <a:lnTo>
                  <a:pt x="1474" y="89"/>
                </a:lnTo>
                <a:lnTo>
                  <a:pt x="1497" y="79"/>
                </a:lnTo>
                <a:lnTo>
                  <a:pt x="1477" y="84"/>
                </a:lnTo>
                <a:lnTo>
                  <a:pt x="1467" y="91"/>
                </a:lnTo>
                <a:lnTo>
                  <a:pt x="1459" y="88"/>
                </a:lnTo>
                <a:lnTo>
                  <a:pt x="1463" y="91"/>
                </a:lnTo>
                <a:lnTo>
                  <a:pt x="1461" y="94"/>
                </a:lnTo>
                <a:lnTo>
                  <a:pt x="1463" y="95"/>
                </a:lnTo>
                <a:lnTo>
                  <a:pt x="1456" y="100"/>
                </a:lnTo>
                <a:lnTo>
                  <a:pt x="1437" y="106"/>
                </a:lnTo>
                <a:lnTo>
                  <a:pt x="1407" y="112"/>
                </a:lnTo>
                <a:lnTo>
                  <a:pt x="1403" y="108"/>
                </a:lnTo>
                <a:lnTo>
                  <a:pt x="1426" y="100"/>
                </a:lnTo>
                <a:lnTo>
                  <a:pt x="1402" y="106"/>
                </a:lnTo>
                <a:lnTo>
                  <a:pt x="1399" y="104"/>
                </a:lnTo>
                <a:lnTo>
                  <a:pt x="1403" y="101"/>
                </a:lnTo>
                <a:lnTo>
                  <a:pt x="1403" y="101"/>
                </a:lnTo>
                <a:lnTo>
                  <a:pt x="1395" y="102"/>
                </a:lnTo>
                <a:lnTo>
                  <a:pt x="1396" y="107"/>
                </a:lnTo>
                <a:lnTo>
                  <a:pt x="1395" y="112"/>
                </a:lnTo>
                <a:lnTo>
                  <a:pt x="1377" y="113"/>
                </a:lnTo>
                <a:lnTo>
                  <a:pt x="1365" y="112"/>
                </a:lnTo>
                <a:lnTo>
                  <a:pt x="1369" y="107"/>
                </a:lnTo>
                <a:lnTo>
                  <a:pt x="1362" y="112"/>
                </a:lnTo>
                <a:lnTo>
                  <a:pt x="1352" y="108"/>
                </a:lnTo>
                <a:lnTo>
                  <a:pt x="1369" y="96"/>
                </a:lnTo>
                <a:lnTo>
                  <a:pt x="1416" y="88"/>
                </a:lnTo>
                <a:lnTo>
                  <a:pt x="1368" y="93"/>
                </a:lnTo>
                <a:lnTo>
                  <a:pt x="1359" y="97"/>
                </a:lnTo>
                <a:lnTo>
                  <a:pt x="1346" y="109"/>
                </a:lnTo>
                <a:lnTo>
                  <a:pt x="1341" y="109"/>
                </a:lnTo>
                <a:lnTo>
                  <a:pt x="1314" y="97"/>
                </a:lnTo>
                <a:lnTo>
                  <a:pt x="1354" y="94"/>
                </a:lnTo>
                <a:lnTo>
                  <a:pt x="1382" y="84"/>
                </a:lnTo>
                <a:lnTo>
                  <a:pt x="1344" y="91"/>
                </a:lnTo>
                <a:lnTo>
                  <a:pt x="1307" y="94"/>
                </a:lnTo>
                <a:lnTo>
                  <a:pt x="1302" y="89"/>
                </a:lnTo>
                <a:lnTo>
                  <a:pt x="1306" y="85"/>
                </a:lnTo>
                <a:lnTo>
                  <a:pt x="1321" y="85"/>
                </a:lnTo>
                <a:lnTo>
                  <a:pt x="1306" y="83"/>
                </a:lnTo>
                <a:lnTo>
                  <a:pt x="1322" y="76"/>
                </a:lnTo>
                <a:lnTo>
                  <a:pt x="1346" y="77"/>
                </a:lnTo>
                <a:lnTo>
                  <a:pt x="1329" y="74"/>
                </a:lnTo>
                <a:lnTo>
                  <a:pt x="1300" y="81"/>
                </a:lnTo>
                <a:lnTo>
                  <a:pt x="1293" y="79"/>
                </a:lnTo>
                <a:lnTo>
                  <a:pt x="1312" y="73"/>
                </a:lnTo>
                <a:lnTo>
                  <a:pt x="1300" y="70"/>
                </a:lnTo>
                <a:lnTo>
                  <a:pt x="1281" y="76"/>
                </a:lnTo>
                <a:lnTo>
                  <a:pt x="1281" y="73"/>
                </a:lnTo>
                <a:lnTo>
                  <a:pt x="1281" y="73"/>
                </a:lnTo>
                <a:lnTo>
                  <a:pt x="1278" y="72"/>
                </a:lnTo>
                <a:close/>
                <a:moveTo>
                  <a:pt x="1366" y="184"/>
                </a:moveTo>
                <a:lnTo>
                  <a:pt x="1362" y="188"/>
                </a:lnTo>
                <a:lnTo>
                  <a:pt x="1364" y="188"/>
                </a:lnTo>
                <a:lnTo>
                  <a:pt x="1366" y="184"/>
                </a:lnTo>
                <a:close/>
                <a:moveTo>
                  <a:pt x="1418" y="193"/>
                </a:moveTo>
                <a:lnTo>
                  <a:pt x="1410" y="195"/>
                </a:lnTo>
                <a:lnTo>
                  <a:pt x="1412" y="199"/>
                </a:lnTo>
                <a:lnTo>
                  <a:pt x="1402" y="208"/>
                </a:lnTo>
                <a:lnTo>
                  <a:pt x="1398" y="211"/>
                </a:lnTo>
                <a:lnTo>
                  <a:pt x="1403" y="210"/>
                </a:lnTo>
                <a:lnTo>
                  <a:pt x="1415" y="198"/>
                </a:lnTo>
                <a:lnTo>
                  <a:pt x="1414" y="195"/>
                </a:lnTo>
                <a:lnTo>
                  <a:pt x="1418" y="193"/>
                </a:lnTo>
                <a:close/>
                <a:moveTo>
                  <a:pt x="1588" y="115"/>
                </a:moveTo>
                <a:lnTo>
                  <a:pt x="1589" y="118"/>
                </a:lnTo>
                <a:lnTo>
                  <a:pt x="1592" y="119"/>
                </a:lnTo>
                <a:lnTo>
                  <a:pt x="1593" y="118"/>
                </a:lnTo>
                <a:lnTo>
                  <a:pt x="1592" y="118"/>
                </a:lnTo>
                <a:lnTo>
                  <a:pt x="1588" y="115"/>
                </a:lnTo>
                <a:close/>
                <a:moveTo>
                  <a:pt x="2467" y="799"/>
                </a:moveTo>
                <a:lnTo>
                  <a:pt x="2465" y="799"/>
                </a:lnTo>
                <a:lnTo>
                  <a:pt x="2464" y="801"/>
                </a:lnTo>
                <a:lnTo>
                  <a:pt x="2468" y="802"/>
                </a:lnTo>
                <a:lnTo>
                  <a:pt x="2467" y="799"/>
                </a:lnTo>
                <a:close/>
                <a:moveTo>
                  <a:pt x="1280" y="73"/>
                </a:moveTo>
                <a:lnTo>
                  <a:pt x="1278" y="72"/>
                </a:lnTo>
                <a:lnTo>
                  <a:pt x="1277" y="72"/>
                </a:lnTo>
                <a:lnTo>
                  <a:pt x="1280" y="73"/>
                </a:lnTo>
                <a:close/>
                <a:moveTo>
                  <a:pt x="1638" y="521"/>
                </a:moveTo>
                <a:lnTo>
                  <a:pt x="1634" y="520"/>
                </a:lnTo>
                <a:lnTo>
                  <a:pt x="1637" y="522"/>
                </a:lnTo>
                <a:lnTo>
                  <a:pt x="1638" y="521"/>
                </a:lnTo>
                <a:close/>
                <a:moveTo>
                  <a:pt x="1633" y="520"/>
                </a:moveTo>
                <a:lnTo>
                  <a:pt x="1633" y="520"/>
                </a:lnTo>
                <a:lnTo>
                  <a:pt x="1634" y="520"/>
                </a:lnTo>
                <a:lnTo>
                  <a:pt x="1633" y="520"/>
                </a:lnTo>
                <a:close/>
                <a:moveTo>
                  <a:pt x="1667" y="570"/>
                </a:moveTo>
                <a:lnTo>
                  <a:pt x="1668" y="573"/>
                </a:lnTo>
                <a:lnTo>
                  <a:pt x="1671" y="572"/>
                </a:lnTo>
                <a:lnTo>
                  <a:pt x="1668" y="570"/>
                </a:lnTo>
                <a:lnTo>
                  <a:pt x="1667" y="570"/>
                </a:lnTo>
                <a:close/>
                <a:moveTo>
                  <a:pt x="1531" y="567"/>
                </a:moveTo>
                <a:lnTo>
                  <a:pt x="1536" y="568"/>
                </a:lnTo>
                <a:lnTo>
                  <a:pt x="1533" y="567"/>
                </a:lnTo>
                <a:lnTo>
                  <a:pt x="1531" y="567"/>
                </a:lnTo>
                <a:close/>
                <a:moveTo>
                  <a:pt x="1494" y="595"/>
                </a:moveTo>
                <a:lnTo>
                  <a:pt x="1498" y="595"/>
                </a:lnTo>
                <a:lnTo>
                  <a:pt x="1498" y="588"/>
                </a:lnTo>
                <a:lnTo>
                  <a:pt x="1493" y="591"/>
                </a:lnTo>
                <a:lnTo>
                  <a:pt x="1488" y="591"/>
                </a:lnTo>
                <a:lnTo>
                  <a:pt x="1494" y="595"/>
                </a:lnTo>
                <a:close/>
                <a:moveTo>
                  <a:pt x="1527" y="612"/>
                </a:moveTo>
                <a:lnTo>
                  <a:pt x="1539" y="616"/>
                </a:lnTo>
                <a:lnTo>
                  <a:pt x="1531" y="612"/>
                </a:lnTo>
                <a:lnTo>
                  <a:pt x="1527" y="612"/>
                </a:lnTo>
                <a:close/>
                <a:moveTo>
                  <a:pt x="1562" y="590"/>
                </a:moveTo>
                <a:lnTo>
                  <a:pt x="1564" y="590"/>
                </a:lnTo>
                <a:lnTo>
                  <a:pt x="1562" y="588"/>
                </a:lnTo>
                <a:lnTo>
                  <a:pt x="1562" y="590"/>
                </a:lnTo>
                <a:close/>
                <a:moveTo>
                  <a:pt x="1479" y="614"/>
                </a:moveTo>
                <a:lnTo>
                  <a:pt x="1482" y="614"/>
                </a:lnTo>
                <a:lnTo>
                  <a:pt x="1481" y="612"/>
                </a:lnTo>
                <a:lnTo>
                  <a:pt x="1479" y="614"/>
                </a:lnTo>
                <a:close/>
                <a:moveTo>
                  <a:pt x="1485" y="591"/>
                </a:moveTo>
                <a:lnTo>
                  <a:pt x="1477" y="590"/>
                </a:lnTo>
                <a:lnTo>
                  <a:pt x="1472" y="591"/>
                </a:lnTo>
                <a:lnTo>
                  <a:pt x="1481" y="600"/>
                </a:lnTo>
                <a:lnTo>
                  <a:pt x="1486" y="596"/>
                </a:lnTo>
                <a:lnTo>
                  <a:pt x="1485" y="591"/>
                </a:lnTo>
                <a:close/>
                <a:moveTo>
                  <a:pt x="1485" y="612"/>
                </a:moveTo>
                <a:lnTo>
                  <a:pt x="1483" y="612"/>
                </a:lnTo>
                <a:lnTo>
                  <a:pt x="1483" y="614"/>
                </a:lnTo>
                <a:lnTo>
                  <a:pt x="1485" y="612"/>
                </a:lnTo>
                <a:close/>
                <a:moveTo>
                  <a:pt x="1625" y="660"/>
                </a:moveTo>
                <a:lnTo>
                  <a:pt x="1623" y="658"/>
                </a:lnTo>
                <a:lnTo>
                  <a:pt x="1619" y="665"/>
                </a:lnTo>
                <a:lnTo>
                  <a:pt x="1626" y="662"/>
                </a:lnTo>
                <a:lnTo>
                  <a:pt x="1628" y="661"/>
                </a:lnTo>
                <a:lnTo>
                  <a:pt x="1625" y="660"/>
                </a:lnTo>
                <a:close/>
                <a:moveTo>
                  <a:pt x="1630" y="705"/>
                </a:moveTo>
                <a:lnTo>
                  <a:pt x="1628" y="705"/>
                </a:lnTo>
                <a:lnTo>
                  <a:pt x="1626" y="705"/>
                </a:lnTo>
                <a:lnTo>
                  <a:pt x="1628" y="709"/>
                </a:lnTo>
                <a:lnTo>
                  <a:pt x="1630" y="705"/>
                </a:lnTo>
                <a:close/>
                <a:moveTo>
                  <a:pt x="1638" y="600"/>
                </a:moveTo>
                <a:lnTo>
                  <a:pt x="1638" y="600"/>
                </a:lnTo>
                <a:lnTo>
                  <a:pt x="1641" y="604"/>
                </a:lnTo>
                <a:lnTo>
                  <a:pt x="1640" y="602"/>
                </a:lnTo>
                <a:lnTo>
                  <a:pt x="1638" y="600"/>
                </a:lnTo>
                <a:close/>
                <a:moveTo>
                  <a:pt x="1465" y="750"/>
                </a:moveTo>
                <a:lnTo>
                  <a:pt x="1466" y="747"/>
                </a:lnTo>
                <a:lnTo>
                  <a:pt x="1461" y="745"/>
                </a:lnTo>
                <a:lnTo>
                  <a:pt x="1460" y="752"/>
                </a:lnTo>
                <a:lnTo>
                  <a:pt x="1459" y="754"/>
                </a:lnTo>
                <a:lnTo>
                  <a:pt x="1455" y="763"/>
                </a:lnTo>
                <a:lnTo>
                  <a:pt x="1460" y="760"/>
                </a:lnTo>
                <a:lnTo>
                  <a:pt x="1463" y="752"/>
                </a:lnTo>
                <a:lnTo>
                  <a:pt x="1461" y="760"/>
                </a:lnTo>
                <a:lnTo>
                  <a:pt x="1465" y="750"/>
                </a:lnTo>
                <a:lnTo>
                  <a:pt x="1463" y="759"/>
                </a:lnTo>
                <a:lnTo>
                  <a:pt x="1466" y="748"/>
                </a:lnTo>
                <a:lnTo>
                  <a:pt x="1465" y="750"/>
                </a:lnTo>
                <a:close/>
                <a:moveTo>
                  <a:pt x="1631" y="706"/>
                </a:moveTo>
                <a:lnTo>
                  <a:pt x="1630" y="709"/>
                </a:lnTo>
                <a:lnTo>
                  <a:pt x="1631" y="709"/>
                </a:lnTo>
                <a:lnTo>
                  <a:pt x="1631" y="706"/>
                </a:lnTo>
                <a:close/>
                <a:moveTo>
                  <a:pt x="1596" y="648"/>
                </a:moveTo>
                <a:lnTo>
                  <a:pt x="1594" y="648"/>
                </a:lnTo>
                <a:lnTo>
                  <a:pt x="1596" y="649"/>
                </a:lnTo>
                <a:lnTo>
                  <a:pt x="1596" y="648"/>
                </a:lnTo>
                <a:close/>
                <a:moveTo>
                  <a:pt x="2517" y="630"/>
                </a:moveTo>
                <a:lnTo>
                  <a:pt x="2512" y="627"/>
                </a:lnTo>
                <a:lnTo>
                  <a:pt x="2517" y="630"/>
                </a:lnTo>
                <a:lnTo>
                  <a:pt x="2517" y="630"/>
                </a:lnTo>
                <a:close/>
                <a:moveTo>
                  <a:pt x="1453" y="724"/>
                </a:moveTo>
                <a:lnTo>
                  <a:pt x="1453" y="728"/>
                </a:lnTo>
                <a:lnTo>
                  <a:pt x="1455" y="723"/>
                </a:lnTo>
                <a:lnTo>
                  <a:pt x="1453" y="724"/>
                </a:lnTo>
                <a:close/>
                <a:moveTo>
                  <a:pt x="1453" y="740"/>
                </a:moveTo>
                <a:lnTo>
                  <a:pt x="1452" y="741"/>
                </a:lnTo>
                <a:lnTo>
                  <a:pt x="1453" y="741"/>
                </a:lnTo>
                <a:lnTo>
                  <a:pt x="1453" y="740"/>
                </a:lnTo>
                <a:close/>
                <a:moveTo>
                  <a:pt x="1455" y="738"/>
                </a:moveTo>
                <a:lnTo>
                  <a:pt x="1453" y="740"/>
                </a:lnTo>
                <a:lnTo>
                  <a:pt x="1455" y="741"/>
                </a:lnTo>
                <a:lnTo>
                  <a:pt x="1455" y="738"/>
                </a:lnTo>
                <a:close/>
                <a:moveTo>
                  <a:pt x="1448" y="679"/>
                </a:moveTo>
                <a:lnTo>
                  <a:pt x="1448" y="677"/>
                </a:lnTo>
                <a:lnTo>
                  <a:pt x="1447" y="679"/>
                </a:lnTo>
                <a:lnTo>
                  <a:pt x="1448" y="679"/>
                </a:lnTo>
                <a:close/>
                <a:moveTo>
                  <a:pt x="1457" y="630"/>
                </a:moveTo>
                <a:lnTo>
                  <a:pt x="1458" y="622"/>
                </a:lnTo>
                <a:lnTo>
                  <a:pt x="1458" y="620"/>
                </a:lnTo>
                <a:lnTo>
                  <a:pt x="1460" y="616"/>
                </a:lnTo>
                <a:lnTo>
                  <a:pt x="1452" y="616"/>
                </a:lnTo>
                <a:lnTo>
                  <a:pt x="1446" y="624"/>
                </a:lnTo>
                <a:lnTo>
                  <a:pt x="1446" y="630"/>
                </a:lnTo>
                <a:lnTo>
                  <a:pt x="1452" y="637"/>
                </a:lnTo>
                <a:lnTo>
                  <a:pt x="1456" y="635"/>
                </a:lnTo>
                <a:lnTo>
                  <a:pt x="1457" y="630"/>
                </a:lnTo>
                <a:close/>
                <a:moveTo>
                  <a:pt x="1408" y="525"/>
                </a:moveTo>
                <a:lnTo>
                  <a:pt x="1403" y="523"/>
                </a:lnTo>
                <a:lnTo>
                  <a:pt x="1407" y="527"/>
                </a:lnTo>
                <a:lnTo>
                  <a:pt x="1408" y="525"/>
                </a:lnTo>
                <a:close/>
                <a:moveTo>
                  <a:pt x="1466" y="756"/>
                </a:moveTo>
                <a:lnTo>
                  <a:pt x="1463" y="763"/>
                </a:lnTo>
                <a:lnTo>
                  <a:pt x="1466" y="757"/>
                </a:lnTo>
                <a:lnTo>
                  <a:pt x="1466" y="756"/>
                </a:lnTo>
                <a:close/>
                <a:moveTo>
                  <a:pt x="1653" y="624"/>
                </a:moveTo>
                <a:lnTo>
                  <a:pt x="1655" y="624"/>
                </a:lnTo>
                <a:lnTo>
                  <a:pt x="1655" y="622"/>
                </a:lnTo>
                <a:lnTo>
                  <a:pt x="1653" y="624"/>
                </a:lnTo>
                <a:close/>
                <a:moveTo>
                  <a:pt x="1448" y="677"/>
                </a:moveTo>
                <a:lnTo>
                  <a:pt x="1452" y="676"/>
                </a:lnTo>
                <a:lnTo>
                  <a:pt x="1452" y="673"/>
                </a:lnTo>
                <a:lnTo>
                  <a:pt x="1448" y="677"/>
                </a:lnTo>
                <a:close/>
                <a:moveTo>
                  <a:pt x="1692" y="498"/>
                </a:moveTo>
                <a:lnTo>
                  <a:pt x="1689" y="497"/>
                </a:lnTo>
                <a:lnTo>
                  <a:pt x="1686" y="499"/>
                </a:lnTo>
                <a:lnTo>
                  <a:pt x="1691" y="499"/>
                </a:lnTo>
                <a:lnTo>
                  <a:pt x="1692" y="498"/>
                </a:lnTo>
                <a:close/>
                <a:moveTo>
                  <a:pt x="1395" y="539"/>
                </a:moveTo>
                <a:lnTo>
                  <a:pt x="1402" y="539"/>
                </a:lnTo>
                <a:lnTo>
                  <a:pt x="1403" y="538"/>
                </a:lnTo>
                <a:lnTo>
                  <a:pt x="1396" y="535"/>
                </a:lnTo>
                <a:lnTo>
                  <a:pt x="1395" y="539"/>
                </a:lnTo>
                <a:close/>
                <a:moveTo>
                  <a:pt x="1400" y="620"/>
                </a:moveTo>
                <a:lnTo>
                  <a:pt x="1407" y="622"/>
                </a:lnTo>
                <a:lnTo>
                  <a:pt x="1422" y="610"/>
                </a:lnTo>
                <a:lnTo>
                  <a:pt x="1425" y="605"/>
                </a:lnTo>
                <a:lnTo>
                  <a:pt x="1420" y="604"/>
                </a:lnTo>
                <a:lnTo>
                  <a:pt x="1407" y="607"/>
                </a:lnTo>
                <a:lnTo>
                  <a:pt x="1402" y="605"/>
                </a:lnTo>
                <a:lnTo>
                  <a:pt x="1392" y="616"/>
                </a:lnTo>
                <a:lnTo>
                  <a:pt x="1393" y="619"/>
                </a:lnTo>
                <a:lnTo>
                  <a:pt x="1393" y="624"/>
                </a:lnTo>
                <a:lnTo>
                  <a:pt x="1400" y="620"/>
                </a:lnTo>
                <a:close/>
                <a:moveTo>
                  <a:pt x="1442" y="582"/>
                </a:moveTo>
                <a:lnTo>
                  <a:pt x="1442" y="580"/>
                </a:lnTo>
                <a:lnTo>
                  <a:pt x="1442" y="579"/>
                </a:lnTo>
                <a:lnTo>
                  <a:pt x="1437" y="576"/>
                </a:lnTo>
                <a:lnTo>
                  <a:pt x="1434" y="577"/>
                </a:lnTo>
                <a:lnTo>
                  <a:pt x="1434" y="579"/>
                </a:lnTo>
                <a:lnTo>
                  <a:pt x="1429" y="577"/>
                </a:lnTo>
                <a:lnTo>
                  <a:pt x="1422" y="579"/>
                </a:lnTo>
                <a:lnTo>
                  <a:pt x="1427" y="576"/>
                </a:lnTo>
                <a:lnTo>
                  <a:pt x="1426" y="572"/>
                </a:lnTo>
                <a:lnTo>
                  <a:pt x="1426" y="567"/>
                </a:lnTo>
                <a:lnTo>
                  <a:pt x="1420" y="562"/>
                </a:lnTo>
                <a:lnTo>
                  <a:pt x="1403" y="556"/>
                </a:lnTo>
                <a:lnTo>
                  <a:pt x="1402" y="550"/>
                </a:lnTo>
                <a:lnTo>
                  <a:pt x="1390" y="549"/>
                </a:lnTo>
                <a:lnTo>
                  <a:pt x="1388" y="546"/>
                </a:lnTo>
                <a:lnTo>
                  <a:pt x="1390" y="546"/>
                </a:lnTo>
                <a:lnTo>
                  <a:pt x="1385" y="545"/>
                </a:lnTo>
                <a:lnTo>
                  <a:pt x="1384" y="544"/>
                </a:lnTo>
                <a:lnTo>
                  <a:pt x="1381" y="551"/>
                </a:lnTo>
                <a:lnTo>
                  <a:pt x="1380" y="551"/>
                </a:lnTo>
                <a:lnTo>
                  <a:pt x="1377" y="545"/>
                </a:lnTo>
                <a:lnTo>
                  <a:pt x="1373" y="541"/>
                </a:lnTo>
                <a:lnTo>
                  <a:pt x="1377" y="541"/>
                </a:lnTo>
                <a:lnTo>
                  <a:pt x="1376" y="539"/>
                </a:lnTo>
                <a:lnTo>
                  <a:pt x="1369" y="539"/>
                </a:lnTo>
                <a:lnTo>
                  <a:pt x="1369" y="533"/>
                </a:lnTo>
                <a:lnTo>
                  <a:pt x="1362" y="535"/>
                </a:lnTo>
                <a:lnTo>
                  <a:pt x="1361" y="546"/>
                </a:lnTo>
                <a:lnTo>
                  <a:pt x="1361" y="552"/>
                </a:lnTo>
                <a:lnTo>
                  <a:pt x="1359" y="556"/>
                </a:lnTo>
                <a:lnTo>
                  <a:pt x="1361" y="558"/>
                </a:lnTo>
                <a:lnTo>
                  <a:pt x="1357" y="564"/>
                </a:lnTo>
                <a:lnTo>
                  <a:pt x="1357" y="568"/>
                </a:lnTo>
                <a:lnTo>
                  <a:pt x="1359" y="577"/>
                </a:lnTo>
                <a:lnTo>
                  <a:pt x="1350" y="580"/>
                </a:lnTo>
                <a:lnTo>
                  <a:pt x="1346" y="587"/>
                </a:lnTo>
                <a:lnTo>
                  <a:pt x="1350" y="590"/>
                </a:lnTo>
                <a:lnTo>
                  <a:pt x="1355" y="587"/>
                </a:lnTo>
                <a:lnTo>
                  <a:pt x="1368" y="585"/>
                </a:lnTo>
                <a:lnTo>
                  <a:pt x="1369" y="587"/>
                </a:lnTo>
                <a:lnTo>
                  <a:pt x="1368" y="592"/>
                </a:lnTo>
                <a:lnTo>
                  <a:pt x="1369" y="598"/>
                </a:lnTo>
                <a:lnTo>
                  <a:pt x="1374" y="600"/>
                </a:lnTo>
                <a:lnTo>
                  <a:pt x="1384" y="595"/>
                </a:lnTo>
                <a:lnTo>
                  <a:pt x="1387" y="588"/>
                </a:lnTo>
                <a:lnTo>
                  <a:pt x="1397" y="584"/>
                </a:lnTo>
                <a:lnTo>
                  <a:pt x="1397" y="580"/>
                </a:lnTo>
                <a:lnTo>
                  <a:pt x="1395" y="579"/>
                </a:lnTo>
                <a:lnTo>
                  <a:pt x="1398" y="577"/>
                </a:lnTo>
                <a:lnTo>
                  <a:pt x="1407" y="573"/>
                </a:lnTo>
                <a:lnTo>
                  <a:pt x="1408" y="576"/>
                </a:lnTo>
                <a:lnTo>
                  <a:pt x="1403" y="580"/>
                </a:lnTo>
                <a:lnTo>
                  <a:pt x="1407" y="583"/>
                </a:lnTo>
                <a:lnTo>
                  <a:pt x="1414" y="583"/>
                </a:lnTo>
                <a:lnTo>
                  <a:pt x="1414" y="584"/>
                </a:lnTo>
                <a:lnTo>
                  <a:pt x="1414" y="585"/>
                </a:lnTo>
                <a:lnTo>
                  <a:pt x="1414" y="591"/>
                </a:lnTo>
                <a:lnTo>
                  <a:pt x="1422" y="591"/>
                </a:lnTo>
                <a:lnTo>
                  <a:pt x="1436" y="593"/>
                </a:lnTo>
                <a:lnTo>
                  <a:pt x="1448" y="584"/>
                </a:lnTo>
                <a:lnTo>
                  <a:pt x="1442" y="582"/>
                </a:lnTo>
                <a:close/>
                <a:moveTo>
                  <a:pt x="1384" y="540"/>
                </a:moveTo>
                <a:lnTo>
                  <a:pt x="1380" y="535"/>
                </a:lnTo>
                <a:lnTo>
                  <a:pt x="1373" y="535"/>
                </a:lnTo>
                <a:lnTo>
                  <a:pt x="1373" y="535"/>
                </a:lnTo>
                <a:lnTo>
                  <a:pt x="1380" y="542"/>
                </a:lnTo>
                <a:lnTo>
                  <a:pt x="1384" y="540"/>
                </a:lnTo>
                <a:close/>
                <a:moveTo>
                  <a:pt x="1393" y="539"/>
                </a:moveTo>
                <a:lnTo>
                  <a:pt x="1393" y="533"/>
                </a:lnTo>
                <a:lnTo>
                  <a:pt x="1392" y="530"/>
                </a:lnTo>
                <a:lnTo>
                  <a:pt x="1385" y="527"/>
                </a:lnTo>
                <a:lnTo>
                  <a:pt x="1386" y="530"/>
                </a:lnTo>
                <a:lnTo>
                  <a:pt x="1389" y="533"/>
                </a:lnTo>
                <a:lnTo>
                  <a:pt x="1389" y="539"/>
                </a:lnTo>
                <a:lnTo>
                  <a:pt x="1393" y="539"/>
                </a:lnTo>
                <a:close/>
                <a:moveTo>
                  <a:pt x="1438" y="821"/>
                </a:moveTo>
                <a:lnTo>
                  <a:pt x="1436" y="816"/>
                </a:lnTo>
                <a:lnTo>
                  <a:pt x="1425" y="816"/>
                </a:lnTo>
                <a:lnTo>
                  <a:pt x="1420" y="818"/>
                </a:lnTo>
                <a:lnTo>
                  <a:pt x="1438" y="824"/>
                </a:lnTo>
                <a:lnTo>
                  <a:pt x="1438" y="821"/>
                </a:lnTo>
                <a:close/>
                <a:moveTo>
                  <a:pt x="1721" y="741"/>
                </a:moveTo>
                <a:lnTo>
                  <a:pt x="1719" y="741"/>
                </a:lnTo>
                <a:lnTo>
                  <a:pt x="1721" y="744"/>
                </a:lnTo>
                <a:lnTo>
                  <a:pt x="1721" y="741"/>
                </a:lnTo>
                <a:close/>
                <a:moveTo>
                  <a:pt x="1720" y="738"/>
                </a:moveTo>
                <a:lnTo>
                  <a:pt x="1719" y="741"/>
                </a:lnTo>
                <a:lnTo>
                  <a:pt x="1721" y="738"/>
                </a:lnTo>
                <a:lnTo>
                  <a:pt x="1720" y="738"/>
                </a:lnTo>
                <a:close/>
                <a:moveTo>
                  <a:pt x="1715" y="748"/>
                </a:moveTo>
                <a:lnTo>
                  <a:pt x="1721" y="751"/>
                </a:lnTo>
                <a:lnTo>
                  <a:pt x="1719" y="748"/>
                </a:lnTo>
                <a:lnTo>
                  <a:pt x="1715" y="748"/>
                </a:lnTo>
                <a:close/>
                <a:moveTo>
                  <a:pt x="1716" y="722"/>
                </a:moveTo>
                <a:lnTo>
                  <a:pt x="1719" y="721"/>
                </a:lnTo>
                <a:lnTo>
                  <a:pt x="1715" y="718"/>
                </a:lnTo>
                <a:lnTo>
                  <a:pt x="1713" y="721"/>
                </a:lnTo>
                <a:lnTo>
                  <a:pt x="1716" y="722"/>
                </a:lnTo>
                <a:close/>
                <a:moveTo>
                  <a:pt x="1691" y="556"/>
                </a:moveTo>
                <a:lnTo>
                  <a:pt x="1694" y="557"/>
                </a:lnTo>
                <a:lnTo>
                  <a:pt x="1693" y="556"/>
                </a:lnTo>
                <a:lnTo>
                  <a:pt x="1691" y="556"/>
                </a:lnTo>
                <a:close/>
                <a:moveTo>
                  <a:pt x="1721" y="747"/>
                </a:moveTo>
                <a:lnTo>
                  <a:pt x="1724" y="747"/>
                </a:lnTo>
                <a:lnTo>
                  <a:pt x="1719" y="745"/>
                </a:lnTo>
                <a:lnTo>
                  <a:pt x="1721" y="747"/>
                </a:lnTo>
                <a:close/>
                <a:moveTo>
                  <a:pt x="1710" y="533"/>
                </a:moveTo>
                <a:lnTo>
                  <a:pt x="1708" y="531"/>
                </a:lnTo>
                <a:lnTo>
                  <a:pt x="1710" y="534"/>
                </a:lnTo>
                <a:lnTo>
                  <a:pt x="1710" y="533"/>
                </a:lnTo>
                <a:close/>
                <a:moveTo>
                  <a:pt x="1705" y="538"/>
                </a:moveTo>
                <a:lnTo>
                  <a:pt x="1708" y="539"/>
                </a:lnTo>
                <a:lnTo>
                  <a:pt x="1710" y="539"/>
                </a:lnTo>
                <a:lnTo>
                  <a:pt x="1708" y="538"/>
                </a:lnTo>
                <a:lnTo>
                  <a:pt x="1705" y="538"/>
                </a:lnTo>
                <a:close/>
                <a:moveTo>
                  <a:pt x="2521" y="618"/>
                </a:moveTo>
                <a:lnTo>
                  <a:pt x="2518" y="617"/>
                </a:lnTo>
                <a:lnTo>
                  <a:pt x="2517" y="618"/>
                </a:lnTo>
                <a:lnTo>
                  <a:pt x="2518" y="621"/>
                </a:lnTo>
                <a:lnTo>
                  <a:pt x="2521" y="618"/>
                </a:lnTo>
                <a:close/>
                <a:moveTo>
                  <a:pt x="1726" y="760"/>
                </a:moveTo>
                <a:lnTo>
                  <a:pt x="1727" y="759"/>
                </a:lnTo>
                <a:lnTo>
                  <a:pt x="1726" y="759"/>
                </a:lnTo>
                <a:lnTo>
                  <a:pt x="1726" y="760"/>
                </a:lnTo>
                <a:close/>
                <a:moveTo>
                  <a:pt x="1727" y="757"/>
                </a:moveTo>
                <a:lnTo>
                  <a:pt x="1726" y="754"/>
                </a:lnTo>
                <a:lnTo>
                  <a:pt x="1723" y="756"/>
                </a:lnTo>
                <a:lnTo>
                  <a:pt x="1727" y="757"/>
                </a:lnTo>
                <a:close/>
                <a:moveTo>
                  <a:pt x="1707" y="503"/>
                </a:moveTo>
                <a:lnTo>
                  <a:pt x="1704" y="503"/>
                </a:lnTo>
                <a:lnTo>
                  <a:pt x="1699" y="504"/>
                </a:lnTo>
                <a:lnTo>
                  <a:pt x="1701" y="506"/>
                </a:lnTo>
                <a:lnTo>
                  <a:pt x="1707" y="503"/>
                </a:lnTo>
                <a:close/>
                <a:moveTo>
                  <a:pt x="1729" y="759"/>
                </a:moveTo>
                <a:lnTo>
                  <a:pt x="1727" y="760"/>
                </a:lnTo>
                <a:lnTo>
                  <a:pt x="1731" y="759"/>
                </a:lnTo>
                <a:lnTo>
                  <a:pt x="1729" y="759"/>
                </a:lnTo>
                <a:close/>
                <a:moveTo>
                  <a:pt x="1724" y="743"/>
                </a:moveTo>
                <a:lnTo>
                  <a:pt x="1724" y="744"/>
                </a:lnTo>
                <a:lnTo>
                  <a:pt x="1726" y="743"/>
                </a:lnTo>
                <a:lnTo>
                  <a:pt x="1724" y="743"/>
                </a:lnTo>
                <a:close/>
                <a:moveTo>
                  <a:pt x="1681" y="587"/>
                </a:moveTo>
                <a:lnTo>
                  <a:pt x="1680" y="588"/>
                </a:lnTo>
                <a:lnTo>
                  <a:pt x="1681" y="591"/>
                </a:lnTo>
                <a:lnTo>
                  <a:pt x="1681" y="587"/>
                </a:lnTo>
                <a:close/>
                <a:moveTo>
                  <a:pt x="1672" y="631"/>
                </a:moveTo>
                <a:lnTo>
                  <a:pt x="1667" y="627"/>
                </a:lnTo>
                <a:lnTo>
                  <a:pt x="1665" y="626"/>
                </a:lnTo>
                <a:lnTo>
                  <a:pt x="1665" y="627"/>
                </a:lnTo>
                <a:lnTo>
                  <a:pt x="1671" y="631"/>
                </a:lnTo>
                <a:lnTo>
                  <a:pt x="1672" y="631"/>
                </a:lnTo>
                <a:close/>
                <a:moveTo>
                  <a:pt x="1640" y="520"/>
                </a:moveTo>
                <a:lnTo>
                  <a:pt x="1641" y="520"/>
                </a:lnTo>
                <a:lnTo>
                  <a:pt x="1640" y="519"/>
                </a:lnTo>
                <a:lnTo>
                  <a:pt x="1640" y="520"/>
                </a:lnTo>
                <a:close/>
                <a:moveTo>
                  <a:pt x="1680" y="676"/>
                </a:moveTo>
                <a:lnTo>
                  <a:pt x="1680" y="676"/>
                </a:lnTo>
                <a:lnTo>
                  <a:pt x="1680" y="676"/>
                </a:lnTo>
                <a:lnTo>
                  <a:pt x="1680" y="676"/>
                </a:lnTo>
                <a:close/>
                <a:moveTo>
                  <a:pt x="1670" y="642"/>
                </a:moveTo>
                <a:lnTo>
                  <a:pt x="1671" y="638"/>
                </a:lnTo>
                <a:lnTo>
                  <a:pt x="1671" y="637"/>
                </a:lnTo>
                <a:lnTo>
                  <a:pt x="1671" y="635"/>
                </a:lnTo>
                <a:lnTo>
                  <a:pt x="1667" y="633"/>
                </a:lnTo>
                <a:lnTo>
                  <a:pt x="1660" y="635"/>
                </a:lnTo>
                <a:lnTo>
                  <a:pt x="1670" y="642"/>
                </a:lnTo>
                <a:close/>
                <a:moveTo>
                  <a:pt x="1671" y="592"/>
                </a:moveTo>
                <a:lnTo>
                  <a:pt x="1671" y="590"/>
                </a:lnTo>
                <a:lnTo>
                  <a:pt x="1668" y="590"/>
                </a:lnTo>
                <a:lnTo>
                  <a:pt x="1671" y="592"/>
                </a:lnTo>
                <a:close/>
                <a:moveTo>
                  <a:pt x="1676" y="662"/>
                </a:moveTo>
                <a:lnTo>
                  <a:pt x="1674" y="661"/>
                </a:lnTo>
                <a:lnTo>
                  <a:pt x="1671" y="661"/>
                </a:lnTo>
                <a:lnTo>
                  <a:pt x="1676" y="665"/>
                </a:lnTo>
                <a:lnTo>
                  <a:pt x="1676" y="662"/>
                </a:lnTo>
                <a:close/>
                <a:moveTo>
                  <a:pt x="1679" y="584"/>
                </a:moveTo>
                <a:lnTo>
                  <a:pt x="1679" y="585"/>
                </a:lnTo>
                <a:lnTo>
                  <a:pt x="1680" y="585"/>
                </a:lnTo>
                <a:lnTo>
                  <a:pt x="1679" y="584"/>
                </a:lnTo>
                <a:close/>
                <a:moveTo>
                  <a:pt x="1672" y="616"/>
                </a:moveTo>
                <a:lnTo>
                  <a:pt x="1668" y="616"/>
                </a:lnTo>
                <a:lnTo>
                  <a:pt x="1675" y="617"/>
                </a:lnTo>
                <a:lnTo>
                  <a:pt x="1679" y="616"/>
                </a:lnTo>
                <a:lnTo>
                  <a:pt x="1672" y="616"/>
                </a:lnTo>
                <a:close/>
                <a:moveTo>
                  <a:pt x="1675" y="572"/>
                </a:moveTo>
                <a:lnTo>
                  <a:pt x="1674" y="572"/>
                </a:lnTo>
                <a:lnTo>
                  <a:pt x="1676" y="573"/>
                </a:lnTo>
                <a:lnTo>
                  <a:pt x="1675" y="572"/>
                </a:lnTo>
                <a:close/>
                <a:moveTo>
                  <a:pt x="1679" y="585"/>
                </a:moveTo>
                <a:lnTo>
                  <a:pt x="1676" y="584"/>
                </a:lnTo>
                <a:lnTo>
                  <a:pt x="1675" y="584"/>
                </a:lnTo>
                <a:lnTo>
                  <a:pt x="1675" y="582"/>
                </a:lnTo>
                <a:lnTo>
                  <a:pt x="1671" y="584"/>
                </a:lnTo>
                <a:lnTo>
                  <a:pt x="1679" y="585"/>
                </a:lnTo>
                <a:close/>
                <a:moveTo>
                  <a:pt x="1659" y="631"/>
                </a:moveTo>
                <a:lnTo>
                  <a:pt x="1659" y="630"/>
                </a:lnTo>
                <a:lnTo>
                  <a:pt x="1653" y="631"/>
                </a:lnTo>
                <a:lnTo>
                  <a:pt x="1659" y="631"/>
                </a:lnTo>
                <a:close/>
                <a:moveTo>
                  <a:pt x="1671" y="568"/>
                </a:moveTo>
                <a:lnTo>
                  <a:pt x="1668" y="568"/>
                </a:lnTo>
                <a:lnTo>
                  <a:pt x="1671" y="572"/>
                </a:lnTo>
                <a:lnTo>
                  <a:pt x="1672" y="570"/>
                </a:lnTo>
                <a:lnTo>
                  <a:pt x="1671" y="568"/>
                </a:lnTo>
                <a:close/>
                <a:moveTo>
                  <a:pt x="1681" y="582"/>
                </a:moveTo>
                <a:lnTo>
                  <a:pt x="1679" y="582"/>
                </a:lnTo>
                <a:lnTo>
                  <a:pt x="1681" y="584"/>
                </a:lnTo>
                <a:lnTo>
                  <a:pt x="1681" y="582"/>
                </a:lnTo>
                <a:close/>
                <a:moveTo>
                  <a:pt x="1458" y="745"/>
                </a:moveTo>
                <a:lnTo>
                  <a:pt x="1453" y="748"/>
                </a:lnTo>
                <a:lnTo>
                  <a:pt x="1446" y="751"/>
                </a:lnTo>
                <a:lnTo>
                  <a:pt x="1446" y="754"/>
                </a:lnTo>
                <a:lnTo>
                  <a:pt x="1454" y="751"/>
                </a:lnTo>
                <a:lnTo>
                  <a:pt x="1458" y="745"/>
                </a:lnTo>
                <a:close/>
                <a:moveTo>
                  <a:pt x="672" y="759"/>
                </a:moveTo>
                <a:lnTo>
                  <a:pt x="672" y="758"/>
                </a:lnTo>
                <a:lnTo>
                  <a:pt x="670" y="759"/>
                </a:lnTo>
                <a:lnTo>
                  <a:pt x="672" y="759"/>
                </a:lnTo>
                <a:close/>
                <a:moveTo>
                  <a:pt x="751" y="834"/>
                </a:moveTo>
                <a:lnTo>
                  <a:pt x="750" y="834"/>
                </a:lnTo>
                <a:lnTo>
                  <a:pt x="751" y="836"/>
                </a:lnTo>
                <a:lnTo>
                  <a:pt x="751" y="834"/>
                </a:lnTo>
                <a:lnTo>
                  <a:pt x="751" y="834"/>
                </a:lnTo>
                <a:lnTo>
                  <a:pt x="751" y="834"/>
                </a:lnTo>
                <a:lnTo>
                  <a:pt x="751" y="834"/>
                </a:lnTo>
                <a:lnTo>
                  <a:pt x="751" y="834"/>
                </a:lnTo>
                <a:close/>
                <a:moveTo>
                  <a:pt x="731" y="816"/>
                </a:moveTo>
                <a:lnTo>
                  <a:pt x="731" y="815"/>
                </a:lnTo>
                <a:lnTo>
                  <a:pt x="731" y="816"/>
                </a:lnTo>
                <a:lnTo>
                  <a:pt x="731" y="816"/>
                </a:lnTo>
                <a:close/>
                <a:moveTo>
                  <a:pt x="752" y="836"/>
                </a:moveTo>
                <a:lnTo>
                  <a:pt x="751" y="836"/>
                </a:lnTo>
                <a:lnTo>
                  <a:pt x="751" y="839"/>
                </a:lnTo>
                <a:lnTo>
                  <a:pt x="752" y="836"/>
                </a:lnTo>
                <a:close/>
                <a:moveTo>
                  <a:pt x="722" y="795"/>
                </a:moveTo>
                <a:lnTo>
                  <a:pt x="722" y="797"/>
                </a:lnTo>
                <a:lnTo>
                  <a:pt x="723" y="796"/>
                </a:lnTo>
                <a:lnTo>
                  <a:pt x="723" y="795"/>
                </a:lnTo>
                <a:lnTo>
                  <a:pt x="722" y="795"/>
                </a:lnTo>
                <a:close/>
                <a:moveTo>
                  <a:pt x="724" y="802"/>
                </a:moveTo>
                <a:lnTo>
                  <a:pt x="725" y="803"/>
                </a:lnTo>
                <a:lnTo>
                  <a:pt x="731" y="811"/>
                </a:lnTo>
                <a:lnTo>
                  <a:pt x="731" y="815"/>
                </a:lnTo>
                <a:lnTo>
                  <a:pt x="730" y="814"/>
                </a:lnTo>
                <a:lnTo>
                  <a:pt x="727" y="816"/>
                </a:lnTo>
                <a:lnTo>
                  <a:pt x="718" y="810"/>
                </a:lnTo>
                <a:lnTo>
                  <a:pt x="719" y="808"/>
                </a:lnTo>
                <a:lnTo>
                  <a:pt x="720" y="808"/>
                </a:lnTo>
                <a:lnTo>
                  <a:pt x="722" y="808"/>
                </a:lnTo>
                <a:lnTo>
                  <a:pt x="720" y="804"/>
                </a:lnTo>
                <a:lnTo>
                  <a:pt x="722" y="803"/>
                </a:lnTo>
                <a:lnTo>
                  <a:pt x="721" y="802"/>
                </a:lnTo>
                <a:lnTo>
                  <a:pt x="724" y="802"/>
                </a:lnTo>
                <a:close/>
                <a:moveTo>
                  <a:pt x="729" y="812"/>
                </a:moveTo>
                <a:lnTo>
                  <a:pt x="730" y="814"/>
                </a:lnTo>
                <a:lnTo>
                  <a:pt x="730" y="813"/>
                </a:lnTo>
                <a:lnTo>
                  <a:pt x="729" y="812"/>
                </a:lnTo>
                <a:close/>
                <a:moveTo>
                  <a:pt x="724" y="806"/>
                </a:moveTo>
                <a:lnTo>
                  <a:pt x="722" y="803"/>
                </a:lnTo>
                <a:lnTo>
                  <a:pt x="724" y="807"/>
                </a:lnTo>
                <a:lnTo>
                  <a:pt x="726" y="809"/>
                </a:lnTo>
                <a:lnTo>
                  <a:pt x="726" y="808"/>
                </a:lnTo>
                <a:lnTo>
                  <a:pt x="727" y="808"/>
                </a:lnTo>
                <a:lnTo>
                  <a:pt x="724" y="806"/>
                </a:lnTo>
                <a:close/>
                <a:moveTo>
                  <a:pt x="714" y="782"/>
                </a:moveTo>
                <a:lnTo>
                  <a:pt x="715" y="781"/>
                </a:lnTo>
                <a:lnTo>
                  <a:pt x="715" y="777"/>
                </a:lnTo>
                <a:lnTo>
                  <a:pt x="713" y="778"/>
                </a:lnTo>
                <a:lnTo>
                  <a:pt x="714" y="782"/>
                </a:lnTo>
                <a:close/>
                <a:moveTo>
                  <a:pt x="752" y="837"/>
                </a:moveTo>
                <a:lnTo>
                  <a:pt x="751" y="842"/>
                </a:lnTo>
                <a:lnTo>
                  <a:pt x="752" y="843"/>
                </a:lnTo>
                <a:lnTo>
                  <a:pt x="753" y="843"/>
                </a:lnTo>
                <a:lnTo>
                  <a:pt x="756" y="837"/>
                </a:lnTo>
                <a:lnTo>
                  <a:pt x="756" y="836"/>
                </a:lnTo>
                <a:lnTo>
                  <a:pt x="753" y="836"/>
                </a:lnTo>
                <a:lnTo>
                  <a:pt x="752" y="837"/>
                </a:lnTo>
                <a:close/>
                <a:moveTo>
                  <a:pt x="792" y="871"/>
                </a:moveTo>
                <a:lnTo>
                  <a:pt x="791" y="870"/>
                </a:lnTo>
                <a:lnTo>
                  <a:pt x="791" y="872"/>
                </a:lnTo>
                <a:lnTo>
                  <a:pt x="792" y="871"/>
                </a:lnTo>
                <a:close/>
                <a:moveTo>
                  <a:pt x="779" y="862"/>
                </a:moveTo>
                <a:lnTo>
                  <a:pt x="778" y="864"/>
                </a:lnTo>
                <a:lnTo>
                  <a:pt x="780" y="863"/>
                </a:lnTo>
                <a:lnTo>
                  <a:pt x="779" y="862"/>
                </a:lnTo>
                <a:close/>
                <a:moveTo>
                  <a:pt x="778" y="867"/>
                </a:moveTo>
                <a:lnTo>
                  <a:pt x="776" y="866"/>
                </a:lnTo>
                <a:lnTo>
                  <a:pt x="774" y="867"/>
                </a:lnTo>
                <a:lnTo>
                  <a:pt x="778" y="867"/>
                </a:lnTo>
                <a:close/>
                <a:moveTo>
                  <a:pt x="819" y="901"/>
                </a:moveTo>
                <a:lnTo>
                  <a:pt x="819" y="903"/>
                </a:lnTo>
                <a:lnTo>
                  <a:pt x="820" y="903"/>
                </a:lnTo>
                <a:lnTo>
                  <a:pt x="820" y="903"/>
                </a:lnTo>
                <a:lnTo>
                  <a:pt x="819" y="901"/>
                </a:lnTo>
                <a:close/>
                <a:moveTo>
                  <a:pt x="731" y="816"/>
                </a:moveTo>
                <a:lnTo>
                  <a:pt x="737" y="820"/>
                </a:lnTo>
                <a:lnTo>
                  <a:pt x="735" y="816"/>
                </a:lnTo>
                <a:lnTo>
                  <a:pt x="738" y="816"/>
                </a:lnTo>
                <a:lnTo>
                  <a:pt x="737" y="813"/>
                </a:lnTo>
                <a:lnTo>
                  <a:pt x="734" y="816"/>
                </a:lnTo>
                <a:lnTo>
                  <a:pt x="733" y="814"/>
                </a:lnTo>
                <a:lnTo>
                  <a:pt x="731" y="816"/>
                </a:lnTo>
                <a:close/>
                <a:moveTo>
                  <a:pt x="756" y="851"/>
                </a:moveTo>
                <a:lnTo>
                  <a:pt x="753" y="843"/>
                </a:lnTo>
                <a:lnTo>
                  <a:pt x="752" y="848"/>
                </a:lnTo>
                <a:lnTo>
                  <a:pt x="756" y="851"/>
                </a:lnTo>
                <a:close/>
                <a:moveTo>
                  <a:pt x="715" y="777"/>
                </a:moveTo>
                <a:lnTo>
                  <a:pt x="715" y="777"/>
                </a:lnTo>
                <a:lnTo>
                  <a:pt x="715" y="777"/>
                </a:lnTo>
                <a:lnTo>
                  <a:pt x="715" y="777"/>
                </a:lnTo>
                <a:close/>
                <a:moveTo>
                  <a:pt x="774" y="865"/>
                </a:moveTo>
                <a:lnTo>
                  <a:pt x="775" y="864"/>
                </a:lnTo>
                <a:lnTo>
                  <a:pt x="776" y="863"/>
                </a:lnTo>
                <a:lnTo>
                  <a:pt x="773" y="863"/>
                </a:lnTo>
                <a:lnTo>
                  <a:pt x="774" y="866"/>
                </a:lnTo>
                <a:lnTo>
                  <a:pt x="775" y="865"/>
                </a:lnTo>
                <a:lnTo>
                  <a:pt x="774" y="865"/>
                </a:lnTo>
                <a:close/>
                <a:moveTo>
                  <a:pt x="776" y="865"/>
                </a:moveTo>
                <a:lnTo>
                  <a:pt x="778" y="864"/>
                </a:lnTo>
                <a:lnTo>
                  <a:pt x="775" y="864"/>
                </a:lnTo>
                <a:lnTo>
                  <a:pt x="775" y="865"/>
                </a:lnTo>
                <a:lnTo>
                  <a:pt x="776" y="865"/>
                </a:lnTo>
                <a:close/>
                <a:moveTo>
                  <a:pt x="320" y="751"/>
                </a:moveTo>
                <a:lnTo>
                  <a:pt x="318" y="752"/>
                </a:lnTo>
                <a:lnTo>
                  <a:pt x="316" y="754"/>
                </a:lnTo>
                <a:lnTo>
                  <a:pt x="320" y="751"/>
                </a:lnTo>
                <a:close/>
                <a:moveTo>
                  <a:pt x="345" y="731"/>
                </a:moveTo>
                <a:lnTo>
                  <a:pt x="344" y="732"/>
                </a:lnTo>
                <a:lnTo>
                  <a:pt x="345" y="732"/>
                </a:lnTo>
                <a:lnTo>
                  <a:pt x="345" y="731"/>
                </a:lnTo>
                <a:close/>
                <a:moveTo>
                  <a:pt x="241" y="779"/>
                </a:moveTo>
                <a:lnTo>
                  <a:pt x="242" y="778"/>
                </a:lnTo>
                <a:lnTo>
                  <a:pt x="240" y="776"/>
                </a:lnTo>
                <a:lnTo>
                  <a:pt x="237" y="776"/>
                </a:lnTo>
                <a:lnTo>
                  <a:pt x="230" y="780"/>
                </a:lnTo>
                <a:lnTo>
                  <a:pt x="226" y="780"/>
                </a:lnTo>
                <a:lnTo>
                  <a:pt x="225" y="785"/>
                </a:lnTo>
                <a:lnTo>
                  <a:pt x="219" y="787"/>
                </a:lnTo>
                <a:lnTo>
                  <a:pt x="222" y="792"/>
                </a:lnTo>
                <a:lnTo>
                  <a:pt x="225" y="792"/>
                </a:lnTo>
                <a:lnTo>
                  <a:pt x="229" y="792"/>
                </a:lnTo>
                <a:lnTo>
                  <a:pt x="230" y="788"/>
                </a:lnTo>
                <a:lnTo>
                  <a:pt x="240" y="788"/>
                </a:lnTo>
                <a:lnTo>
                  <a:pt x="244" y="783"/>
                </a:lnTo>
                <a:lnTo>
                  <a:pt x="248" y="785"/>
                </a:lnTo>
                <a:lnTo>
                  <a:pt x="247" y="782"/>
                </a:lnTo>
                <a:lnTo>
                  <a:pt x="244" y="781"/>
                </a:lnTo>
                <a:lnTo>
                  <a:pt x="243" y="780"/>
                </a:lnTo>
                <a:lnTo>
                  <a:pt x="241" y="781"/>
                </a:lnTo>
                <a:lnTo>
                  <a:pt x="241" y="779"/>
                </a:lnTo>
                <a:close/>
                <a:moveTo>
                  <a:pt x="323" y="746"/>
                </a:moveTo>
                <a:lnTo>
                  <a:pt x="323" y="743"/>
                </a:lnTo>
                <a:lnTo>
                  <a:pt x="320" y="743"/>
                </a:lnTo>
                <a:lnTo>
                  <a:pt x="319" y="744"/>
                </a:lnTo>
                <a:lnTo>
                  <a:pt x="323" y="746"/>
                </a:lnTo>
                <a:close/>
                <a:moveTo>
                  <a:pt x="241" y="776"/>
                </a:moveTo>
                <a:lnTo>
                  <a:pt x="241" y="776"/>
                </a:lnTo>
                <a:lnTo>
                  <a:pt x="241" y="776"/>
                </a:lnTo>
                <a:lnTo>
                  <a:pt x="241" y="776"/>
                </a:lnTo>
                <a:close/>
                <a:moveTo>
                  <a:pt x="248" y="776"/>
                </a:moveTo>
                <a:lnTo>
                  <a:pt x="245" y="776"/>
                </a:lnTo>
                <a:lnTo>
                  <a:pt x="245" y="777"/>
                </a:lnTo>
                <a:lnTo>
                  <a:pt x="243" y="777"/>
                </a:lnTo>
                <a:lnTo>
                  <a:pt x="243" y="778"/>
                </a:lnTo>
                <a:lnTo>
                  <a:pt x="242" y="778"/>
                </a:lnTo>
                <a:lnTo>
                  <a:pt x="243" y="780"/>
                </a:lnTo>
                <a:lnTo>
                  <a:pt x="247" y="777"/>
                </a:lnTo>
                <a:lnTo>
                  <a:pt x="249" y="780"/>
                </a:lnTo>
                <a:lnTo>
                  <a:pt x="252" y="780"/>
                </a:lnTo>
                <a:lnTo>
                  <a:pt x="253" y="780"/>
                </a:lnTo>
                <a:lnTo>
                  <a:pt x="253" y="774"/>
                </a:lnTo>
                <a:lnTo>
                  <a:pt x="251" y="773"/>
                </a:lnTo>
                <a:lnTo>
                  <a:pt x="252" y="772"/>
                </a:lnTo>
                <a:lnTo>
                  <a:pt x="249" y="773"/>
                </a:lnTo>
                <a:lnTo>
                  <a:pt x="248" y="776"/>
                </a:lnTo>
                <a:close/>
                <a:moveTo>
                  <a:pt x="241" y="776"/>
                </a:moveTo>
                <a:lnTo>
                  <a:pt x="243" y="777"/>
                </a:lnTo>
                <a:lnTo>
                  <a:pt x="244" y="776"/>
                </a:lnTo>
                <a:lnTo>
                  <a:pt x="241" y="776"/>
                </a:lnTo>
                <a:close/>
                <a:moveTo>
                  <a:pt x="651" y="712"/>
                </a:moveTo>
                <a:lnTo>
                  <a:pt x="650" y="711"/>
                </a:lnTo>
                <a:lnTo>
                  <a:pt x="650" y="711"/>
                </a:lnTo>
                <a:lnTo>
                  <a:pt x="647" y="715"/>
                </a:lnTo>
                <a:lnTo>
                  <a:pt x="653" y="719"/>
                </a:lnTo>
                <a:lnTo>
                  <a:pt x="655" y="716"/>
                </a:lnTo>
                <a:lnTo>
                  <a:pt x="655" y="713"/>
                </a:lnTo>
                <a:lnTo>
                  <a:pt x="651" y="711"/>
                </a:lnTo>
                <a:lnTo>
                  <a:pt x="651" y="712"/>
                </a:lnTo>
                <a:lnTo>
                  <a:pt x="651" y="712"/>
                </a:lnTo>
                <a:close/>
                <a:moveTo>
                  <a:pt x="485" y="652"/>
                </a:moveTo>
                <a:lnTo>
                  <a:pt x="486" y="654"/>
                </a:lnTo>
                <a:lnTo>
                  <a:pt x="494" y="651"/>
                </a:lnTo>
                <a:lnTo>
                  <a:pt x="494" y="651"/>
                </a:lnTo>
                <a:lnTo>
                  <a:pt x="485" y="652"/>
                </a:lnTo>
                <a:close/>
                <a:moveTo>
                  <a:pt x="646" y="716"/>
                </a:moveTo>
                <a:lnTo>
                  <a:pt x="646" y="716"/>
                </a:lnTo>
                <a:lnTo>
                  <a:pt x="647" y="715"/>
                </a:lnTo>
                <a:lnTo>
                  <a:pt x="646" y="715"/>
                </a:lnTo>
                <a:lnTo>
                  <a:pt x="646" y="716"/>
                </a:lnTo>
                <a:close/>
                <a:moveTo>
                  <a:pt x="692" y="746"/>
                </a:moveTo>
                <a:lnTo>
                  <a:pt x="691" y="747"/>
                </a:lnTo>
                <a:lnTo>
                  <a:pt x="691" y="747"/>
                </a:lnTo>
                <a:lnTo>
                  <a:pt x="692" y="747"/>
                </a:lnTo>
                <a:lnTo>
                  <a:pt x="692" y="746"/>
                </a:lnTo>
                <a:close/>
                <a:moveTo>
                  <a:pt x="646" y="716"/>
                </a:moveTo>
                <a:lnTo>
                  <a:pt x="646" y="716"/>
                </a:lnTo>
                <a:lnTo>
                  <a:pt x="650" y="720"/>
                </a:lnTo>
                <a:lnTo>
                  <a:pt x="654" y="719"/>
                </a:lnTo>
                <a:lnTo>
                  <a:pt x="655" y="721"/>
                </a:lnTo>
                <a:lnTo>
                  <a:pt x="655" y="726"/>
                </a:lnTo>
                <a:lnTo>
                  <a:pt x="656" y="727"/>
                </a:lnTo>
                <a:lnTo>
                  <a:pt x="658" y="731"/>
                </a:lnTo>
                <a:lnTo>
                  <a:pt x="659" y="743"/>
                </a:lnTo>
                <a:lnTo>
                  <a:pt x="659" y="753"/>
                </a:lnTo>
                <a:lnTo>
                  <a:pt x="653" y="744"/>
                </a:lnTo>
                <a:lnTo>
                  <a:pt x="658" y="742"/>
                </a:lnTo>
                <a:lnTo>
                  <a:pt x="654" y="743"/>
                </a:lnTo>
                <a:lnTo>
                  <a:pt x="653" y="743"/>
                </a:lnTo>
                <a:lnTo>
                  <a:pt x="654" y="740"/>
                </a:lnTo>
                <a:lnTo>
                  <a:pt x="647" y="740"/>
                </a:lnTo>
                <a:lnTo>
                  <a:pt x="647" y="732"/>
                </a:lnTo>
                <a:lnTo>
                  <a:pt x="647" y="732"/>
                </a:lnTo>
                <a:lnTo>
                  <a:pt x="646" y="736"/>
                </a:lnTo>
                <a:lnTo>
                  <a:pt x="643" y="736"/>
                </a:lnTo>
                <a:lnTo>
                  <a:pt x="644" y="732"/>
                </a:lnTo>
                <a:lnTo>
                  <a:pt x="643" y="732"/>
                </a:lnTo>
                <a:lnTo>
                  <a:pt x="643" y="728"/>
                </a:lnTo>
                <a:lnTo>
                  <a:pt x="643" y="728"/>
                </a:lnTo>
                <a:lnTo>
                  <a:pt x="641" y="725"/>
                </a:lnTo>
                <a:lnTo>
                  <a:pt x="644" y="726"/>
                </a:lnTo>
                <a:lnTo>
                  <a:pt x="639" y="724"/>
                </a:lnTo>
                <a:lnTo>
                  <a:pt x="641" y="724"/>
                </a:lnTo>
                <a:lnTo>
                  <a:pt x="634" y="718"/>
                </a:lnTo>
                <a:lnTo>
                  <a:pt x="630" y="713"/>
                </a:lnTo>
                <a:lnTo>
                  <a:pt x="630" y="712"/>
                </a:lnTo>
                <a:lnTo>
                  <a:pt x="635" y="713"/>
                </a:lnTo>
                <a:lnTo>
                  <a:pt x="639" y="716"/>
                </a:lnTo>
                <a:lnTo>
                  <a:pt x="634" y="709"/>
                </a:lnTo>
                <a:lnTo>
                  <a:pt x="634" y="708"/>
                </a:lnTo>
                <a:lnTo>
                  <a:pt x="642" y="708"/>
                </a:lnTo>
                <a:lnTo>
                  <a:pt x="647" y="711"/>
                </a:lnTo>
                <a:lnTo>
                  <a:pt x="646" y="715"/>
                </a:lnTo>
                <a:lnTo>
                  <a:pt x="643" y="713"/>
                </a:lnTo>
                <a:lnTo>
                  <a:pt x="646" y="716"/>
                </a:lnTo>
                <a:lnTo>
                  <a:pt x="646" y="716"/>
                </a:lnTo>
                <a:close/>
                <a:moveTo>
                  <a:pt x="647" y="724"/>
                </a:moveTo>
                <a:lnTo>
                  <a:pt x="650" y="724"/>
                </a:lnTo>
                <a:lnTo>
                  <a:pt x="650" y="724"/>
                </a:lnTo>
                <a:lnTo>
                  <a:pt x="647" y="721"/>
                </a:lnTo>
                <a:lnTo>
                  <a:pt x="647" y="724"/>
                </a:lnTo>
                <a:close/>
                <a:moveTo>
                  <a:pt x="644" y="728"/>
                </a:moveTo>
                <a:lnTo>
                  <a:pt x="647" y="730"/>
                </a:lnTo>
                <a:lnTo>
                  <a:pt x="646" y="728"/>
                </a:lnTo>
                <a:lnTo>
                  <a:pt x="647" y="728"/>
                </a:lnTo>
                <a:lnTo>
                  <a:pt x="647" y="724"/>
                </a:lnTo>
                <a:lnTo>
                  <a:pt x="644" y="728"/>
                </a:lnTo>
                <a:close/>
                <a:moveTo>
                  <a:pt x="703" y="769"/>
                </a:moveTo>
                <a:lnTo>
                  <a:pt x="703" y="768"/>
                </a:lnTo>
                <a:lnTo>
                  <a:pt x="702" y="768"/>
                </a:lnTo>
                <a:lnTo>
                  <a:pt x="702" y="773"/>
                </a:lnTo>
                <a:lnTo>
                  <a:pt x="702" y="774"/>
                </a:lnTo>
                <a:lnTo>
                  <a:pt x="703" y="770"/>
                </a:lnTo>
                <a:lnTo>
                  <a:pt x="703" y="770"/>
                </a:lnTo>
                <a:lnTo>
                  <a:pt x="703" y="770"/>
                </a:lnTo>
                <a:lnTo>
                  <a:pt x="703" y="769"/>
                </a:lnTo>
                <a:close/>
                <a:moveTo>
                  <a:pt x="631" y="705"/>
                </a:moveTo>
                <a:lnTo>
                  <a:pt x="631" y="705"/>
                </a:lnTo>
                <a:lnTo>
                  <a:pt x="634" y="707"/>
                </a:lnTo>
                <a:lnTo>
                  <a:pt x="631" y="705"/>
                </a:lnTo>
                <a:close/>
                <a:moveTo>
                  <a:pt x="870" y="1169"/>
                </a:moveTo>
                <a:lnTo>
                  <a:pt x="873" y="1166"/>
                </a:lnTo>
                <a:lnTo>
                  <a:pt x="869" y="1166"/>
                </a:lnTo>
                <a:lnTo>
                  <a:pt x="870" y="1169"/>
                </a:lnTo>
                <a:close/>
                <a:moveTo>
                  <a:pt x="893" y="1175"/>
                </a:moveTo>
                <a:lnTo>
                  <a:pt x="896" y="1177"/>
                </a:lnTo>
                <a:lnTo>
                  <a:pt x="899" y="1177"/>
                </a:lnTo>
                <a:lnTo>
                  <a:pt x="896" y="1176"/>
                </a:lnTo>
                <a:lnTo>
                  <a:pt x="893" y="1175"/>
                </a:lnTo>
                <a:close/>
                <a:moveTo>
                  <a:pt x="896" y="1186"/>
                </a:moveTo>
                <a:lnTo>
                  <a:pt x="896" y="1186"/>
                </a:lnTo>
                <a:lnTo>
                  <a:pt x="893" y="1183"/>
                </a:lnTo>
                <a:lnTo>
                  <a:pt x="896" y="1186"/>
                </a:lnTo>
                <a:close/>
                <a:moveTo>
                  <a:pt x="893" y="1250"/>
                </a:moveTo>
                <a:lnTo>
                  <a:pt x="896" y="1248"/>
                </a:lnTo>
                <a:lnTo>
                  <a:pt x="893" y="1246"/>
                </a:lnTo>
                <a:lnTo>
                  <a:pt x="893" y="1250"/>
                </a:lnTo>
                <a:close/>
                <a:moveTo>
                  <a:pt x="939" y="1263"/>
                </a:moveTo>
                <a:lnTo>
                  <a:pt x="941" y="1264"/>
                </a:lnTo>
                <a:lnTo>
                  <a:pt x="941" y="1263"/>
                </a:lnTo>
                <a:lnTo>
                  <a:pt x="939" y="1259"/>
                </a:lnTo>
                <a:lnTo>
                  <a:pt x="939" y="1263"/>
                </a:lnTo>
                <a:close/>
                <a:moveTo>
                  <a:pt x="1022" y="2107"/>
                </a:moveTo>
                <a:lnTo>
                  <a:pt x="1025" y="2106"/>
                </a:lnTo>
                <a:lnTo>
                  <a:pt x="1022" y="2106"/>
                </a:lnTo>
                <a:lnTo>
                  <a:pt x="1022" y="2107"/>
                </a:lnTo>
                <a:close/>
                <a:moveTo>
                  <a:pt x="1001" y="1408"/>
                </a:moveTo>
                <a:lnTo>
                  <a:pt x="1002" y="1408"/>
                </a:lnTo>
                <a:lnTo>
                  <a:pt x="1003" y="1408"/>
                </a:lnTo>
                <a:lnTo>
                  <a:pt x="1002" y="1407"/>
                </a:lnTo>
                <a:lnTo>
                  <a:pt x="1001" y="1408"/>
                </a:lnTo>
                <a:close/>
                <a:moveTo>
                  <a:pt x="987" y="1319"/>
                </a:moveTo>
                <a:lnTo>
                  <a:pt x="989" y="1320"/>
                </a:lnTo>
                <a:lnTo>
                  <a:pt x="988" y="1319"/>
                </a:lnTo>
                <a:lnTo>
                  <a:pt x="987" y="1319"/>
                </a:lnTo>
                <a:close/>
                <a:moveTo>
                  <a:pt x="733" y="811"/>
                </a:moveTo>
                <a:lnTo>
                  <a:pt x="734" y="813"/>
                </a:lnTo>
                <a:lnTo>
                  <a:pt x="734" y="811"/>
                </a:lnTo>
                <a:lnTo>
                  <a:pt x="733" y="811"/>
                </a:lnTo>
                <a:close/>
                <a:moveTo>
                  <a:pt x="737" y="824"/>
                </a:moveTo>
                <a:lnTo>
                  <a:pt x="741" y="828"/>
                </a:lnTo>
                <a:lnTo>
                  <a:pt x="741" y="825"/>
                </a:lnTo>
                <a:lnTo>
                  <a:pt x="737" y="822"/>
                </a:lnTo>
                <a:lnTo>
                  <a:pt x="737" y="824"/>
                </a:lnTo>
                <a:close/>
                <a:moveTo>
                  <a:pt x="743" y="826"/>
                </a:moveTo>
                <a:lnTo>
                  <a:pt x="742" y="829"/>
                </a:lnTo>
                <a:lnTo>
                  <a:pt x="744" y="832"/>
                </a:lnTo>
                <a:lnTo>
                  <a:pt x="743" y="832"/>
                </a:lnTo>
                <a:lnTo>
                  <a:pt x="745" y="836"/>
                </a:lnTo>
                <a:lnTo>
                  <a:pt x="745" y="830"/>
                </a:lnTo>
                <a:lnTo>
                  <a:pt x="746" y="831"/>
                </a:lnTo>
                <a:lnTo>
                  <a:pt x="743" y="825"/>
                </a:lnTo>
                <a:lnTo>
                  <a:pt x="743" y="826"/>
                </a:lnTo>
                <a:close/>
                <a:moveTo>
                  <a:pt x="1067" y="1363"/>
                </a:moveTo>
                <a:lnTo>
                  <a:pt x="1065" y="1363"/>
                </a:lnTo>
                <a:lnTo>
                  <a:pt x="1066" y="1367"/>
                </a:lnTo>
                <a:lnTo>
                  <a:pt x="1067" y="1367"/>
                </a:lnTo>
                <a:lnTo>
                  <a:pt x="1067" y="1363"/>
                </a:lnTo>
                <a:close/>
                <a:moveTo>
                  <a:pt x="786" y="895"/>
                </a:moveTo>
                <a:lnTo>
                  <a:pt x="786" y="894"/>
                </a:lnTo>
                <a:lnTo>
                  <a:pt x="785" y="894"/>
                </a:lnTo>
                <a:lnTo>
                  <a:pt x="786" y="895"/>
                </a:lnTo>
                <a:close/>
                <a:moveTo>
                  <a:pt x="874" y="1166"/>
                </a:moveTo>
                <a:lnTo>
                  <a:pt x="875" y="1169"/>
                </a:lnTo>
                <a:lnTo>
                  <a:pt x="880" y="1166"/>
                </a:lnTo>
                <a:lnTo>
                  <a:pt x="874" y="1165"/>
                </a:lnTo>
                <a:lnTo>
                  <a:pt x="874" y="1166"/>
                </a:lnTo>
                <a:close/>
                <a:moveTo>
                  <a:pt x="252" y="772"/>
                </a:moveTo>
                <a:lnTo>
                  <a:pt x="255" y="772"/>
                </a:lnTo>
                <a:lnTo>
                  <a:pt x="254" y="770"/>
                </a:lnTo>
                <a:lnTo>
                  <a:pt x="252" y="772"/>
                </a:lnTo>
                <a:close/>
                <a:moveTo>
                  <a:pt x="1289" y="1695"/>
                </a:moveTo>
                <a:lnTo>
                  <a:pt x="1289" y="1693"/>
                </a:lnTo>
                <a:lnTo>
                  <a:pt x="1285" y="1691"/>
                </a:lnTo>
                <a:lnTo>
                  <a:pt x="1283" y="1696"/>
                </a:lnTo>
                <a:lnTo>
                  <a:pt x="1284" y="1696"/>
                </a:lnTo>
                <a:lnTo>
                  <a:pt x="1283" y="1698"/>
                </a:lnTo>
                <a:lnTo>
                  <a:pt x="1284" y="1700"/>
                </a:lnTo>
                <a:lnTo>
                  <a:pt x="1285" y="1700"/>
                </a:lnTo>
                <a:lnTo>
                  <a:pt x="1285" y="1696"/>
                </a:lnTo>
                <a:lnTo>
                  <a:pt x="1285" y="1696"/>
                </a:lnTo>
                <a:lnTo>
                  <a:pt x="1285" y="1695"/>
                </a:lnTo>
                <a:lnTo>
                  <a:pt x="1289" y="1700"/>
                </a:lnTo>
                <a:lnTo>
                  <a:pt x="1289" y="1697"/>
                </a:lnTo>
                <a:lnTo>
                  <a:pt x="1289" y="1695"/>
                </a:lnTo>
                <a:close/>
                <a:moveTo>
                  <a:pt x="1030" y="1306"/>
                </a:moveTo>
                <a:lnTo>
                  <a:pt x="1031" y="1305"/>
                </a:lnTo>
                <a:lnTo>
                  <a:pt x="1028" y="1306"/>
                </a:lnTo>
                <a:lnTo>
                  <a:pt x="1030" y="1306"/>
                </a:lnTo>
                <a:close/>
                <a:moveTo>
                  <a:pt x="831" y="923"/>
                </a:moveTo>
                <a:lnTo>
                  <a:pt x="831" y="924"/>
                </a:lnTo>
                <a:lnTo>
                  <a:pt x="832" y="923"/>
                </a:lnTo>
                <a:lnTo>
                  <a:pt x="831" y="923"/>
                </a:lnTo>
                <a:close/>
                <a:moveTo>
                  <a:pt x="1314" y="1706"/>
                </a:moveTo>
                <a:lnTo>
                  <a:pt x="1315" y="1706"/>
                </a:lnTo>
                <a:lnTo>
                  <a:pt x="1318" y="1702"/>
                </a:lnTo>
                <a:lnTo>
                  <a:pt x="1311" y="1706"/>
                </a:lnTo>
                <a:lnTo>
                  <a:pt x="1314" y="1706"/>
                </a:lnTo>
                <a:close/>
                <a:moveTo>
                  <a:pt x="795" y="873"/>
                </a:moveTo>
                <a:lnTo>
                  <a:pt x="795" y="873"/>
                </a:lnTo>
                <a:lnTo>
                  <a:pt x="795" y="873"/>
                </a:lnTo>
                <a:lnTo>
                  <a:pt x="795" y="873"/>
                </a:lnTo>
                <a:close/>
                <a:moveTo>
                  <a:pt x="1299" y="1688"/>
                </a:moveTo>
                <a:lnTo>
                  <a:pt x="1300" y="1688"/>
                </a:lnTo>
                <a:lnTo>
                  <a:pt x="1299" y="1687"/>
                </a:lnTo>
                <a:lnTo>
                  <a:pt x="1299" y="1688"/>
                </a:lnTo>
                <a:close/>
                <a:moveTo>
                  <a:pt x="796" y="874"/>
                </a:moveTo>
                <a:lnTo>
                  <a:pt x="795" y="873"/>
                </a:lnTo>
                <a:lnTo>
                  <a:pt x="795" y="875"/>
                </a:lnTo>
                <a:lnTo>
                  <a:pt x="796" y="874"/>
                </a:lnTo>
                <a:close/>
                <a:moveTo>
                  <a:pt x="835" y="918"/>
                </a:moveTo>
                <a:lnTo>
                  <a:pt x="832" y="923"/>
                </a:lnTo>
                <a:lnTo>
                  <a:pt x="835" y="920"/>
                </a:lnTo>
                <a:lnTo>
                  <a:pt x="835" y="918"/>
                </a:lnTo>
                <a:close/>
                <a:moveTo>
                  <a:pt x="1289" y="1701"/>
                </a:moveTo>
                <a:lnTo>
                  <a:pt x="1291" y="1702"/>
                </a:lnTo>
                <a:lnTo>
                  <a:pt x="1289" y="1700"/>
                </a:lnTo>
                <a:lnTo>
                  <a:pt x="1289" y="1701"/>
                </a:lnTo>
                <a:close/>
                <a:moveTo>
                  <a:pt x="792" y="873"/>
                </a:moveTo>
                <a:lnTo>
                  <a:pt x="795" y="873"/>
                </a:lnTo>
                <a:lnTo>
                  <a:pt x="793" y="872"/>
                </a:lnTo>
                <a:lnTo>
                  <a:pt x="792" y="873"/>
                </a:lnTo>
                <a:close/>
                <a:moveTo>
                  <a:pt x="1068" y="1369"/>
                </a:moveTo>
                <a:lnTo>
                  <a:pt x="1068" y="1367"/>
                </a:lnTo>
                <a:lnTo>
                  <a:pt x="1067" y="1369"/>
                </a:lnTo>
                <a:lnTo>
                  <a:pt x="1068" y="1369"/>
                </a:lnTo>
                <a:close/>
                <a:moveTo>
                  <a:pt x="1291" y="1702"/>
                </a:moveTo>
                <a:lnTo>
                  <a:pt x="1291" y="1702"/>
                </a:lnTo>
                <a:lnTo>
                  <a:pt x="1289" y="1704"/>
                </a:lnTo>
                <a:lnTo>
                  <a:pt x="1288" y="1704"/>
                </a:lnTo>
                <a:lnTo>
                  <a:pt x="1284" y="1707"/>
                </a:lnTo>
                <a:lnTo>
                  <a:pt x="1285" y="1708"/>
                </a:lnTo>
                <a:lnTo>
                  <a:pt x="1289" y="1708"/>
                </a:lnTo>
                <a:lnTo>
                  <a:pt x="1292" y="1706"/>
                </a:lnTo>
                <a:lnTo>
                  <a:pt x="1291" y="1702"/>
                </a:lnTo>
                <a:lnTo>
                  <a:pt x="1291" y="1702"/>
                </a:lnTo>
                <a:close/>
                <a:moveTo>
                  <a:pt x="1297" y="1695"/>
                </a:moveTo>
                <a:lnTo>
                  <a:pt x="1293" y="1694"/>
                </a:lnTo>
                <a:lnTo>
                  <a:pt x="1293" y="1697"/>
                </a:lnTo>
                <a:lnTo>
                  <a:pt x="1297" y="1697"/>
                </a:lnTo>
                <a:lnTo>
                  <a:pt x="1299" y="1695"/>
                </a:lnTo>
                <a:lnTo>
                  <a:pt x="1297" y="1695"/>
                </a:lnTo>
                <a:close/>
                <a:moveTo>
                  <a:pt x="1299" y="1702"/>
                </a:moveTo>
                <a:lnTo>
                  <a:pt x="1303" y="1705"/>
                </a:lnTo>
                <a:lnTo>
                  <a:pt x="1303" y="1702"/>
                </a:lnTo>
                <a:lnTo>
                  <a:pt x="1303" y="1701"/>
                </a:lnTo>
                <a:lnTo>
                  <a:pt x="1299" y="1699"/>
                </a:lnTo>
                <a:lnTo>
                  <a:pt x="1299" y="1702"/>
                </a:lnTo>
                <a:close/>
                <a:moveTo>
                  <a:pt x="1300" y="1712"/>
                </a:moveTo>
                <a:lnTo>
                  <a:pt x="1300" y="1709"/>
                </a:lnTo>
                <a:lnTo>
                  <a:pt x="1299" y="1709"/>
                </a:lnTo>
                <a:lnTo>
                  <a:pt x="1300" y="1712"/>
                </a:lnTo>
                <a:close/>
                <a:moveTo>
                  <a:pt x="776" y="865"/>
                </a:moveTo>
                <a:lnTo>
                  <a:pt x="774" y="866"/>
                </a:lnTo>
                <a:lnTo>
                  <a:pt x="776" y="866"/>
                </a:lnTo>
                <a:lnTo>
                  <a:pt x="779" y="866"/>
                </a:lnTo>
                <a:lnTo>
                  <a:pt x="780" y="865"/>
                </a:lnTo>
                <a:lnTo>
                  <a:pt x="779" y="865"/>
                </a:lnTo>
                <a:lnTo>
                  <a:pt x="776" y="865"/>
                </a:lnTo>
                <a:close/>
                <a:moveTo>
                  <a:pt x="1438" y="1310"/>
                </a:moveTo>
                <a:lnTo>
                  <a:pt x="1438" y="1310"/>
                </a:lnTo>
                <a:lnTo>
                  <a:pt x="1438" y="1310"/>
                </a:lnTo>
                <a:lnTo>
                  <a:pt x="1438" y="1310"/>
                </a:lnTo>
                <a:close/>
                <a:moveTo>
                  <a:pt x="1712" y="748"/>
                </a:moveTo>
                <a:lnTo>
                  <a:pt x="1716" y="747"/>
                </a:lnTo>
                <a:lnTo>
                  <a:pt x="1711" y="747"/>
                </a:lnTo>
                <a:lnTo>
                  <a:pt x="1711" y="748"/>
                </a:lnTo>
                <a:lnTo>
                  <a:pt x="1712" y="748"/>
                </a:lnTo>
                <a:close/>
                <a:moveTo>
                  <a:pt x="1438" y="1310"/>
                </a:moveTo>
                <a:lnTo>
                  <a:pt x="1438" y="1311"/>
                </a:lnTo>
                <a:lnTo>
                  <a:pt x="1438" y="1310"/>
                </a:lnTo>
                <a:lnTo>
                  <a:pt x="1438" y="1310"/>
                </a:lnTo>
                <a:close/>
                <a:moveTo>
                  <a:pt x="1438" y="1310"/>
                </a:moveTo>
                <a:lnTo>
                  <a:pt x="1439" y="1310"/>
                </a:lnTo>
                <a:lnTo>
                  <a:pt x="1439" y="1310"/>
                </a:lnTo>
                <a:lnTo>
                  <a:pt x="1438" y="1310"/>
                </a:lnTo>
                <a:lnTo>
                  <a:pt x="1438" y="1310"/>
                </a:lnTo>
                <a:close/>
                <a:moveTo>
                  <a:pt x="1260" y="628"/>
                </a:moveTo>
                <a:lnTo>
                  <a:pt x="1262" y="630"/>
                </a:lnTo>
                <a:lnTo>
                  <a:pt x="1263" y="627"/>
                </a:lnTo>
                <a:lnTo>
                  <a:pt x="1261" y="627"/>
                </a:lnTo>
                <a:lnTo>
                  <a:pt x="1261" y="628"/>
                </a:lnTo>
                <a:lnTo>
                  <a:pt x="1260" y="628"/>
                </a:lnTo>
                <a:close/>
                <a:moveTo>
                  <a:pt x="2526" y="732"/>
                </a:moveTo>
                <a:lnTo>
                  <a:pt x="2527" y="732"/>
                </a:lnTo>
                <a:lnTo>
                  <a:pt x="2526" y="731"/>
                </a:lnTo>
                <a:lnTo>
                  <a:pt x="2526" y="732"/>
                </a:lnTo>
                <a:close/>
                <a:moveTo>
                  <a:pt x="1309" y="462"/>
                </a:moveTo>
                <a:lnTo>
                  <a:pt x="1306" y="459"/>
                </a:lnTo>
                <a:lnTo>
                  <a:pt x="1306" y="462"/>
                </a:lnTo>
                <a:lnTo>
                  <a:pt x="1306" y="463"/>
                </a:lnTo>
                <a:lnTo>
                  <a:pt x="1309" y="462"/>
                </a:lnTo>
                <a:lnTo>
                  <a:pt x="1309" y="462"/>
                </a:lnTo>
                <a:lnTo>
                  <a:pt x="1309" y="462"/>
                </a:lnTo>
                <a:close/>
                <a:moveTo>
                  <a:pt x="1309" y="1232"/>
                </a:moveTo>
                <a:lnTo>
                  <a:pt x="1310" y="1233"/>
                </a:lnTo>
                <a:lnTo>
                  <a:pt x="1313" y="1232"/>
                </a:lnTo>
                <a:lnTo>
                  <a:pt x="1309" y="1232"/>
                </a:lnTo>
                <a:close/>
                <a:moveTo>
                  <a:pt x="1304" y="1246"/>
                </a:moveTo>
                <a:lnTo>
                  <a:pt x="1304" y="1245"/>
                </a:lnTo>
                <a:lnTo>
                  <a:pt x="1302" y="1243"/>
                </a:lnTo>
                <a:lnTo>
                  <a:pt x="1301" y="1244"/>
                </a:lnTo>
                <a:lnTo>
                  <a:pt x="1301" y="1246"/>
                </a:lnTo>
                <a:lnTo>
                  <a:pt x="1304" y="1246"/>
                </a:lnTo>
                <a:close/>
                <a:moveTo>
                  <a:pt x="1307" y="1249"/>
                </a:moveTo>
                <a:lnTo>
                  <a:pt x="1309" y="1246"/>
                </a:lnTo>
                <a:lnTo>
                  <a:pt x="1304" y="1246"/>
                </a:lnTo>
                <a:lnTo>
                  <a:pt x="1305" y="1249"/>
                </a:lnTo>
                <a:lnTo>
                  <a:pt x="1307" y="1249"/>
                </a:lnTo>
                <a:close/>
                <a:moveTo>
                  <a:pt x="1204" y="1295"/>
                </a:moveTo>
                <a:lnTo>
                  <a:pt x="1201" y="1277"/>
                </a:lnTo>
                <a:lnTo>
                  <a:pt x="1201" y="1287"/>
                </a:lnTo>
                <a:lnTo>
                  <a:pt x="1204" y="1295"/>
                </a:lnTo>
                <a:close/>
                <a:moveTo>
                  <a:pt x="1333" y="1418"/>
                </a:moveTo>
                <a:lnTo>
                  <a:pt x="1333" y="1419"/>
                </a:lnTo>
                <a:lnTo>
                  <a:pt x="1333" y="1419"/>
                </a:lnTo>
                <a:lnTo>
                  <a:pt x="1333" y="1418"/>
                </a:lnTo>
                <a:close/>
                <a:moveTo>
                  <a:pt x="1203" y="1296"/>
                </a:moveTo>
                <a:lnTo>
                  <a:pt x="1202" y="1296"/>
                </a:lnTo>
                <a:lnTo>
                  <a:pt x="1202" y="1297"/>
                </a:lnTo>
                <a:lnTo>
                  <a:pt x="1203" y="1296"/>
                </a:lnTo>
                <a:close/>
                <a:moveTo>
                  <a:pt x="1399" y="1503"/>
                </a:moveTo>
                <a:lnTo>
                  <a:pt x="1399" y="1507"/>
                </a:lnTo>
                <a:lnTo>
                  <a:pt x="1400" y="1507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3"/>
                </a:lnTo>
                <a:lnTo>
                  <a:pt x="1399" y="1503"/>
                </a:lnTo>
                <a:close/>
                <a:moveTo>
                  <a:pt x="590" y="677"/>
                </a:moveTo>
                <a:lnTo>
                  <a:pt x="590" y="677"/>
                </a:lnTo>
                <a:lnTo>
                  <a:pt x="590" y="677"/>
                </a:lnTo>
                <a:lnTo>
                  <a:pt x="590" y="677"/>
                </a:lnTo>
                <a:close/>
                <a:moveTo>
                  <a:pt x="2569" y="695"/>
                </a:moveTo>
                <a:lnTo>
                  <a:pt x="2566" y="695"/>
                </a:lnTo>
                <a:lnTo>
                  <a:pt x="2567" y="696"/>
                </a:lnTo>
                <a:lnTo>
                  <a:pt x="2569" y="695"/>
                </a:lnTo>
                <a:close/>
                <a:moveTo>
                  <a:pt x="2565" y="695"/>
                </a:moveTo>
                <a:lnTo>
                  <a:pt x="2561" y="693"/>
                </a:lnTo>
                <a:lnTo>
                  <a:pt x="2565" y="696"/>
                </a:lnTo>
                <a:lnTo>
                  <a:pt x="2565" y="695"/>
                </a:lnTo>
                <a:close/>
                <a:moveTo>
                  <a:pt x="2623" y="850"/>
                </a:moveTo>
                <a:lnTo>
                  <a:pt x="2623" y="849"/>
                </a:lnTo>
                <a:lnTo>
                  <a:pt x="2622" y="849"/>
                </a:lnTo>
                <a:lnTo>
                  <a:pt x="2622" y="851"/>
                </a:lnTo>
                <a:lnTo>
                  <a:pt x="2623" y="851"/>
                </a:lnTo>
                <a:lnTo>
                  <a:pt x="2623" y="850"/>
                </a:lnTo>
                <a:close/>
                <a:moveTo>
                  <a:pt x="2571" y="693"/>
                </a:moveTo>
                <a:lnTo>
                  <a:pt x="2566" y="688"/>
                </a:lnTo>
                <a:lnTo>
                  <a:pt x="2564" y="688"/>
                </a:lnTo>
                <a:lnTo>
                  <a:pt x="2564" y="691"/>
                </a:lnTo>
                <a:lnTo>
                  <a:pt x="2569" y="693"/>
                </a:lnTo>
                <a:lnTo>
                  <a:pt x="2571" y="693"/>
                </a:lnTo>
                <a:close/>
                <a:moveTo>
                  <a:pt x="2542" y="812"/>
                </a:moveTo>
                <a:lnTo>
                  <a:pt x="2543" y="812"/>
                </a:lnTo>
                <a:lnTo>
                  <a:pt x="2542" y="811"/>
                </a:lnTo>
                <a:lnTo>
                  <a:pt x="2542" y="812"/>
                </a:lnTo>
                <a:close/>
                <a:moveTo>
                  <a:pt x="751" y="828"/>
                </a:moveTo>
                <a:lnTo>
                  <a:pt x="750" y="825"/>
                </a:lnTo>
                <a:lnTo>
                  <a:pt x="750" y="824"/>
                </a:lnTo>
                <a:lnTo>
                  <a:pt x="750" y="824"/>
                </a:lnTo>
                <a:lnTo>
                  <a:pt x="749" y="823"/>
                </a:lnTo>
                <a:lnTo>
                  <a:pt x="749" y="823"/>
                </a:lnTo>
                <a:lnTo>
                  <a:pt x="747" y="824"/>
                </a:lnTo>
                <a:lnTo>
                  <a:pt x="747" y="831"/>
                </a:lnTo>
                <a:lnTo>
                  <a:pt x="751" y="828"/>
                </a:lnTo>
                <a:lnTo>
                  <a:pt x="751" y="828"/>
                </a:lnTo>
                <a:lnTo>
                  <a:pt x="751" y="828"/>
                </a:lnTo>
                <a:close/>
                <a:moveTo>
                  <a:pt x="2572" y="684"/>
                </a:moveTo>
                <a:lnTo>
                  <a:pt x="2572" y="685"/>
                </a:lnTo>
                <a:lnTo>
                  <a:pt x="2575" y="684"/>
                </a:lnTo>
                <a:lnTo>
                  <a:pt x="2572" y="684"/>
                </a:lnTo>
                <a:close/>
                <a:moveTo>
                  <a:pt x="679" y="721"/>
                </a:move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close/>
                <a:moveTo>
                  <a:pt x="2526" y="731"/>
                </a:moveTo>
                <a:lnTo>
                  <a:pt x="2526" y="731"/>
                </a:lnTo>
                <a:lnTo>
                  <a:pt x="2527" y="729"/>
                </a:lnTo>
                <a:lnTo>
                  <a:pt x="2518" y="727"/>
                </a:lnTo>
                <a:lnTo>
                  <a:pt x="2518" y="723"/>
                </a:lnTo>
                <a:lnTo>
                  <a:pt x="2515" y="721"/>
                </a:lnTo>
                <a:lnTo>
                  <a:pt x="2512" y="723"/>
                </a:lnTo>
                <a:lnTo>
                  <a:pt x="2514" y="726"/>
                </a:lnTo>
                <a:lnTo>
                  <a:pt x="2515" y="727"/>
                </a:lnTo>
                <a:lnTo>
                  <a:pt x="2516" y="727"/>
                </a:lnTo>
                <a:lnTo>
                  <a:pt x="2520" y="728"/>
                </a:lnTo>
                <a:lnTo>
                  <a:pt x="2516" y="728"/>
                </a:lnTo>
                <a:lnTo>
                  <a:pt x="2520" y="732"/>
                </a:lnTo>
                <a:lnTo>
                  <a:pt x="2522" y="732"/>
                </a:lnTo>
                <a:lnTo>
                  <a:pt x="2522" y="734"/>
                </a:lnTo>
                <a:lnTo>
                  <a:pt x="2526" y="732"/>
                </a:lnTo>
                <a:lnTo>
                  <a:pt x="2526" y="732"/>
                </a:lnTo>
                <a:lnTo>
                  <a:pt x="2526" y="732"/>
                </a:lnTo>
                <a:lnTo>
                  <a:pt x="2526" y="731"/>
                </a:lnTo>
                <a:close/>
                <a:moveTo>
                  <a:pt x="679" y="721"/>
                </a:move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close/>
                <a:moveTo>
                  <a:pt x="2522" y="758"/>
                </a:moveTo>
                <a:lnTo>
                  <a:pt x="2522" y="757"/>
                </a:lnTo>
                <a:lnTo>
                  <a:pt x="2516" y="759"/>
                </a:lnTo>
                <a:lnTo>
                  <a:pt x="2516" y="762"/>
                </a:lnTo>
                <a:lnTo>
                  <a:pt x="2520" y="761"/>
                </a:lnTo>
                <a:lnTo>
                  <a:pt x="2520" y="764"/>
                </a:lnTo>
                <a:lnTo>
                  <a:pt x="2523" y="762"/>
                </a:lnTo>
                <a:lnTo>
                  <a:pt x="2522" y="759"/>
                </a:lnTo>
                <a:lnTo>
                  <a:pt x="2522" y="759"/>
                </a:lnTo>
                <a:lnTo>
                  <a:pt x="2522" y="758"/>
                </a:lnTo>
                <a:close/>
                <a:moveTo>
                  <a:pt x="679" y="721"/>
                </a:moveTo>
                <a:lnTo>
                  <a:pt x="676" y="720"/>
                </a:lnTo>
                <a:lnTo>
                  <a:pt x="677" y="723"/>
                </a:lnTo>
                <a:lnTo>
                  <a:pt x="679" y="721"/>
                </a:lnTo>
                <a:lnTo>
                  <a:pt x="679" y="721"/>
                </a:lnTo>
                <a:lnTo>
                  <a:pt x="679" y="721"/>
                </a:lnTo>
                <a:close/>
                <a:moveTo>
                  <a:pt x="719" y="782"/>
                </a:moveTo>
                <a:lnTo>
                  <a:pt x="719" y="782"/>
                </a:lnTo>
                <a:lnTo>
                  <a:pt x="718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lnTo>
                  <a:pt x="719" y="782"/>
                </a:lnTo>
                <a:close/>
                <a:moveTo>
                  <a:pt x="2518" y="719"/>
                </a:moveTo>
                <a:lnTo>
                  <a:pt x="2518" y="723"/>
                </a:lnTo>
                <a:lnTo>
                  <a:pt x="2518" y="721"/>
                </a:lnTo>
                <a:lnTo>
                  <a:pt x="2518" y="719"/>
                </a:lnTo>
                <a:close/>
                <a:moveTo>
                  <a:pt x="1719" y="724"/>
                </a:moveTo>
                <a:lnTo>
                  <a:pt x="1713" y="726"/>
                </a:lnTo>
                <a:lnTo>
                  <a:pt x="1719" y="728"/>
                </a:lnTo>
                <a:lnTo>
                  <a:pt x="1719" y="724"/>
                </a:lnTo>
                <a:close/>
                <a:moveTo>
                  <a:pt x="1472" y="702"/>
                </a:moveTo>
                <a:lnTo>
                  <a:pt x="1472" y="702"/>
                </a:lnTo>
                <a:lnTo>
                  <a:pt x="1470" y="700"/>
                </a:lnTo>
                <a:lnTo>
                  <a:pt x="1470" y="702"/>
                </a:lnTo>
                <a:lnTo>
                  <a:pt x="1474" y="704"/>
                </a:lnTo>
                <a:lnTo>
                  <a:pt x="1472" y="702"/>
                </a:lnTo>
                <a:lnTo>
                  <a:pt x="1472" y="702"/>
                </a:lnTo>
                <a:lnTo>
                  <a:pt x="1472" y="702"/>
                </a:lnTo>
                <a:close/>
                <a:moveTo>
                  <a:pt x="1641" y="977"/>
                </a:moveTo>
                <a:lnTo>
                  <a:pt x="1641" y="977"/>
                </a:lnTo>
                <a:lnTo>
                  <a:pt x="1641" y="977"/>
                </a:lnTo>
                <a:lnTo>
                  <a:pt x="1641" y="977"/>
                </a:lnTo>
                <a:close/>
                <a:moveTo>
                  <a:pt x="1266" y="620"/>
                </a:moveTo>
                <a:lnTo>
                  <a:pt x="1266" y="620"/>
                </a:lnTo>
                <a:lnTo>
                  <a:pt x="1269" y="624"/>
                </a:lnTo>
                <a:lnTo>
                  <a:pt x="1266" y="620"/>
                </a:lnTo>
                <a:close/>
                <a:moveTo>
                  <a:pt x="277" y="702"/>
                </a:moveTo>
                <a:lnTo>
                  <a:pt x="278" y="701"/>
                </a:lnTo>
                <a:lnTo>
                  <a:pt x="282" y="696"/>
                </a:lnTo>
                <a:lnTo>
                  <a:pt x="276" y="698"/>
                </a:lnTo>
                <a:lnTo>
                  <a:pt x="275" y="698"/>
                </a:lnTo>
                <a:lnTo>
                  <a:pt x="277" y="702"/>
                </a:lnTo>
                <a:close/>
                <a:moveTo>
                  <a:pt x="1680" y="981"/>
                </a:moveTo>
                <a:lnTo>
                  <a:pt x="1679" y="982"/>
                </a:lnTo>
                <a:lnTo>
                  <a:pt x="1680" y="983"/>
                </a:lnTo>
                <a:lnTo>
                  <a:pt x="1680" y="981"/>
                </a:lnTo>
                <a:close/>
                <a:moveTo>
                  <a:pt x="1712" y="724"/>
                </a:moveTo>
                <a:lnTo>
                  <a:pt x="1712" y="724"/>
                </a:lnTo>
                <a:lnTo>
                  <a:pt x="1713" y="726"/>
                </a:lnTo>
                <a:lnTo>
                  <a:pt x="1715" y="724"/>
                </a:lnTo>
                <a:lnTo>
                  <a:pt x="1713" y="723"/>
                </a:lnTo>
                <a:lnTo>
                  <a:pt x="1713" y="723"/>
                </a:lnTo>
                <a:lnTo>
                  <a:pt x="1713" y="723"/>
                </a:lnTo>
                <a:lnTo>
                  <a:pt x="1712" y="724"/>
                </a:lnTo>
                <a:close/>
                <a:moveTo>
                  <a:pt x="1731" y="937"/>
                </a:moveTo>
                <a:lnTo>
                  <a:pt x="1731" y="938"/>
                </a:lnTo>
                <a:lnTo>
                  <a:pt x="1731" y="938"/>
                </a:lnTo>
                <a:lnTo>
                  <a:pt x="1732" y="937"/>
                </a:lnTo>
                <a:lnTo>
                  <a:pt x="1731" y="937"/>
                </a:lnTo>
                <a:close/>
                <a:moveTo>
                  <a:pt x="1374" y="459"/>
                </a:moveTo>
                <a:lnTo>
                  <a:pt x="1376" y="459"/>
                </a:lnTo>
                <a:lnTo>
                  <a:pt x="1377" y="459"/>
                </a:lnTo>
                <a:lnTo>
                  <a:pt x="1377" y="459"/>
                </a:lnTo>
                <a:lnTo>
                  <a:pt x="1377" y="459"/>
                </a:lnTo>
                <a:lnTo>
                  <a:pt x="1374" y="459"/>
                </a:lnTo>
                <a:close/>
                <a:moveTo>
                  <a:pt x="709" y="445"/>
                </a:moveTo>
                <a:lnTo>
                  <a:pt x="709" y="442"/>
                </a:lnTo>
                <a:lnTo>
                  <a:pt x="708" y="440"/>
                </a:lnTo>
                <a:lnTo>
                  <a:pt x="708" y="440"/>
                </a:lnTo>
                <a:lnTo>
                  <a:pt x="709" y="445"/>
                </a:lnTo>
                <a:close/>
                <a:moveTo>
                  <a:pt x="1045" y="508"/>
                </a:moveTo>
                <a:lnTo>
                  <a:pt x="1046" y="507"/>
                </a:lnTo>
                <a:lnTo>
                  <a:pt x="1045" y="507"/>
                </a:lnTo>
                <a:lnTo>
                  <a:pt x="1044" y="507"/>
                </a:lnTo>
                <a:lnTo>
                  <a:pt x="1045" y="508"/>
                </a:lnTo>
                <a:close/>
                <a:moveTo>
                  <a:pt x="300" y="404"/>
                </a:moveTo>
                <a:lnTo>
                  <a:pt x="301" y="405"/>
                </a:lnTo>
                <a:lnTo>
                  <a:pt x="303" y="403"/>
                </a:lnTo>
                <a:lnTo>
                  <a:pt x="300" y="404"/>
                </a:lnTo>
                <a:close/>
                <a:moveTo>
                  <a:pt x="1241" y="379"/>
                </a:moveTo>
                <a:lnTo>
                  <a:pt x="1247" y="379"/>
                </a:lnTo>
                <a:lnTo>
                  <a:pt x="1245" y="375"/>
                </a:lnTo>
                <a:lnTo>
                  <a:pt x="1255" y="362"/>
                </a:lnTo>
                <a:lnTo>
                  <a:pt x="1253" y="360"/>
                </a:lnTo>
                <a:lnTo>
                  <a:pt x="1249" y="355"/>
                </a:lnTo>
                <a:lnTo>
                  <a:pt x="1249" y="359"/>
                </a:lnTo>
                <a:lnTo>
                  <a:pt x="1241" y="359"/>
                </a:lnTo>
                <a:lnTo>
                  <a:pt x="1241" y="352"/>
                </a:lnTo>
                <a:lnTo>
                  <a:pt x="1256" y="351"/>
                </a:lnTo>
                <a:lnTo>
                  <a:pt x="1273" y="354"/>
                </a:lnTo>
                <a:lnTo>
                  <a:pt x="1279" y="349"/>
                </a:lnTo>
                <a:lnTo>
                  <a:pt x="1288" y="336"/>
                </a:lnTo>
                <a:lnTo>
                  <a:pt x="1303" y="320"/>
                </a:lnTo>
                <a:lnTo>
                  <a:pt x="1283" y="317"/>
                </a:lnTo>
                <a:lnTo>
                  <a:pt x="1273" y="318"/>
                </a:lnTo>
                <a:lnTo>
                  <a:pt x="1273" y="317"/>
                </a:lnTo>
                <a:lnTo>
                  <a:pt x="1268" y="313"/>
                </a:lnTo>
                <a:lnTo>
                  <a:pt x="1258" y="312"/>
                </a:lnTo>
                <a:lnTo>
                  <a:pt x="1243" y="313"/>
                </a:lnTo>
                <a:lnTo>
                  <a:pt x="1228" y="319"/>
                </a:lnTo>
                <a:lnTo>
                  <a:pt x="1231" y="322"/>
                </a:lnTo>
                <a:lnTo>
                  <a:pt x="1235" y="322"/>
                </a:lnTo>
                <a:lnTo>
                  <a:pt x="1232" y="324"/>
                </a:lnTo>
                <a:lnTo>
                  <a:pt x="1240" y="326"/>
                </a:lnTo>
                <a:lnTo>
                  <a:pt x="1226" y="324"/>
                </a:lnTo>
                <a:lnTo>
                  <a:pt x="1224" y="325"/>
                </a:lnTo>
                <a:lnTo>
                  <a:pt x="1225" y="328"/>
                </a:lnTo>
                <a:lnTo>
                  <a:pt x="1224" y="330"/>
                </a:lnTo>
                <a:lnTo>
                  <a:pt x="1225" y="341"/>
                </a:lnTo>
                <a:lnTo>
                  <a:pt x="1224" y="343"/>
                </a:lnTo>
                <a:lnTo>
                  <a:pt x="1225" y="354"/>
                </a:lnTo>
                <a:lnTo>
                  <a:pt x="1227" y="355"/>
                </a:lnTo>
                <a:lnTo>
                  <a:pt x="1229" y="361"/>
                </a:lnTo>
                <a:lnTo>
                  <a:pt x="1229" y="371"/>
                </a:lnTo>
                <a:lnTo>
                  <a:pt x="1237" y="371"/>
                </a:lnTo>
                <a:lnTo>
                  <a:pt x="1229" y="371"/>
                </a:lnTo>
                <a:lnTo>
                  <a:pt x="1229" y="379"/>
                </a:lnTo>
                <a:lnTo>
                  <a:pt x="1229" y="379"/>
                </a:lnTo>
                <a:lnTo>
                  <a:pt x="1231" y="377"/>
                </a:lnTo>
                <a:lnTo>
                  <a:pt x="1240" y="375"/>
                </a:lnTo>
                <a:lnTo>
                  <a:pt x="1241" y="376"/>
                </a:lnTo>
                <a:lnTo>
                  <a:pt x="1237" y="379"/>
                </a:lnTo>
                <a:lnTo>
                  <a:pt x="1237" y="379"/>
                </a:lnTo>
                <a:lnTo>
                  <a:pt x="1240" y="379"/>
                </a:lnTo>
                <a:lnTo>
                  <a:pt x="1241" y="379"/>
                </a:lnTo>
                <a:close/>
                <a:moveTo>
                  <a:pt x="1224" y="341"/>
                </a:moveTo>
                <a:lnTo>
                  <a:pt x="1221" y="343"/>
                </a:lnTo>
                <a:lnTo>
                  <a:pt x="1224" y="344"/>
                </a:lnTo>
                <a:lnTo>
                  <a:pt x="1224" y="343"/>
                </a:lnTo>
                <a:lnTo>
                  <a:pt x="1224" y="343"/>
                </a:lnTo>
                <a:lnTo>
                  <a:pt x="1224" y="341"/>
                </a:lnTo>
                <a:close/>
                <a:moveTo>
                  <a:pt x="1181" y="470"/>
                </a:moveTo>
                <a:lnTo>
                  <a:pt x="1181" y="472"/>
                </a:lnTo>
                <a:lnTo>
                  <a:pt x="1181" y="471"/>
                </a:lnTo>
                <a:lnTo>
                  <a:pt x="1181" y="470"/>
                </a:lnTo>
                <a:close/>
                <a:moveTo>
                  <a:pt x="1438" y="1311"/>
                </a:moveTo>
                <a:lnTo>
                  <a:pt x="1438" y="1310"/>
                </a:lnTo>
                <a:lnTo>
                  <a:pt x="1438" y="1311"/>
                </a:lnTo>
                <a:lnTo>
                  <a:pt x="1438" y="1311"/>
                </a:lnTo>
                <a:close/>
                <a:moveTo>
                  <a:pt x="1439" y="1311"/>
                </a:moveTo>
                <a:lnTo>
                  <a:pt x="1440" y="1311"/>
                </a:lnTo>
                <a:lnTo>
                  <a:pt x="1439" y="1310"/>
                </a:lnTo>
                <a:lnTo>
                  <a:pt x="1438" y="1310"/>
                </a:lnTo>
                <a:lnTo>
                  <a:pt x="1439" y="1311"/>
                </a:lnTo>
                <a:close/>
                <a:moveTo>
                  <a:pt x="1513" y="1121"/>
                </a:moveTo>
                <a:lnTo>
                  <a:pt x="1513" y="1121"/>
                </a:lnTo>
                <a:lnTo>
                  <a:pt x="1513" y="1121"/>
                </a:lnTo>
                <a:lnTo>
                  <a:pt x="1513" y="1122"/>
                </a:lnTo>
                <a:lnTo>
                  <a:pt x="1513" y="1121"/>
                </a:lnTo>
                <a:close/>
                <a:moveTo>
                  <a:pt x="1641" y="980"/>
                </a:moveTo>
                <a:lnTo>
                  <a:pt x="1641" y="978"/>
                </a:lnTo>
                <a:lnTo>
                  <a:pt x="1641" y="979"/>
                </a:lnTo>
                <a:lnTo>
                  <a:pt x="1641" y="980"/>
                </a:lnTo>
                <a:close/>
                <a:moveTo>
                  <a:pt x="1447" y="1311"/>
                </a:moveTo>
                <a:lnTo>
                  <a:pt x="1447" y="1310"/>
                </a:lnTo>
                <a:lnTo>
                  <a:pt x="1445" y="1314"/>
                </a:lnTo>
                <a:lnTo>
                  <a:pt x="1447" y="1311"/>
                </a:lnTo>
                <a:lnTo>
                  <a:pt x="1447" y="1311"/>
                </a:lnTo>
                <a:lnTo>
                  <a:pt x="1447" y="1311"/>
                </a:lnTo>
                <a:lnTo>
                  <a:pt x="1447" y="1311"/>
                </a:lnTo>
                <a:close/>
                <a:moveTo>
                  <a:pt x="1414" y="1272"/>
                </a:moveTo>
                <a:lnTo>
                  <a:pt x="1416" y="1269"/>
                </a:lnTo>
                <a:lnTo>
                  <a:pt x="1414" y="1266"/>
                </a:lnTo>
                <a:lnTo>
                  <a:pt x="1414" y="1265"/>
                </a:lnTo>
                <a:lnTo>
                  <a:pt x="1413" y="1269"/>
                </a:lnTo>
                <a:lnTo>
                  <a:pt x="1414" y="1272"/>
                </a:lnTo>
                <a:close/>
                <a:moveTo>
                  <a:pt x="1436" y="1310"/>
                </a:moveTo>
                <a:lnTo>
                  <a:pt x="1438" y="1310"/>
                </a:lnTo>
                <a:lnTo>
                  <a:pt x="1438" y="1310"/>
                </a:lnTo>
                <a:lnTo>
                  <a:pt x="1436" y="1310"/>
                </a:lnTo>
                <a:close/>
                <a:moveTo>
                  <a:pt x="1414" y="1265"/>
                </a:moveTo>
                <a:lnTo>
                  <a:pt x="1414" y="1265"/>
                </a:lnTo>
                <a:lnTo>
                  <a:pt x="1414" y="1265"/>
                </a:lnTo>
                <a:lnTo>
                  <a:pt x="1414" y="1265"/>
                </a:lnTo>
                <a:close/>
                <a:moveTo>
                  <a:pt x="1433" y="1218"/>
                </a:moveTo>
                <a:lnTo>
                  <a:pt x="1433" y="1218"/>
                </a:lnTo>
                <a:lnTo>
                  <a:pt x="1433" y="1216"/>
                </a:lnTo>
                <a:lnTo>
                  <a:pt x="1433" y="1218"/>
                </a:lnTo>
                <a:close/>
                <a:moveTo>
                  <a:pt x="1614" y="989"/>
                </a:moveTo>
                <a:lnTo>
                  <a:pt x="1617" y="989"/>
                </a:lnTo>
                <a:lnTo>
                  <a:pt x="1617" y="989"/>
                </a:lnTo>
                <a:lnTo>
                  <a:pt x="1614" y="989"/>
                </a:lnTo>
                <a:lnTo>
                  <a:pt x="1614" y="989"/>
                </a:lnTo>
                <a:close/>
                <a:moveTo>
                  <a:pt x="1641" y="978"/>
                </a:moveTo>
                <a:lnTo>
                  <a:pt x="1643" y="977"/>
                </a:lnTo>
                <a:lnTo>
                  <a:pt x="1641" y="977"/>
                </a:lnTo>
                <a:lnTo>
                  <a:pt x="1641" y="978"/>
                </a:lnTo>
                <a:lnTo>
                  <a:pt x="1641" y="978"/>
                </a:lnTo>
                <a:close/>
                <a:moveTo>
                  <a:pt x="1614" y="988"/>
                </a:moveTo>
                <a:lnTo>
                  <a:pt x="1614" y="989"/>
                </a:lnTo>
                <a:lnTo>
                  <a:pt x="1614" y="988"/>
                </a:lnTo>
                <a:lnTo>
                  <a:pt x="1614" y="988"/>
                </a:lnTo>
                <a:close/>
                <a:moveTo>
                  <a:pt x="1540" y="1053"/>
                </a:moveTo>
                <a:lnTo>
                  <a:pt x="1539" y="1053"/>
                </a:lnTo>
                <a:lnTo>
                  <a:pt x="1537" y="1054"/>
                </a:lnTo>
                <a:lnTo>
                  <a:pt x="1537" y="1054"/>
                </a:lnTo>
                <a:lnTo>
                  <a:pt x="1540" y="1053"/>
                </a:lnTo>
                <a:close/>
                <a:moveTo>
                  <a:pt x="1506" y="1083"/>
                </a:moveTo>
                <a:lnTo>
                  <a:pt x="1507" y="1081"/>
                </a:lnTo>
                <a:lnTo>
                  <a:pt x="1507" y="1081"/>
                </a:lnTo>
                <a:lnTo>
                  <a:pt x="1506" y="1081"/>
                </a:lnTo>
                <a:lnTo>
                  <a:pt x="1506" y="1083"/>
                </a:lnTo>
                <a:close/>
                <a:moveTo>
                  <a:pt x="1517" y="1132"/>
                </a:moveTo>
                <a:lnTo>
                  <a:pt x="1513" y="1120"/>
                </a:lnTo>
                <a:lnTo>
                  <a:pt x="1513" y="1121"/>
                </a:lnTo>
                <a:lnTo>
                  <a:pt x="1518" y="1137"/>
                </a:lnTo>
                <a:lnTo>
                  <a:pt x="1517" y="1132"/>
                </a:lnTo>
                <a:close/>
                <a:moveTo>
                  <a:pt x="751" y="410"/>
                </a:moveTo>
                <a:lnTo>
                  <a:pt x="750" y="413"/>
                </a:lnTo>
                <a:lnTo>
                  <a:pt x="752" y="412"/>
                </a:lnTo>
                <a:lnTo>
                  <a:pt x="751" y="410"/>
                </a:lnTo>
                <a:close/>
                <a:moveTo>
                  <a:pt x="720" y="802"/>
                </a:moveTo>
                <a:lnTo>
                  <a:pt x="722" y="801"/>
                </a:lnTo>
                <a:lnTo>
                  <a:pt x="720" y="797"/>
                </a:lnTo>
                <a:lnTo>
                  <a:pt x="716" y="798"/>
                </a:lnTo>
                <a:lnTo>
                  <a:pt x="716" y="801"/>
                </a:lnTo>
                <a:lnTo>
                  <a:pt x="718" y="801"/>
                </a:lnTo>
                <a:lnTo>
                  <a:pt x="720" y="798"/>
                </a:lnTo>
                <a:lnTo>
                  <a:pt x="719" y="802"/>
                </a:lnTo>
                <a:lnTo>
                  <a:pt x="720" y="802"/>
                </a:lnTo>
                <a:close/>
                <a:moveTo>
                  <a:pt x="210" y="792"/>
                </a:moveTo>
                <a:lnTo>
                  <a:pt x="211" y="796"/>
                </a:lnTo>
                <a:lnTo>
                  <a:pt x="213" y="792"/>
                </a:lnTo>
                <a:lnTo>
                  <a:pt x="210" y="792"/>
                </a:lnTo>
                <a:close/>
                <a:moveTo>
                  <a:pt x="203" y="803"/>
                </a:moveTo>
                <a:lnTo>
                  <a:pt x="204" y="801"/>
                </a:lnTo>
                <a:lnTo>
                  <a:pt x="200" y="802"/>
                </a:lnTo>
                <a:lnTo>
                  <a:pt x="203" y="803"/>
                </a:lnTo>
                <a:close/>
                <a:moveTo>
                  <a:pt x="204" y="796"/>
                </a:moveTo>
                <a:lnTo>
                  <a:pt x="206" y="797"/>
                </a:lnTo>
                <a:lnTo>
                  <a:pt x="210" y="796"/>
                </a:lnTo>
                <a:lnTo>
                  <a:pt x="205" y="792"/>
                </a:lnTo>
                <a:lnTo>
                  <a:pt x="204" y="796"/>
                </a:lnTo>
                <a:close/>
                <a:moveTo>
                  <a:pt x="215" y="797"/>
                </a:moveTo>
                <a:lnTo>
                  <a:pt x="216" y="796"/>
                </a:lnTo>
                <a:lnTo>
                  <a:pt x="213" y="796"/>
                </a:lnTo>
                <a:lnTo>
                  <a:pt x="215" y="797"/>
                </a:lnTo>
                <a:close/>
                <a:moveTo>
                  <a:pt x="258" y="781"/>
                </a:moveTo>
                <a:lnTo>
                  <a:pt x="259" y="777"/>
                </a:lnTo>
                <a:lnTo>
                  <a:pt x="256" y="779"/>
                </a:lnTo>
                <a:lnTo>
                  <a:pt x="258" y="781"/>
                </a:lnTo>
                <a:close/>
                <a:moveTo>
                  <a:pt x="251" y="789"/>
                </a:moveTo>
                <a:lnTo>
                  <a:pt x="255" y="790"/>
                </a:lnTo>
                <a:lnTo>
                  <a:pt x="251" y="787"/>
                </a:lnTo>
                <a:lnTo>
                  <a:pt x="251" y="789"/>
                </a:lnTo>
                <a:close/>
                <a:moveTo>
                  <a:pt x="198" y="797"/>
                </a:moveTo>
                <a:lnTo>
                  <a:pt x="193" y="801"/>
                </a:lnTo>
                <a:lnTo>
                  <a:pt x="193" y="797"/>
                </a:lnTo>
                <a:lnTo>
                  <a:pt x="190" y="799"/>
                </a:lnTo>
                <a:lnTo>
                  <a:pt x="188" y="802"/>
                </a:lnTo>
                <a:lnTo>
                  <a:pt x="193" y="804"/>
                </a:lnTo>
                <a:lnTo>
                  <a:pt x="191" y="804"/>
                </a:lnTo>
                <a:lnTo>
                  <a:pt x="189" y="808"/>
                </a:lnTo>
                <a:lnTo>
                  <a:pt x="188" y="808"/>
                </a:lnTo>
                <a:lnTo>
                  <a:pt x="189" y="809"/>
                </a:lnTo>
                <a:lnTo>
                  <a:pt x="188" y="809"/>
                </a:lnTo>
                <a:lnTo>
                  <a:pt x="178" y="812"/>
                </a:lnTo>
                <a:lnTo>
                  <a:pt x="181" y="813"/>
                </a:lnTo>
                <a:lnTo>
                  <a:pt x="193" y="808"/>
                </a:lnTo>
                <a:lnTo>
                  <a:pt x="196" y="804"/>
                </a:lnTo>
                <a:lnTo>
                  <a:pt x="197" y="803"/>
                </a:lnTo>
                <a:lnTo>
                  <a:pt x="197" y="802"/>
                </a:lnTo>
                <a:lnTo>
                  <a:pt x="203" y="799"/>
                </a:lnTo>
                <a:lnTo>
                  <a:pt x="198" y="797"/>
                </a:lnTo>
                <a:close/>
                <a:moveTo>
                  <a:pt x="264" y="774"/>
                </a:moveTo>
                <a:lnTo>
                  <a:pt x="265" y="776"/>
                </a:lnTo>
                <a:lnTo>
                  <a:pt x="269" y="774"/>
                </a:lnTo>
                <a:lnTo>
                  <a:pt x="267" y="774"/>
                </a:lnTo>
                <a:lnTo>
                  <a:pt x="264" y="774"/>
                </a:lnTo>
                <a:close/>
                <a:moveTo>
                  <a:pt x="145" y="823"/>
                </a:moveTo>
                <a:lnTo>
                  <a:pt x="146" y="823"/>
                </a:lnTo>
                <a:lnTo>
                  <a:pt x="145" y="822"/>
                </a:lnTo>
                <a:lnTo>
                  <a:pt x="145" y="823"/>
                </a:lnTo>
                <a:close/>
                <a:moveTo>
                  <a:pt x="141" y="731"/>
                </a:moveTo>
                <a:lnTo>
                  <a:pt x="144" y="732"/>
                </a:lnTo>
                <a:lnTo>
                  <a:pt x="145" y="730"/>
                </a:lnTo>
                <a:lnTo>
                  <a:pt x="141" y="731"/>
                </a:lnTo>
                <a:close/>
                <a:moveTo>
                  <a:pt x="151" y="822"/>
                </a:moveTo>
                <a:lnTo>
                  <a:pt x="151" y="820"/>
                </a:lnTo>
                <a:lnTo>
                  <a:pt x="147" y="822"/>
                </a:lnTo>
                <a:lnTo>
                  <a:pt x="151" y="822"/>
                </a:lnTo>
                <a:close/>
                <a:moveTo>
                  <a:pt x="176" y="807"/>
                </a:moveTo>
                <a:lnTo>
                  <a:pt x="169" y="808"/>
                </a:lnTo>
                <a:lnTo>
                  <a:pt x="169" y="810"/>
                </a:lnTo>
                <a:lnTo>
                  <a:pt x="169" y="812"/>
                </a:lnTo>
                <a:lnTo>
                  <a:pt x="166" y="812"/>
                </a:lnTo>
                <a:lnTo>
                  <a:pt x="161" y="815"/>
                </a:lnTo>
                <a:lnTo>
                  <a:pt x="161" y="819"/>
                </a:lnTo>
                <a:lnTo>
                  <a:pt x="159" y="822"/>
                </a:lnTo>
                <a:lnTo>
                  <a:pt x="169" y="817"/>
                </a:lnTo>
                <a:lnTo>
                  <a:pt x="171" y="813"/>
                </a:lnTo>
                <a:lnTo>
                  <a:pt x="178" y="810"/>
                </a:lnTo>
                <a:lnTo>
                  <a:pt x="180" y="808"/>
                </a:lnTo>
                <a:lnTo>
                  <a:pt x="176" y="807"/>
                </a:lnTo>
                <a:close/>
                <a:moveTo>
                  <a:pt x="152" y="743"/>
                </a:moveTo>
                <a:lnTo>
                  <a:pt x="154" y="743"/>
                </a:lnTo>
                <a:lnTo>
                  <a:pt x="149" y="743"/>
                </a:lnTo>
                <a:lnTo>
                  <a:pt x="152" y="743"/>
                </a:lnTo>
                <a:close/>
                <a:moveTo>
                  <a:pt x="164" y="599"/>
                </a:moveTo>
                <a:lnTo>
                  <a:pt x="158" y="599"/>
                </a:lnTo>
                <a:lnTo>
                  <a:pt x="152" y="604"/>
                </a:lnTo>
                <a:lnTo>
                  <a:pt x="151" y="604"/>
                </a:lnTo>
                <a:lnTo>
                  <a:pt x="148" y="598"/>
                </a:lnTo>
                <a:lnTo>
                  <a:pt x="141" y="596"/>
                </a:lnTo>
                <a:lnTo>
                  <a:pt x="141" y="594"/>
                </a:lnTo>
                <a:lnTo>
                  <a:pt x="141" y="593"/>
                </a:lnTo>
                <a:lnTo>
                  <a:pt x="133" y="589"/>
                </a:lnTo>
                <a:lnTo>
                  <a:pt x="133" y="589"/>
                </a:lnTo>
                <a:lnTo>
                  <a:pt x="133" y="589"/>
                </a:lnTo>
                <a:lnTo>
                  <a:pt x="132" y="589"/>
                </a:lnTo>
                <a:lnTo>
                  <a:pt x="132" y="589"/>
                </a:lnTo>
                <a:lnTo>
                  <a:pt x="122" y="592"/>
                </a:lnTo>
                <a:lnTo>
                  <a:pt x="116" y="590"/>
                </a:lnTo>
                <a:lnTo>
                  <a:pt x="116" y="588"/>
                </a:lnTo>
                <a:lnTo>
                  <a:pt x="120" y="581"/>
                </a:lnTo>
                <a:lnTo>
                  <a:pt x="125" y="587"/>
                </a:lnTo>
                <a:lnTo>
                  <a:pt x="133" y="587"/>
                </a:lnTo>
                <a:lnTo>
                  <a:pt x="144" y="583"/>
                </a:lnTo>
                <a:lnTo>
                  <a:pt x="154" y="591"/>
                </a:lnTo>
                <a:lnTo>
                  <a:pt x="166" y="594"/>
                </a:lnTo>
                <a:lnTo>
                  <a:pt x="164" y="599"/>
                </a:lnTo>
                <a:close/>
                <a:moveTo>
                  <a:pt x="133" y="589"/>
                </a:moveTo>
                <a:lnTo>
                  <a:pt x="134" y="589"/>
                </a:lnTo>
                <a:lnTo>
                  <a:pt x="133" y="589"/>
                </a:lnTo>
                <a:lnTo>
                  <a:pt x="133" y="589"/>
                </a:lnTo>
                <a:lnTo>
                  <a:pt x="133" y="589"/>
                </a:lnTo>
                <a:close/>
                <a:moveTo>
                  <a:pt x="141" y="592"/>
                </a:moveTo>
                <a:lnTo>
                  <a:pt x="139" y="590"/>
                </a:lnTo>
                <a:lnTo>
                  <a:pt x="134" y="589"/>
                </a:lnTo>
                <a:lnTo>
                  <a:pt x="141" y="593"/>
                </a:lnTo>
                <a:lnTo>
                  <a:pt x="141" y="592"/>
                </a:lnTo>
                <a:close/>
                <a:moveTo>
                  <a:pt x="331" y="1663"/>
                </a:moveTo>
                <a:lnTo>
                  <a:pt x="329" y="1665"/>
                </a:lnTo>
                <a:lnTo>
                  <a:pt x="327" y="1665"/>
                </a:lnTo>
                <a:lnTo>
                  <a:pt x="333" y="1667"/>
                </a:lnTo>
                <a:lnTo>
                  <a:pt x="331" y="1665"/>
                </a:lnTo>
                <a:lnTo>
                  <a:pt x="331" y="1663"/>
                </a:lnTo>
                <a:close/>
                <a:moveTo>
                  <a:pt x="303" y="779"/>
                </a:moveTo>
                <a:lnTo>
                  <a:pt x="303" y="779"/>
                </a:lnTo>
                <a:lnTo>
                  <a:pt x="303" y="777"/>
                </a:lnTo>
                <a:lnTo>
                  <a:pt x="303" y="779"/>
                </a:lnTo>
                <a:close/>
                <a:moveTo>
                  <a:pt x="333" y="1373"/>
                </a:moveTo>
                <a:lnTo>
                  <a:pt x="330" y="1376"/>
                </a:lnTo>
                <a:lnTo>
                  <a:pt x="337" y="1376"/>
                </a:lnTo>
                <a:lnTo>
                  <a:pt x="338" y="1373"/>
                </a:lnTo>
                <a:lnTo>
                  <a:pt x="333" y="1373"/>
                </a:lnTo>
                <a:close/>
                <a:moveTo>
                  <a:pt x="301" y="777"/>
                </a:moveTo>
                <a:lnTo>
                  <a:pt x="301" y="776"/>
                </a:lnTo>
                <a:lnTo>
                  <a:pt x="300" y="776"/>
                </a:lnTo>
                <a:lnTo>
                  <a:pt x="300" y="777"/>
                </a:lnTo>
                <a:lnTo>
                  <a:pt x="301" y="777"/>
                </a:lnTo>
                <a:close/>
                <a:moveTo>
                  <a:pt x="297" y="776"/>
                </a:moveTo>
                <a:lnTo>
                  <a:pt x="300" y="776"/>
                </a:lnTo>
                <a:lnTo>
                  <a:pt x="300" y="773"/>
                </a:lnTo>
                <a:lnTo>
                  <a:pt x="297" y="776"/>
                </a:lnTo>
                <a:close/>
                <a:moveTo>
                  <a:pt x="283" y="769"/>
                </a:moveTo>
                <a:lnTo>
                  <a:pt x="282" y="769"/>
                </a:lnTo>
                <a:lnTo>
                  <a:pt x="281" y="770"/>
                </a:lnTo>
                <a:lnTo>
                  <a:pt x="281" y="774"/>
                </a:lnTo>
                <a:lnTo>
                  <a:pt x="284" y="773"/>
                </a:lnTo>
                <a:lnTo>
                  <a:pt x="283" y="773"/>
                </a:lnTo>
                <a:lnTo>
                  <a:pt x="283" y="769"/>
                </a:lnTo>
                <a:close/>
                <a:moveTo>
                  <a:pt x="316" y="1369"/>
                </a:moveTo>
                <a:lnTo>
                  <a:pt x="320" y="1375"/>
                </a:lnTo>
                <a:lnTo>
                  <a:pt x="323" y="1375"/>
                </a:lnTo>
                <a:lnTo>
                  <a:pt x="326" y="1375"/>
                </a:lnTo>
                <a:lnTo>
                  <a:pt x="322" y="1368"/>
                </a:lnTo>
                <a:lnTo>
                  <a:pt x="316" y="1369"/>
                </a:lnTo>
                <a:close/>
                <a:moveTo>
                  <a:pt x="136" y="826"/>
                </a:moveTo>
                <a:lnTo>
                  <a:pt x="138" y="824"/>
                </a:lnTo>
                <a:lnTo>
                  <a:pt x="137" y="824"/>
                </a:lnTo>
                <a:lnTo>
                  <a:pt x="136" y="826"/>
                </a:lnTo>
                <a:close/>
                <a:moveTo>
                  <a:pt x="337" y="1381"/>
                </a:moveTo>
                <a:lnTo>
                  <a:pt x="337" y="1379"/>
                </a:lnTo>
                <a:lnTo>
                  <a:pt x="334" y="1379"/>
                </a:lnTo>
                <a:lnTo>
                  <a:pt x="337" y="1381"/>
                </a:lnTo>
                <a:close/>
                <a:moveTo>
                  <a:pt x="289" y="1365"/>
                </a:moveTo>
                <a:lnTo>
                  <a:pt x="291" y="1361"/>
                </a:lnTo>
                <a:lnTo>
                  <a:pt x="288" y="1362"/>
                </a:lnTo>
                <a:lnTo>
                  <a:pt x="289" y="1365"/>
                </a:lnTo>
                <a:close/>
                <a:moveTo>
                  <a:pt x="296" y="1360"/>
                </a:moveTo>
                <a:lnTo>
                  <a:pt x="296" y="1362"/>
                </a:lnTo>
                <a:lnTo>
                  <a:pt x="300" y="1365"/>
                </a:lnTo>
                <a:lnTo>
                  <a:pt x="301" y="1362"/>
                </a:lnTo>
                <a:lnTo>
                  <a:pt x="303" y="1357"/>
                </a:lnTo>
                <a:lnTo>
                  <a:pt x="297" y="1357"/>
                </a:lnTo>
                <a:lnTo>
                  <a:pt x="296" y="1360"/>
                </a:lnTo>
                <a:close/>
                <a:moveTo>
                  <a:pt x="286" y="773"/>
                </a:moveTo>
                <a:lnTo>
                  <a:pt x="286" y="769"/>
                </a:lnTo>
                <a:lnTo>
                  <a:pt x="284" y="770"/>
                </a:lnTo>
                <a:lnTo>
                  <a:pt x="286" y="773"/>
                </a:lnTo>
                <a:close/>
                <a:moveTo>
                  <a:pt x="293" y="774"/>
                </a:moveTo>
                <a:lnTo>
                  <a:pt x="293" y="770"/>
                </a:lnTo>
                <a:lnTo>
                  <a:pt x="291" y="775"/>
                </a:lnTo>
                <a:lnTo>
                  <a:pt x="293" y="774"/>
                </a:lnTo>
                <a:close/>
                <a:moveTo>
                  <a:pt x="289" y="776"/>
                </a:moveTo>
                <a:lnTo>
                  <a:pt x="288" y="779"/>
                </a:lnTo>
                <a:lnTo>
                  <a:pt x="291" y="776"/>
                </a:lnTo>
                <a:lnTo>
                  <a:pt x="289" y="776"/>
                </a:lnTo>
                <a:lnTo>
                  <a:pt x="289" y="776"/>
                </a:lnTo>
                <a:close/>
                <a:moveTo>
                  <a:pt x="291" y="776"/>
                </a:moveTo>
                <a:lnTo>
                  <a:pt x="291" y="775"/>
                </a:lnTo>
                <a:lnTo>
                  <a:pt x="291" y="776"/>
                </a:lnTo>
                <a:lnTo>
                  <a:pt x="291" y="776"/>
                </a:lnTo>
                <a:close/>
                <a:moveTo>
                  <a:pt x="307" y="759"/>
                </a:moveTo>
                <a:lnTo>
                  <a:pt x="310" y="759"/>
                </a:lnTo>
                <a:lnTo>
                  <a:pt x="308" y="758"/>
                </a:lnTo>
                <a:lnTo>
                  <a:pt x="307" y="759"/>
                </a:lnTo>
                <a:close/>
                <a:moveTo>
                  <a:pt x="1" y="1946"/>
                </a:moveTo>
                <a:lnTo>
                  <a:pt x="0" y="1948"/>
                </a:lnTo>
                <a:lnTo>
                  <a:pt x="0" y="1950"/>
                </a:lnTo>
                <a:lnTo>
                  <a:pt x="1" y="1948"/>
                </a:lnTo>
                <a:lnTo>
                  <a:pt x="1" y="1946"/>
                </a:lnTo>
                <a:close/>
                <a:moveTo>
                  <a:pt x="50" y="839"/>
                </a:moveTo>
                <a:lnTo>
                  <a:pt x="44" y="840"/>
                </a:lnTo>
                <a:lnTo>
                  <a:pt x="44" y="841"/>
                </a:lnTo>
                <a:lnTo>
                  <a:pt x="44" y="846"/>
                </a:lnTo>
                <a:lnTo>
                  <a:pt x="44" y="847"/>
                </a:lnTo>
                <a:lnTo>
                  <a:pt x="50" y="843"/>
                </a:lnTo>
                <a:lnTo>
                  <a:pt x="50" y="839"/>
                </a:lnTo>
                <a:close/>
                <a:moveTo>
                  <a:pt x="1" y="1981"/>
                </a:moveTo>
                <a:lnTo>
                  <a:pt x="4" y="1979"/>
                </a:lnTo>
                <a:lnTo>
                  <a:pt x="1" y="1979"/>
                </a:lnTo>
                <a:lnTo>
                  <a:pt x="1" y="1981"/>
                </a:lnTo>
                <a:close/>
                <a:moveTo>
                  <a:pt x="52" y="844"/>
                </a:moveTo>
                <a:lnTo>
                  <a:pt x="52" y="842"/>
                </a:lnTo>
                <a:lnTo>
                  <a:pt x="50" y="843"/>
                </a:lnTo>
                <a:lnTo>
                  <a:pt x="50" y="844"/>
                </a:lnTo>
                <a:lnTo>
                  <a:pt x="52" y="844"/>
                </a:lnTo>
                <a:close/>
                <a:moveTo>
                  <a:pt x="14" y="1956"/>
                </a:moveTo>
                <a:lnTo>
                  <a:pt x="16" y="1953"/>
                </a:lnTo>
                <a:lnTo>
                  <a:pt x="14" y="1952"/>
                </a:lnTo>
                <a:lnTo>
                  <a:pt x="14" y="1956"/>
                </a:lnTo>
                <a:close/>
                <a:moveTo>
                  <a:pt x="24" y="1965"/>
                </a:moveTo>
                <a:lnTo>
                  <a:pt x="25" y="1964"/>
                </a:lnTo>
                <a:lnTo>
                  <a:pt x="24" y="1964"/>
                </a:lnTo>
                <a:lnTo>
                  <a:pt x="24" y="1965"/>
                </a:lnTo>
                <a:close/>
                <a:moveTo>
                  <a:pt x="16" y="852"/>
                </a:moveTo>
                <a:lnTo>
                  <a:pt x="18" y="852"/>
                </a:lnTo>
                <a:lnTo>
                  <a:pt x="16" y="850"/>
                </a:lnTo>
                <a:lnTo>
                  <a:pt x="16" y="852"/>
                </a:lnTo>
                <a:close/>
                <a:moveTo>
                  <a:pt x="807" y="425"/>
                </a:moveTo>
                <a:lnTo>
                  <a:pt x="801" y="425"/>
                </a:lnTo>
                <a:lnTo>
                  <a:pt x="807" y="428"/>
                </a:lnTo>
                <a:lnTo>
                  <a:pt x="807" y="425"/>
                </a:lnTo>
                <a:close/>
                <a:moveTo>
                  <a:pt x="801" y="325"/>
                </a:moveTo>
                <a:lnTo>
                  <a:pt x="805" y="326"/>
                </a:lnTo>
                <a:lnTo>
                  <a:pt x="804" y="325"/>
                </a:lnTo>
                <a:lnTo>
                  <a:pt x="801" y="325"/>
                </a:lnTo>
                <a:close/>
                <a:moveTo>
                  <a:pt x="649" y="445"/>
                </a:moveTo>
                <a:lnTo>
                  <a:pt x="646" y="445"/>
                </a:lnTo>
                <a:lnTo>
                  <a:pt x="649" y="447"/>
                </a:lnTo>
                <a:lnTo>
                  <a:pt x="649" y="445"/>
                </a:lnTo>
                <a:close/>
                <a:moveTo>
                  <a:pt x="108" y="556"/>
                </a:moveTo>
                <a:lnTo>
                  <a:pt x="104" y="560"/>
                </a:lnTo>
                <a:lnTo>
                  <a:pt x="112" y="560"/>
                </a:lnTo>
                <a:lnTo>
                  <a:pt x="108" y="556"/>
                </a:lnTo>
                <a:close/>
                <a:moveTo>
                  <a:pt x="27" y="840"/>
                </a:moveTo>
                <a:lnTo>
                  <a:pt x="31" y="842"/>
                </a:lnTo>
                <a:lnTo>
                  <a:pt x="28" y="846"/>
                </a:lnTo>
                <a:lnTo>
                  <a:pt x="32" y="847"/>
                </a:lnTo>
                <a:lnTo>
                  <a:pt x="32" y="841"/>
                </a:lnTo>
                <a:lnTo>
                  <a:pt x="31" y="840"/>
                </a:lnTo>
                <a:lnTo>
                  <a:pt x="27" y="840"/>
                </a:lnTo>
                <a:close/>
                <a:moveTo>
                  <a:pt x="158" y="533"/>
                </a:moveTo>
                <a:lnTo>
                  <a:pt x="158" y="535"/>
                </a:lnTo>
                <a:lnTo>
                  <a:pt x="160" y="533"/>
                </a:lnTo>
                <a:lnTo>
                  <a:pt x="158" y="533"/>
                </a:lnTo>
                <a:close/>
                <a:moveTo>
                  <a:pt x="597" y="440"/>
                </a:moveTo>
                <a:lnTo>
                  <a:pt x="592" y="439"/>
                </a:lnTo>
                <a:lnTo>
                  <a:pt x="589" y="440"/>
                </a:lnTo>
                <a:lnTo>
                  <a:pt x="592" y="442"/>
                </a:lnTo>
                <a:lnTo>
                  <a:pt x="597" y="440"/>
                </a:lnTo>
                <a:close/>
                <a:moveTo>
                  <a:pt x="104" y="656"/>
                </a:moveTo>
                <a:lnTo>
                  <a:pt x="103" y="659"/>
                </a:lnTo>
                <a:lnTo>
                  <a:pt x="109" y="664"/>
                </a:lnTo>
                <a:lnTo>
                  <a:pt x="113" y="664"/>
                </a:lnTo>
                <a:lnTo>
                  <a:pt x="106" y="659"/>
                </a:lnTo>
                <a:lnTo>
                  <a:pt x="104" y="656"/>
                </a:lnTo>
                <a:close/>
                <a:moveTo>
                  <a:pt x="96" y="838"/>
                </a:moveTo>
                <a:lnTo>
                  <a:pt x="104" y="836"/>
                </a:lnTo>
                <a:lnTo>
                  <a:pt x="87" y="835"/>
                </a:lnTo>
                <a:lnTo>
                  <a:pt x="96" y="838"/>
                </a:lnTo>
                <a:close/>
                <a:moveTo>
                  <a:pt x="88" y="1973"/>
                </a:moveTo>
                <a:lnTo>
                  <a:pt x="88" y="1971"/>
                </a:lnTo>
                <a:lnTo>
                  <a:pt x="86" y="1973"/>
                </a:lnTo>
                <a:lnTo>
                  <a:pt x="88" y="1973"/>
                </a:lnTo>
                <a:close/>
                <a:moveTo>
                  <a:pt x="87" y="831"/>
                </a:moveTo>
                <a:lnTo>
                  <a:pt x="85" y="830"/>
                </a:lnTo>
                <a:lnTo>
                  <a:pt x="81" y="831"/>
                </a:lnTo>
                <a:lnTo>
                  <a:pt x="85" y="834"/>
                </a:lnTo>
                <a:lnTo>
                  <a:pt x="69" y="838"/>
                </a:lnTo>
                <a:lnTo>
                  <a:pt x="84" y="836"/>
                </a:lnTo>
                <a:lnTo>
                  <a:pt x="86" y="835"/>
                </a:lnTo>
                <a:lnTo>
                  <a:pt x="87" y="831"/>
                </a:lnTo>
                <a:close/>
                <a:moveTo>
                  <a:pt x="109" y="834"/>
                </a:moveTo>
                <a:lnTo>
                  <a:pt x="110" y="834"/>
                </a:lnTo>
                <a:lnTo>
                  <a:pt x="113" y="831"/>
                </a:lnTo>
                <a:lnTo>
                  <a:pt x="110" y="830"/>
                </a:lnTo>
                <a:lnTo>
                  <a:pt x="109" y="834"/>
                </a:lnTo>
                <a:close/>
                <a:moveTo>
                  <a:pt x="108" y="1895"/>
                </a:moveTo>
                <a:lnTo>
                  <a:pt x="105" y="1895"/>
                </a:lnTo>
                <a:lnTo>
                  <a:pt x="108" y="1903"/>
                </a:lnTo>
                <a:lnTo>
                  <a:pt x="112" y="1903"/>
                </a:lnTo>
                <a:lnTo>
                  <a:pt x="113" y="1899"/>
                </a:lnTo>
                <a:lnTo>
                  <a:pt x="112" y="1895"/>
                </a:lnTo>
                <a:lnTo>
                  <a:pt x="108" y="1895"/>
                </a:lnTo>
                <a:close/>
                <a:moveTo>
                  <a:pt x="115" y="1903"/>
                </a:moveTo>
                <a:lnTo>
                  <a:pt x="116" y="1905"/>
                </a:lnTo>
                <a:lnTo>
                  <a:pt x="122" y="1905"/>
                </a:lnTo>
                <a:lnTo>
                  <a:pt x="118" y="1902"/>
                </a:lnTo>
                <a:lnTo>
                  <a:pt x="115" y="1903"/>
                </a:lnTo>
                <a:close/>
                <a:moveTo>
                  <a:pt x="73" y="2021"/>
                </a:moveTo>
                <a:lnTo>
                  <a:pt x="73" y="2017"/>
                </a:lnTo>
                <a:lnTo>
                  <a:pt x="71" y="2019"/>
                </a:lnTo>
                <a:lnTo>
                  <a:pt x="73" y="2021"/>
                </a:lnTo>
                <a:close/>
                <a:moveTo>
                  <a:pt x="58" y="842"/>
                </a:moveTo>
                <a:lnTo>
                  <a:pt x="59" y="841"/>
                </a:lnTo>
                <a:lnTo>
                  <a:pt x="57" y="840"/>
                </a:lnTo>
                <a:lnTo>
                  <a:pt x="58" y="842"/>
                </a:lnTo>
                <a:close/>
                <a:moveTo>
                  <a:pt x="53" y="2402"/>
                </a:moveTo>
                <a:lnTo>
                  <a:pt x="54" y="2401"/>
                </a:lnTo>
                <a:lnTo>
                  <a:pt x="53" y="2401"/>
                </a:lnTo>
                <a:lnTo>
                  <a:pt x="53" y="2402"/>
                </a:lnTo>
                <a:close/>
                <a:moveTo>
                  <a:pt x="53" y="2395"/>
                </a:moveTo>
                <a:lnTo>
                  <a:pt x="47" y="2393"/>
                </a:lnTo>
                <a:lnTo>
                  <a:pt x="42" y="2393"/>
                </a:lnTo>
                <a:lnTo>
                  <a:pt x="44" y="2394"/>
                </a:lnTo>
                <a:lnTo>
                  <a:pt x="44" y="2396"/>
                </a:lnTo>
                <a:lnTo>
                  <a:pt x="45" y="2397"/>
                </a:lnTo>
                <a:lnTo>
                  <a:pt x="46" y="2400"/>
                </a:lnTo>
                <a:lnTo>
                  <a:pt x="51" y="2398"/>
                </a:lnTo>
                <a:lnTo>
                  <a:pt x="47" y="2395"/>
                </a:lnTo>
                <a:lnTo>
                  <a:pt x="53" y="2395"/>
                </a:lnTo>
                <a:close/>
                <a:moveTo>
                  <a:pt x="54" y="842"/>
                </a:moveTo>
                <a:lnTo>
                  <a:pt x="54" y="841"/>
                </a:lnTo>
                <a:lnTo>
                  <a:pt x="53" y="841"/>
                </a:lnTo>
                <a:lnTo>
                  <a:pt x="54" y="842"/>
                </a:lnTo>
                <a:close/>
                <a:moveTo>
                  <a:pt x="44" y="840"/>
                </a:moveTo>
                <a:lnTo>
                  <a:pt x="40" y="840"/>
                </a:lnTo>
                <a:lnTo>
                  <a:pt x="40" y="841"/>
                </a:lnTo>
                <a:lnTo>
                  <a:pt x="34" y="849"/>
                </a:lnTo>
                <a:lnTo>
                  <a:pt x="35" y="849"/>
                </a:lnTo>
                <a:lnTo>
                  <a:pt x="42" y="849"/>
                </a:lnTo>
                <a:lnTo>
                  <a:pt x="44" y="840"/>
                </a:lnTo>
                <a:close/>
                <a:moveTo>
                  <a:pt x="70" y="2015"/>
                </a:moveTo>
                <a:lnTo>
                  <a:pt x="66" y="2013"/>
                </a:lnTo>
                <a:lnTo>
                  <a:pt x="66" y="2015"/>
                </a:lnTo>
                <a:lnTo>
                  <a:pt x="70" y="2017"/>
                </a:lnTo>
                <a:lnTo>
                  <a:pt x="71" y="2015"/>
                </a:lnTo>
                <a:lnTo>
                  <a:pt x="70" y="2015"/>
                </a:lnTo>
                <a:close/>
                <a:moveTo>
                  <a:pt x="57" y="838"/>
                </a:moveTo>
                <a:lnTo>
                  <a:pt x="58" y="838"/>
                </a:lnTo>
                <a:lnTo>
                  <a:pt x="59" y="836"/>
                </a:lnTo>
                <a:lnTo>
                  <a:pt x="58" y="836"/>
                </a:lnTo>
                <a:lnTo>
                  <a:pt x="57" y="838"/>
                </a:lnTo>
                <a:close/>
                <a:moveTo>
                  <a:pt x="197" y="660"/>
                </a:moveTo>
                <a:lnTo>
                  <a:pt x="192" y="664"/>
                </a:lnTo>
                <a:lnTo>
                  <a:pt x="185" y="666"/>
                </a:lnTo>
                <a:lnTo>
                  <a:pt x="189" y="669"/>
                </a:lnTo>
                <a:lnTo>
                  <a:pt x="203" y="675"/>
                </a:lnTo>
                <a:lnTo>
                  <a:pt x="204" y="674"/>
                </a:lnTo>
                <a:lnTo>
                  <a:pt x="203" y="671"/>
                </a:lnTo>
                <a:lnTo>
                  <a:pt x="211" y="670"/>
                </a:lnTo>
                <a:lnTo>
                  <a:pt x="209" y="667"/>
                </a:lnTo>
                <a:lnTo>
                  <a:pt x="209" y="664"/>
                </a:lnTo>
                <a:lnTo>
                  <a:pt x="201" y="664"/>
                </a:lnTo>
                <a:lnTo>
                  <a:pt x="201" y="660"/>
                </a:lnTo>
                <a:lnTo>
                  <a:pt x="197" y="660"/>
                </a:lnTo>
                <a:close/>
                <a:moveTo>
                  <a:pt x="677" y="763"/>
                </a:moveTo>
                <a:lnTo>
                  <a:pt x="679" y="762"/>
                </a:lnTo>
                <a:lnTo>
                  <a:pt x="679" y="762"/>
                </a:lnTo>
                <a:lnTo>
                  <a:pt x="676" y="762"/>
                </a:lnTo>
                <a:lnTo>
                  <a:pt x="677" y="763"/>
                </a:lnTo>
                <a:close/>
                <a:moveTo>
                  <a:pt x="689" y="746"/>
                </a:moveTo>
                <a:lnTo>
                  <a:pt x="686" y="746"/>
                </a:lnTo>
                <a:lnTo>
                  <a:pt x="683" y="749"/>
                </a:lnTo>
                <a:lnTo>
                  <a:pt x="686" y="751"/>
                </a:lnTo>
                <a:lnTo>
                  <a:pt x="689" y="749"/>
                </a:lnTo>
                <a:lnTo>
                  <a:pt x="689" y="746"/>
                </a:lnTo>
                <a:close/>
                <a:moveTo>
                  <a:pt x="696" y="782"/>
                </a:moveTo>
                <a:lnTo>
                  <a:pt x="695" y="782"/>
                </a:lnTo>
                <a:lnTo>
                  <a:pt x="695" y="782"/>
                </a:lnTo>
                <a:lnTo>
                  <a:pt x="696" y="782"/>
                </a:lnTo>
                <a:close/>
                <a:moveTo>
                  <a:pt x="696" y="767"/>
                </a:moveTo>
                <a:lnTo>
                  <a:pt x="688" y="758"/>
                </a:lnTo>
                <a:lnTo>
                  <a:pt x="683" y="754"/>
                </a:lnTo>
                <a:lnTo>
                  <a:pt x="683" y="755"/>
                </a:lnTo>
                <a:lnTo>
                  <a:pt x="680" y="752"/>
                </a:lnTo>
                <a:lnTo>
                  <a:pt x="679" y="752"/>
                </a:lnTo>
                <a:lnTo>
                  <a:pt x="677" y="752"/>
                </a:lnTo>
                <a:lnTo>
                  <a:pt x="675" y="751"/>
                </a:lnTo>
                <a:lnTo>
                  <a:pt x="675" y="752"/>
                </a:lnTo>
                <a:lnTo>
                  <a:pt x="677" y="752"/>
                </a:lnTo>
                <a:lnTo>
                  <a:pt x="673" y="757"/>
                </a:lnTo>
                <a:lnTo>
                  <a:pt x="679" y="756"/>
                </a:lnTo>
                <a:lnTo>
                  <a:pt x="679" y="760"/>
                </a:lnTo>
                <a:lnTo>
                  <a:pt x="679" y="762"/>
                </a:lnTo>
                <a:lnTo>
                  <a:pt x="680" y="760"/>
                </a:lnTo>
                <a:lnTo>
                  <a:pt x="683" y="760"/>
                </a:lnTo>
                <a:lnTo>
                  <a:pt x="680" y="764"/>
                </a:lnTo>
                <a:lnTo>
                  <a:pt x="679" y="764"/>
                </a:lnTo>
                <a:lnTo>
                  <a:pt x="678" y="764"/>
                </a:lnTo>
                <a:lnTo>
                  <a:pt x="679" y="767"/>
                </a:lnTo>
                <a:lnTo>
                  <a:pt x="679" y="768"/>
                </a:lnTo>
                <a:lnTo>
                  <a:pt x="686" y="768"/>
                </a:lnTo>
                <a:lnTo>
                  <a:pt x="683" y="769"/>
                </a:lnTo>
                <a:lnTo>
                  <a:pt x="686" y="772"/>
                </a:lnTo>
                <a:lnTo>
                  <a:pt x="684" y="776"/>
                </a:lnTo>
                <a:lnTo>
                  <a:pt x="687" y="776"/>
                </a:lnTo>
                <a:lnTo>
                  <a:pt x="687" y="780"/>
                </a:lnTo>
                <a:lnTo>
                  <a:pt x="687" y="782"/>
                </a:lnTo>
                <a:lnTo>
                  <a:pt x="688" y="780"/>
                </a:lnTo>
                <a:lnTo>
                  <a:pt x="692" y="780"/>
                </a:lnTo>
                <a:lnTo>
                  <a:pt x="695" y="782"/>
                </a:lnTo>
                <a:lnTo>
                  <a:pt x="695" y="776"/>
                </a:lnTo>
                <a:lnTo>
                  <a:pt x="692" y="777"/>
                </a:lnTo>
                <a:lnTo>
                  <a:pt x="695" y="774"/>
                </a:lnTo>
                <a:lnTo>
                  <a:pt x="695" y="772"/>
                </a:lnTo>
                <a:lnTo>
                  <a:pt x="697" y="770"/>
                </a:lnTo>
                <a:lnTo>
                  <a:pt x="693" y="767"/>
                </a:lnTo>
                <a:lnTo>
                  <a:pt x="687" y="765"/>
                </a:lnTo>
                <a:lnTo>
                  <a:pt x="687" y="764"/>
                </a:lnTo>
                <a:lnTo>
                  <a:pt x="696" y="767"/>
                </a:lnTo>
                <a:close/>
                <a:moveTo>
                  <a:pt x="679" y="776"/>
                </a:moveTo>
                <a:lnTo>
                  <a:pt x="683" y="779"/>
                </a:lnTo>
                <a:lnTo>
                  <a:pt x="686" y="788"/>
                </a:lnTo>
                <a:lnTo>
                  <a:pt x="689" y="788"/>
                </a:lnTo>
                <a:lnTo>
                  <a:pt x="683" y="776"/>
                </a:lnTo>
                <a:lnTo>
                  <a:pt x="679" y="776"/>
                </a:lnTo>
                <a:close/>
                <a:moveTo>
                  <a:pt x="679" y="776"/>
                </a:moveTo>
                <a:lnTo>
                  <a:pt x="679" y="776"/>
                </a:lnTo>
                <a:lnTo>
                  <a:pt x="679" y="776"/>
                </a:lnTo>
                <a:lnTo>
                  <a:pt x="679" y="776"/>
                </a:lnTo>
                <a:close/>
                <a:moveTo>
                  <a:pt x="691" y="744"/>
                </a:moveTo>
                <a:lnTo>
                  <a:pt x="691" y="744"/>
                </a:lnTo>
                <a:lnTo>
                  <a:pt x="691" y="744"/>
                </a:lnTo>
                <a:lnTo>
                  <a:pt x="691" y="744"/>
                </a:lnTo>
                <a:close/>
                <a:moveTo>
                  <a:pt x="695" y="784"/>
                </a:moveTo>
                <a:lnTo>
                  <a:pt x="695" y="782"/>
                </a:lnTo>
                <a:lnTo>
                  <a:pt x="693" y="782"/>
                </a:lnTo>
                <a:lnTo>
                  <a:pt x="695" y="784"/>
                </a:lnTo>
                <a:close/>
                <a:moveTo>
                  <a:pt x="669" y="728"/>
                </a:moveTo>
                <a:lnTo>
                  <a:pt x="669" y="728"/>
                </a:lnTo>
                <a:lnTo>
                  <a:pt x="669" y="728"/>
                </a:lnTo>
                <a:lnTo>
                  <a:pt x="669" y="728"/>
                </a:lnTo>
                <a:close/>
                <a:moveTo>
                  <a:pt x="666" y="726"/>
                </a:moveTo>
                <a:lnTo>
                  <a:pt x="669" y="728"/>
                </a:lnTo>
                <a:lnTo>
                  <a:pt x="672" y="728"/>
                </a:lnTo>
                <a:lnTo>
                  <a:pt x="663" y="716"/>
                </a:lnTo>
                <a:lnTo>
                  <a:pt x="663" y="712"/>
                </a:lnTo>
                <a:lnTo>
                  <a:pt x="671" y="721"/>
                </a:lnTo>
                <a:lnTo>
                  <a:pt x="666" y="712"/>
                </a:lnTo>
                <a:lnTo>
                  <a:pt x="660" y="712"/>
                </a:lnTo>
                <a:lnTo>
                  <a:pt x="656" y="706"/>
                </a:lnTo>
                <a:lnTo>
                  <a:pt x="662" y="724"/>
                </a:lnTo>
                <a:lnTo>
                  <a:pt x="665" y="724"/>
                </a:lnTo>
                <a:lnTo>
                  <a:pt x="662" y="725"/>
                </a:lnTo>
                <a:lnTo>
                  <a:pt x="665" y="728"/>
                </a:lnTo>
                <a:lnTo>
                  <a:pt x="662" y="726"/>
                </a:lnTo>
                <a:lnTo>
                  <a:pt x="660" y="730"/>
                </a:lnTo>
                <a:lnTo>
                  <a:pt x="662" y="735"/>
                </a:lnTo>
                <a:lnTo>
                  <a:pt x="669" y="730"/>
                </a:lnTo>
                <a:lnTo>
                  <a:pt x="666" y="726"/>
                </a:lnTo>
                <a:close/>
                <a:moveTo>
                  <a:pt x="672" y="728"/>
                </a:moveTo>
                <a:lnTo>
                  <a:pt x="669" y="728"/>
                </a:lnTo>
                <a:lnTo>
                  <a:pt x="670" y="728"/>
                </a:lnTo>
                <a:lnTo>
                  <a:pt x="672" y="728"/>
                </a:lnTo>
                <a:close/>
                <a:moveTo>
                  <a:pt x="659" y="728"/>
                </a:moveTo>
                <a:lnTo>
                  <a:pt x="658" y="726"/>
                </a:lnTo>
                <a:lnTo>
                  <a:pt x="656" y="726"/>
                </a:lnTo>
                <a:lnTo>
                  <a:pt x="659" y="728"/>
                </a:lnTo>
                <a:close/>
                <a:moveTo>
                  <a:pt x="686" y="740"/>
                </a:moveTo>
                <a:lnTo>
                  <a:pt x="684" y="743"/>
                </a:lnTo>
                <a:lnTo>
                  <a:pt x="691" y="743"/>
                </a:lnTo>
                <a:lnTo>
                  <a:pt x="687" y="740"/>
                </a:lnTo>
                <a:lnTo>
                  <a:pt x="686" y="740"/>
                </a:lnTo>
                <a:close/>
                <a:moveTo>
                  <a:pt x="691" y="743"/>
                </a:moveTo>
                <a:lnTo>
                  <a:pt x="691" y="744"/>
                </a:lnTo>
                <a:lnTo>
                  <a:pt x="691" y="744"/>
                </a:lnTo>
                <a:lnTo>
                  <a:pt x="691" y="743"/>
                </a:lnTo>
                <a:close/>
                <a:moveTo>
                  <a:pt x="678" y="765"/>
                </a:moveTo>
                <a:lnTo>
                  <a:pt x="676" y="767"/>
                </a:lnTo>
                <a:lnTo>
                  <a:pt x="677" y="767"/>
                </a:lnTo>
                <a:lnTo>
                  <a:pt x="678" y="767"/>
                </a:lnTo>
                <a:lnTo>
                  <a:pt x="678" y="765"/>
                </a:lnTo>
                <a:close/>
                <a:moveTo>
                  <a:pt x="2531" y="728"/>
                </a:moveTo>
                <a:lnTo>
                  <a:pt x="2526" y="728"/>
                </a:lnTo>
                <a:lnTo>
                  <a:pt x="2526" y="724"/>
                </a:lnTo>
                <a:lnTo>
                  <a:pt x="2531" y="724"/>
                </a:lnTo>
                <a:lnTo>
                  <a:pt x="2526" y="721"/>
                </a:lnTo>
                <a:lnTo>
                  <a:pt x="2526" y="718"/>
                </a:lnTo>
                <a:lnTo>
                  <a:pt x="2526" y="716"/>
                </a:lnTo>
                <a:lnTo>
                  <a:pt x="2526" y="715"/>
                </a:lnTo>
                <a:lnTo>
                  <a:pt x="2536" y="716"/>
                </a:lnTo>
                <a:lnTo>
                  <a:pt x="2531" y="712"/>
                </a:lnTo>
                <a:lnTo>
                  <a:pt x="2534" y="712"/>
                </a:lnTo>
                <a:lnTo>
                  <a:pt x="2533" y="708"/>
                </a:lnTo>
                <a:lnTo>
                  <a:pt x="2538" y="708"/>
                </a:lnTo>
                <a:lnTo>
                  <a:pt x="2535" y="705"/>
                </a:lnTo>
                <a:lnTo>
                  <a:pt x="2537" y="700"/>
                </a:lnTo>
                <a:lnTo>
                  <a:pt x="2538" y="701"/>
                </a:lnTo>
                <a:lnTo>
                  <a:pt x="2538" y="703"/>
                </a:lnTo>
                <a:lnTo>
                  <a:pt x="2543" y="700"/>
                </a:lnTo>
                <a:lnTo>
                  <a:pt x="2548" y="701"/>
                </a:lnTo>
                <a:lnTo>
                  <a:pt x="2566" y="697"/>
                </a:lnTo>
                <a:lnTo>
                  <a:pt x="2566" y="703"/>
                </a:lnTo>
                <a:lnTo>
                  <a:pt x="2564" y="706"/>
                </a:lnTo>
                <a:lnTo>
                  <a:pt x="2553" y="715"/>
                </a:lnTo>
                <a:lnTo>
                  <a:pt x="2552" y="716"/>
                </a:lnTo>
                <a:lnTo>
                  <a:pt x="2556" y="716"/>
                </a:lnTo>
                <a:lnTo>
                  <a:pt x="2553" y="720"/>
                </a:lnTo>
                <a:lnTo>
                  <a:pt x="2548" y="720"/>
                </a:lnTo>
                <a:lnTo>
                  <a:pt x="2547" y="723"/>
                </a:lnTo>
                <a:lnTo>
                  <a:pt x="2552" y="721"/>
                </a:lnTo>
                <a:lnTo>
                  <a:pt x="2549" y="724"/>
                </a:lnTo>
                <a:lnTo>
                  <a:pt x="2560" y="720"/>
                </a:lnTo>
                <a:lnTo>
                  <a:pt x="2581" y="720"/>
                </a:lnTo>
                <a:lnTo>
                  <a:pt x="2584" y="720"/>
                </a:lnTo>
                <a:lnTo>
                  <a:pt x="2585" y="724"/>
                </a:lnTo>
                <a:lnTo>
                  <a:pt x="2582" y="727"/>
                </a:lnTo>
                <a:lnTo>
                  <a:pt x="2579" y="738"/>
                </a:lnTo>
                <a:lnTo>
                  <a:pt x="2574" y="741"/>
                </a:lnTo>
                <a:lnTo>
                  <a:pt x="2574" y="743"/>
                </a:lnTo>
                <a:lnTo>
                  <a:pt x="2564" y="746"/>
                </a:lnTo>
                <a:lnTo>
                  <a:pt x="2569" y="746"/>
                </a:lnTo>
                <a:lnTo>
                  <a:pt x="2574" y="751"/>
                </a:lnTo>
                <a:lnTo>
                  <a:pt x="2561" y="756"/>
                </a:lnTo>
                <a:lnTo>
                  <a:pt x="2556" y="756"/>
                </a:lnTo>
                <a:lnTo>
                  <a:pt x="2566" y="758"/>
                </a:lnTo>
                <a:lnTo>
                  <a:pt x="2572" y="755"/>
                </a:lnTo>
                <a:lnTo>
                  <a:pt x="2581" y="760"/>
                </a:lnTo>
                <a:lnTo>
                  <a:pt x="2584" y="768"/>
                </a:lnTo>
                <a:lnTo>
                  <a:pt x="2586" y="768"/>
                </a:lnTo>
                <a:lnTo>
                  <a:pt x="2592" y="783"/>
                </a:lnTo>
                <a:lnTo>
                  <a:pt x="2593" y="783"/>
                </a:lnTo>
                <a:lnTo>
                  <a:pt x="2603" y="787"/>
                </a:lnTo>
                <a:lnTo>
                  <a:pt x="2605" y="792"/>
                </a:lnTo>
                <a:lnTo>
                  <a:pt x="2609" y="795"/>
                </a:lnTo>
                <a:lnTo>
                  <a:pt x="2606" y="796"/>
                </a:lnTo>
                <a:lnTo>
                  <a:pt x="2610" y="804"/>
                </a:lnTo>
                <a:lnTo>
                  <a:pt x="2610" y="806"/>
                </a:lnTo>
                <a:lnTo>
                  <a:pt x="2607" y="804"/>
                </a:lnTo>
                <a:lnTo>
                  <a:pt x="2605" y="804"/>
                </a:lnTo>
                <a:lnTo>
                  <a:pt x="2614" y="811"/>
                </a:lnTo>
                <a:lnTo>
                  <a:pt x="2616" y="815"/>
                </a:lnTo>
                <a:lnTo>
                  <a:pt x="2611" y="820"/>
                </a:lnTo>
                <a:lnTo>
                  <a:pt x="2616" y="823"/>
                </a:lnTo>
                <a:lnTo>
                  <a:pt x="2619" y="820"/>
                </a:lnTo>
                <a:lnTo>
                  <a:pt x="2623" y="820"/>
                </a:lnTo>
                <a:lnTo>
                  <a:pt x="2630" y="821"/>
                </a:lnTo>
                <a:lnTo>
                  <a:pt x="2635" y="823"/>
                </a:lnTo>
                <a:lnTo>
                  <a:pt x="2637" y="828"/>
                </a:lnTo>
                <a:lnTo>
                  <a:pt x="2633" y="836"/>
                </a:lnTo>
                <a:lnTo>
                  <a:pt x="2630" y="840"/>
                </a:lnTo>
                <a:lnTo>
                  <a:pt x="2627" y="844"/>
                </a:lnTo>
                <a:lnTo>
                  <a:pt x="2625" y="844"/>
                </a:lnTo>
                <a:lnTo>
                  <a:pt x="2623" y="844"/>
                </a:lnTo>
                <a:lnTo>
                  <a:pt x="2625" y="847"/>
                </a:lnTo>
                <a:lnTo>
                  <a:pt x="2619" y="849"/>
                </a:lnTo>
                <a:lnTo>
                  <a:pt x="2618" y="850"/>
                </a:lnTo>
                <a:lnTo>
                  <a:pt x="2622" y="851"/>
                </a:lnTo>
                <a:lnTo>
                  <a:pt x="2622" y="851"/>
                </a:lnTo>
                <a:lnTo>
                  <a:pt x="2630" y="850"/>
                </a:lnTo>
                <a:lnTo>
                  <a:pt x="2630" y="855"/>
                </a:lnTo>
                <a:lnTo>
                  <a:pt x="2622" y="857"/>
                </a:lnTo>
                <a:lnTo>
                  <a:pt x="2622" y="860"/>
                </a:lnTo>
                <a:lnTo>
                  <a:pt x="2612" y="863"/>
                </a:lnTo>
                <a:lnTo>
                  <a:pt x="2607" y="862"/>
                </a:lnTo>
                <a:lnTo>
                  <a:pt x="2600" y="864"/>
                </a:lnTo>
                <a:lnTo>
                  <a:pt x="2598" y="865"/>
                </a:lnTo>
                <a:lnTo>
                  <a:pt x="2596" y="865"/>
                </a:lnTo>
                <a:lnTo>
                  <a:pt x="2594" y="865"/>
                </a:lnTo>
                <a:lnTo>
                  <a:pt x="2594" y="865"/>
                </a:lnTo>
                <a:lnTo>
                  <a:pt x="2592" y="866"/>
                </a:lnTo>
                <a:lnTo>
                  <a:pt x="2588" y="865"/>
                </a:lnTo>
                <a:lnTo>
                  <a:pt x="2589" y="865"/>
                </a:lnTo>
                <a:lnTo>
                  <a:pt x="2581" y="865"/>
                </a:lnTo>
                <a:lnTo>
                  <a:pt x="2581" y="868"/>
                </a:lnTo>
                <a:lnTo>
                  <a:pt x="2574" y="865"/>
                </a:lnTo>
                <a:lnTo>
                  <a:pt x="2574" y="866"/>
                </a:lnTo>
                <a:lnTo>
                  <a:pt x="2567" y="863"/>
                </a:lnTo>
                <a:lnTo>
                  <a:pt x="2561" y="867"/>
                </a:lnTo>
                <a:lnTo>
                  <a:pt x="2556" y="873"/>
                </a:lnTo>
                <a:lnTo>
                  <a:pt x="2549" y="871"/>
                </a:lnTo>
                <a:lnTo>
                  <a:pt x="2547" y="873"/>
                </a:lnTo>
                <a:lnTo>
                  <a:pt x="2542" y="873"/>
                </a:lnTo>
                <a:lnTo>
                  <a:pt x="2534" y="875"/>
                </a:lnTo>
                <a:lnTo>
                  <a:pt x="2534" y="877"/>
                </a:lnTo>
                <a:lnTo>
                  <a:pt x="2534" y="879"/>
                </a:lnTo>
                <a:lnTo>
                  <a:pt x="2531" y="877"/>
                </a:lnTo>
                <a:lnTo>
                  <a:pt x="2533" y="877"/>
                </a:lnTo>
                <a:lnTo>
                  <a:pt x="2534" y="870"/>
                </a:lnTo>
                <a:lnTo>
                  <a:pt x="2534" y="869"/>
                </a:lnTo>
                <a:lnTo>
                  <a:pt x="2542" y="869"/>
                </a:lnTo>
                <a:lnTo>
                  <a:pt x="2542" y="862"/>
                </a:lnTo>
                <a:lnTo>
                  <a:pt x="2542" y="861"/>
                </a:lnTo>
                <a:lnTo>
                  <a:pt x="2548" y="861"/>
                </a:lnTo>
                <a:lnTo>
                  <a:pt x="2546" y="857"/>
                </a:lnTo>
                <a:lnTo>
                  <a:pt x="2546" y="855"/>
                </a:lnTo>
                <a:lnTo>
                  <a:pt x="2565" y="854"/>
                </a:lnTo>
                <a:lnTo>
                  <a:pt x="2567" y="851"/>
                </a:lnTo>
                <a:lnTo>
                  <a:pt x="2575" y="844"/>
                </a:lnTo>
                <a:lnTo>
                  <a:pt x="2564" y="853"/>
                </a:lnTo>
                <a:lnTo>
                  <a:pt x="2560" y="853"/>
                </a:lnTo>
                <a:lnTo>
                  <a:pt x="2555" y="847"/>
                </a:lnTo>
                <a:lnTo>
                  <a:pt x="2549" y="848"/>
                </a:lnTo>
                <a:lnTo>
                  <a:pt x="2548" y="846"/>
                </a:lnTo>
                <a:lnTo>
                  <a:pt x="2552" y="846"/>
                </a:lnTo>
                <a:lnTo>
                  <a:pt x="2547" y="843"/>
                </a:lnTo>
                <a:lnTo>
                  <a:pt x="2538" y="846"/>
                </a:lnTo>
                <a:lnTo>
                  <a:pt x="2541" y="844"/>
                </a:lnTo>
                <a:lnTo>
                  <a:pt x="2538" y="844"/>
                </a:lnTo>
                <a:lnTo>
                  <a:pt x="2534" y="840"/>
                </a:lnTo>
                <a:lnTo>
                  <a:pt x="2549" y="833"/>
                </a:lnTo>
                <a:lnTo>
                  <a:pt x="2552" y="828"/>
                </a:lnTo>
                <a:lnTo>
                  <a:pt x="2549" y="821"/>
                </a:lnTo>
                <a:lnTo>
                  <a:pt x="2546" y="824"/>
                </a:lnTo>
                <a:lnTo>
                  <a:pt x="2542" y="824"/>
                </a:lnTo>
                <a:lnTo>
                  <a:pt x="2546" y="816"/>
                </a:lnTo>
                <a:lnTo>
                  <a:pt x="2543" y="812"/>
                </a:lnTo>
                <a:lnTo>
                  <a:pt x="2548" y="812"/>
                </a:lnTo>
                <a:lnTo>
                  <a:pt x="2552" y="812"/>
                </a:lnTo>
                <a:lnTo>
                  <a:pt x="2551" y="812"/>
                </a:lnTo>
                <a:lnTo>
                  <a:pt x="2564" y="811"/>
                </a:lnTo>
                <a:lnTo>
                  <a:pt x="2565" y="812"/>
                </a:lnTo>
                <a:lnTo>
                  <a:pt x="2566" y="812"/>
                </a:lnTo>
                <a:lnTo>
                  <a:pt x="2569" y="813"/>
                </a:lnTo>
                <a:lnTo>
                  <a:pt x="2571" y="812"/>
                </a:lnTo>
                <a:lnTo>
                  <a:pt x="2567" y="812"/>
                </a:lnTo>
                <a:lnTo>
                  <a:pt x="2566" y="807"/>
                </a:lnTo>
                <a:lnTo>
                  <a:pt x="2569" y="803"/>
                </a:lnTo>
                <a:lnTo>
                  <a:pt x="2566" y="801"/>
                </a:lnTo>
                <a:lnTo>
                  <a:pt x="2566" y="800"/>
                </a:lnTo>
                <a:lnTo>
                  <a:pt x="2567" y="800"/>
                </a:lnTo>
                <a:lnTo>
                  <a:pt x="2569" y="793"/>
                </a:lnTo>
                <a:lnTo>
                  <a:pt x="2565" y="795"/>
                </a:lnTo>
                <a:lnTo>
                  <a:pt x="2559" y="788"/>
                </a:lnTo>
                <a:lnTo>
                  <a:pt x="2561" y="780"/>
                </a:lnTo>
                <a:lnTo>
                  <a:pt x="2560" y="780"/>
                </a:lnTo>
                <a:lnTo>
                  <a:pt x="2558" y="779"/>
                </a:lnTo>
                <a:lnTo>
                  <a:pt x="2552" y="782"/>
                </a:lnTo>
                <a:lnTo>
                  <a:pt x="2546" y="778"/>
                </a:lnTo>
                <a:lnTo>
                  <a:pt x="2546" y="783"/>
                </a:lnTo>
                <a:lnTo>
                  <a:pt x="2540" y="778"/>
                </a:lnTo>
                <a:lnTo>
                  <a:pt x="2539" y="781"/>
                </a:lnTo>
                <a:lnTo>
                  <a:pt x="2541" y="784"/>
                </a:lnTo>
                <a:lnTo>
                  <a:pt x="2539" y="784"/>
                </a:lnTo>
                <a:lnTo>
                  <a:pt x="2534" y="778"/>
                </a:lnTo>
                <a:lnTo>
                  <a:pt x="2534" y="777"/>
                </a:lnTo>
                <a:lnTo>
                  <a:pt x="2544" y="766"/>
                </a:lnTo>
                <a:lnTo>
                  <a:pt x="2539" y="763"/>
                </a:lnTo>
                <a:lnTo>
                  <a:pt x="2541" y="760"/>
                </a:lnTo>
                <a:lnTo>
                  <a:pt x="2546" y="760"/>
                </a:lnTo>
                <a:lnTo>
                  <a:pt x="2538" y="755"/>
                </a:lnTo>
                <a:lnTo>
                  <a:pt x="2538" y="753"/>
                </a:lnTo>
                <a:lnTo>
                  <a:pt x="2537" y="758"/>
                </a:lnTo>
                <a:lnTo>
                  <a:pt x="2538" y="759"/>
                </a:lnTo>
                <a:lnTo>
                  <a:pt x="2538" y="762"/>
                </a:lnTo>
                <a:lnTo>
                  <a:pt x="2537" y="758"/>
                </a:lnTo>
                <a:lnTo>
                  <a:pt x="2536" y="759"/>
                </a:lnTo>
                <a:lnTo>
                  <a:pt x="2534" y="757"/>
                </a:lnTo>
                <a:lnTo>
                  <a:pt x="2534" y="755"/>
                </a:lnTo>
                <a:lnTo>
                  <a:pt x="2539" y="752"/>
                </a:lnTo>
                <a:lnTo>
                  <a:pt x="2538" y="752"/>
                </a:lnTo>
                <a:lnTo>
                  <a:pt x="2530" y="755"/>
                </a:lnTo>
                <a:lnTo>
                  <a:pt x="2531" y="756"/>
                </a:lnTo>
                <a:lnTo>
                  <a:pt x="2530" y="756"/>
                </a:lnTo>
                <a:lnTo>
                  <a:pt x="2530" y="761"/>
                </a:lnTo>
                <a:lnTo>
                  <a:pt x="2530" y="764"/>
                </a:lnTo>
                <a:lnTo>
                  <a:pt x="2530" y="768"/>
                </a:lnTo>
                <a:lnTo>
                  <a:pt x="2526" y="770"/>
                </a:lnTo>
                <a:lnTo>
                  <a:pt x="2529" y="761"/>
                </a:lnTo>
                <a:lnTo>
                  <a:pt x="2528" y="757"/>
                </a:lnTo>
                <a:lnTo>
                  <a:pt x="2528" y="756"/>
                </a:lnTo>
                <a:lnTo>
                  <a:pt x="2527" y="756"/>
                </a:lnTo>
                <a:lnTo>
                  <a:pt x="2525" y="761"/>
                </a:lnTo>
                <a:lnTo>
                  <a:pt x="2522" y="759"/>
                </a:lnTo>
                <a:lnTo>
                  <a:pt x="2522" y="758"/>
                </a:lnTo>
                <a:lnTo>
                  <a:pt x="2522" y="757"/>
                </a:lnTo>
                <a:lnTo>
                  <a:pt x="2526" y="754"/>
                </a:lnTo>
                <a:lnTo>
                  <a:pt x="2526" y="749"/>
                </a:lnTo>
                <a:lnTo>
                  <a:pt x="2520" y="751"/>
                </a:lnTo>
                <a:lnTo>
                  <a:pt x="2519" y="750"/>
                </a:lnTo>
                <a:lnTo>
                  <a:pt x="2523" y="748"/>
                </a:lnTo>
                <a:lnTo>
                  <a:pt x="2522" y="748"/>
                </a:lnTo>
                <a:lnTo>
                  <a:pt x="2523" y="746"/>
                </a:lnTo>
                <a:lnTo>
                  <a:pt x="2519" y="744"/>
                </a:lnTo>
                <a:lnTo>
                  <a:pt x="2521" y="743"/>
                </a:lnTo>
                <a:lnTo>
                  <a:pt x="2526" y="739"/>
                </a:lnTo>
                <a:lnTo>
                  <a:pt x="2526" y="740"/>
                </a:lnTo>
                <a:lnTo>
                  <a:pt x="2529" y="740"/>
                </a:lnTo>
                <a:lnTo>
                  <a:pt x="2526" y="737"/>
                </a:lnTo>
                <a:lnTo>
                  <a:pt x="2527" y="736"/>
                </a:lnTo>
                <a:lnTo>
                  <a:pt x="2527" y="736"/>
                </a:lnTo>
                <a:lnTo>
                  <a:pt x="2531" y="736"/>
                </a:lnTo>
                <a:lnTo>
                  <a:pt x="2533" y="736"/>
                </a:lnTo>
                <a:lnTo>
                  <a:pt x="2527" y="732"/>
                </a:lnTo>
                <a:lnTo>
                  <a:pt x="2533" y="732"/>
                </a:lnTo>
                <a:lnTo>
                  <a:pt x="2529" y="730"/>
                </a:lnTo>
                <a:lnTo>
                  <a:pt x="2531" y="728"/>
                </a:lnTo>
                <a:close/>
                <a:moveTo>
                  <a:pt x="2530" y="754"/>
                </a:moveTo>
                <a:lnTo>
                  <a:pt x="2528" y="755"/>
                </a:lnTo>
                <a:lnTo>
                  <a:pt x="2529" y="754"/>
                </a:lnTo>
                <a:lnTo>
                  <a:pt x="2530" y="754"/>
                </a:lnTo>
                <a:close/>
                <a:moveTo>
                  <a:pt x="705" y="825"/>
                </a:moveTo>
                <a:lnTo>
                  <a:pt x="705" y="824"/>
                </a:lnTo>
                <a:lnTo>
                  <a:pt x="701" y="824"/>
                </a:lnTo>
                <a:lnTo>
                  <a:pt x="704" y="827"/>
                </a:lnTo>
                <a:lnTo>
                  <a:pt x="705" y="825"/>
                </a:lnTo>
                <a:close/>
                <a:moveTo>
                  <a:pt x="711" y="836"/>
                </a:moveTo>
                <a:lnTo>
                  <a:pt x="709" y="836"/>
                </a:lnTo>
                <a:lnTo>
                  <a:pt x="711" y="837"/>
                </a:lnTo>
                <a:lnTo>
                  <a:pt x="711" y="840"/>
                </a:lnTo>
                <a:lnTo>
                  <a:pt x="707" y="837"/>
                </a:lnTo>
                <a:lnTo>
                  <a:pt x="707" y="836"/>
                </a:lnTo>
                <a:lnTo>
                  <a:pt x="708" y="836"/>
                </a:lnTo>
                <a:lnTo>
                  <a:pt x="703" y="832"/>
                </a:lnTo>
                <a:lnTo>
                  <a:pt x="703" y="831"/>
                </a:lnTo>
                <a:lnTo>
                  <a:pt x="695" y="828"/>
                </a:lnTo>
                <a:lnTo>
                  <a:pt x="698" y="828"/>
                </a:lnTo>
                <a:lnTo>
                  <a:pt x="697" y="824"/>
                </a:lnTo>
                <a:lnTo>
                  <a:pt x="695" y="824"/>
                </a:lnTo>
                <a:lnTo>
                  <a:pt x="692" y="820"/>
                </a:lnTo>
                <a:lnTo>
                  <a:pt x="693" y="821"/>
                </a:lnTo>
                <a:lnTo>
                  <a:pt x="695" y="820"/>
                </a:lnTo>
                <a:lnTo>
                  <a:pt x="690" y="817"/>
                </a:lnTo>
                <a:lnTo>
                  <a:pt x="690" y="816"/>
                </a:lnTo>
                <a:lnTo>
                  <a:pt x="687" y="816"/>
                </a:lnTo>
                <a:lnTo>
                  <a:pt x="686" y="816"/>
                </a:lnTo>
                <a:lnTo>
                  <a:pt x="687" y="813"/>
                </a:lnTo>
                <a:lnTo>
                  <a:pt x="690" y="814"/>
                </a:lnTo>
                <a:lnTo>
                  <a:pt x="685" y="810"/>
                </a:lnTo>
                <a:lnTo>
                  <a:pt x="682" y="808"/>
                </a:lnTo>
                <a:lnTo>
                  <a:pt x="685" y="808"/>
                </a:lnTo>
                <a:lnTo>
                  <a:pt x="681" y="806"/>
                </a:lnTo>
                <a:lnTo>
                  <a:pt x="679" y="802"/>
                </a:lnTo>
                <a:lnTo>
                  <a:pt x="679" y="798"/>
                </a:lnTo>
                <a:lnTo>
                  <a:pt x="679" y="795"/>
                </a:lnTo>
                <a:lnTo>
                  <a:pt x="689" y="798"/>
                </a:lnTo>
                <a:lnTo>
                  <a:pt x="687" y="802"/>
                </a:lnTo>
                <a:lnTo>
                  <a:pt x="690" y="800"/>
                </a:lnTo>
                <a:lnTo>
                  <a:pt x="693" y="800"/>
                </a:lnTo>
                <a:lnTo>
                  <a:pt x="695" y="803"/>
                </a:lnTo>
                <a:lnTo>
                  <a:pt x="695" y="802"/>
                </a:lnTo>
                <a:lnTo>
                  <a:pt x="695" y="798"/>
                </a:lnTo>
                <a:lnTo>
                  <a:pt x="699" y="795"/>
                </a:lnTo>
                <a:lnTo>
                  <a:pt x="695" y="805"/>
                </a:lnTo>
                <a:lnTo>
                  <a:pt x="695" y="811"/>
                </a:lnTo>
                <a:lnTo>
                  <a:pt x="697" y="816"/>
                </a:lnTo>
                <a:lnTo>
                  <a:pt x="692" y="816"/>
                </a:lnTo>
                <a:lnTo>
                  <a:pt x="695" y="818"/>
                </a:lnTo>
                <a:lnTo>
                  <a:pt x="700" y="816"/>
                </a:lnTo>
                <a:lnTo>
                  <a:pt x="704" y="820"/>
                </a:lnTo>
                <a:lnTo>
                  <a:pt x="699" y="820"/>
                </a:lnTo>
                <a:lnTo>
                  <a:pt x="699" y="824"/>
                </a:lnTo>
                <a:lnTo>
                  <a:pt x="698" y="824"/>
                </a:lnTo>
                <a:lnTo>
                  <a:pt x="705" y="832"/>
                </a:lnTo>
                <a:lnTo>
                  <a:pt x="707" y="832"/>
                </a:lnTo>
                <a:lnTo>
                  <a:pt x="708" y="832"/>
                </a:lnTo>
                <a:lnTo>
                  <a:pt x="709" y="832"/>
                </a:lnTo>
                <a:lnTo>
                  <a:pt x="711" y="836"/>
                </a:lnTo>
                <a:close/>
                <a:moveTo>
                  <a:pt x="695" y="804"/>
                </a:moveTo>
                <a:lnTo>
                  <a:pt x="695" y="803"/>
                </a:lnTo>
                <a:lnTo>
                  <a:pt x="687" y="804"/>
                </a:lnTo>
                <a:lnTo>
                  <a:pt x="690" y="805"/>
                </a:lnTo>
                <a:lnTo>
                  <a:pt x="695" y="804"/>
                </a:lnTo>
                <a:close/>
                <a:moveTo>
                  <a:pt x="718" y="802"/>
                </a:moveTo>
                <a:lnTo>
                  <a:pt x="716" y="801"/>
                </a:lnTo>
                <a:lnTo>
                  <a:pt x="716" y="802"/>
                </a:lnTo>
                <a:lnTo>
                  <a:pt x="718" y="802"/>
                </a:lnTo>
                <a:close/>
                <a:moveTo>
                  <a:pt x="679" y="770"/>
                </a:moveTo>
                <a:lnTo>
                  <a:pt x="678" y="770"/>
                </a:lnTo>
                <a:lnTo>
                  <a:pt x="678" y="773"/>
                </a:lnTo>
                <a:lnTo>
                  <a:pt x="680" y="773"/>
                </a:lnTo>
                <a:lnTo>
                  <a:pt x="679" y="770"/>
                </a:lnTo>
                <a:close/>
                <a:moveTo>
                  <a:pt x="710" y="777"/>
                </a:moveTo>
                <a:lnTo>
                  <a:pt x="706" y="779"/>
                </a:lnTo>
                <a:lnTo>
                  <a:pt x="710" y="779"/>
                </a:lnTo>
                <a:lnTo>
                  <a:pt x="710" y="777"/>
                </a:lnTo>
                <a:close/>
                <a:moveTo>
                  <a:pt x="711" y="790"/>
                </a:moveTo>
                <a:lnTo>
                  <a:pt x="714" y="786"/>
                </a:lnTo>
                <a:lnTo>
                  <a:pt x="712" y="785"/>
                </a:lnTo>
                <a:lnTo>
                  <a:pt x="711" y="790"/>
                </a:lnTo>
                <a:close/>
                <a:moveTo>
                  <a:pt x="673" y="765"/>
                </a:moveTo>
                <a:lnTo>
                  <a:pt x="673" y="767"/>
                </a:lnTo>
                <a:lnTo>
                  <a:pt x="676" y="767"/>
                </a:lnTo>
                <a:lnTo>
                  <a:pt x="677" y="765"/>
                </a:lnTo>
                <a:lnTo>
                  <a:pt x="673" y="765"/>
                </a:lnTo>
                <a:close/>
                <a:moveTo>
                  <a:pt x="667" y="748"/>
                </a:moveTo>
                <a:lnTo>
                  <a:pt x="666" y="748"/>
                </a:lnTo>
                <a:lnTo>
                  <a:pt x="665" y="748"/>
                </a:lnTo>
                <a:lnTo>
                  <a:pt x="663" y="749"/>
                </a:lnTo>
                <a:lnTo>
                  <a:pt x="663" y="756"/>
                </a:lnTo>
                <a:lnTo>
                  <a:pt x="669" y="756"/>
                </a:lnTo>
                <a:lnTo>
                  <a:pt x="670" y="756"/>
                </a:lnTo>
                <a:lnTo>
                  <a:pt x="672" y="752"/>
                </a:lnTo>
                <a:lnTo>
                  <a:pt x="667" y="752"/>
                </a:lnTo>
                <a:lnTo>
                  <a:pt x="667" y="748"/>
                </a:lnTo>
                <a:close/>
                <a:moveTo>
                  <a:pt x="2591" y="660"/>
                </a:moveTo>
                <a:lnTo>
                  <a:pt x="2592" y="660"/>
                </a:lnTo>
                <a:lnTo>
                  <a:pt x="2590" y="659"/>
                </a:lnTo>
                <a:lnTo>
                  <a:pt x="2590" y="660"/>
                </a:lnTo>
                <a:lnTo>
                  <a:pt x="2591" y="660"/>
                </a:lnTo>
                <a:close/>
                <a:moveTo>
                  <a:pt x="665" y="759"/>
                </a:moveTo>
                <a:lnTo>
                  <a:pt x="669" y="758"/>
                </a:lnTo>
                <a:lnTo>
                  <a:pt x="665" y="758"/>
                </a:lnTo>
                <a:lnTo>
                  <a:pt x="665" y="759"/>
                </a:lnTo>
                <a:close/>
                <a:moveTo>
                  <a:pt x="672" y="732"/>
                </a:moveTo>
                <a:lnTo>
                  <a:pt x="670" y="735"/>
                </a:lnTo>
                <a:lnTo>
                  <a:pt x="673" y="736"/>
                </a:lnTo>
                <a:lnTo>
                  <a:pt x="672" y="736"/>
                </a:lnTo>
                <a:lnTo>
                  <a:pt x="675" y="738"/>
                </a:lnTo>
                <a:lnTo>
                  <a:pt x="675" y="743"/>
                </a:lnTo>
                <a:lnTo>
                  <a:pt x="675" y="743"/>
                </a:lnTo>
                <a:lnTo>
                  <a:pt x="673" y="740"/>
                </a:lnTo>
                <a:lnTo>
                  <a:pt x="672" y="740"/>
                </a:lnTo>
                <a:lnTo>
                  <a:pt x="670" y="738"/>
                </a:lnTo>
                <a:lnTo>
                  <a:pt x="665" y="737"/>
                </a:lnTo>
                <a:lnTo>
                  <a:pt x="669" y="740"/>
                </a:lnTo>
                <a:lnTo>
                  <a:pt x="664" y="740"/>
                </a:lnTo>
                <a:lnTo>
                  <a:pt x="665" y="744"/>
                </a:lnTo>
                <a:lnTo>
                  <a:pt x="667" y="744"/>
                </a:lnTo>
                <a:lnTo>
                  <a:pt x="667" y="747"/>
                </a:lnTo>
                <a:lnTo>
                  <a:pt x="671" y="749"/>
                </a:lnTo>
                <a:lnTo>
                  <a:pt x="671" y="744"/>
                </a:lnTo>
                <a:lnTo>
                  <a:pt x="675" y="744"/>
                </a:lnTo>
                <a:lnTo>
                  <a:pt x="675" y="748"/>
                </a:lnTo>
                <a:lnTo>
                  <a:pt x="677" y="748"/>
                </a:lnTo>
                <a:lnTo>
                  <a:pt x="683" y="744"/>
                </a:lnTo>
                <a:lnTo>
                  <a:pt x="679" y="738"/>
                </a:lnTo>
                <a:lnTo>
                  <a:pt x="684" y="743"/>
                </a:lnTo>
                <a:lnTo>
                  <a:pt x="686" y="738"/>
                </a:lnTo>
                <a:lnTo>
                  <a:pt x="683" y="735"/>
                </a:lnTo>
                <a:lnTo>
                  <a:pt x="672" y="732"/>
                </a:lnTo>
                <a:close/>
                <a:moveTo>
                  <a:pt x="598" y="1853"/>
                </a:moveTo>
                <a:lnTo>
                  <a:pt x="599" y="1852"/>
                </a:lnTo>
                <a:lnTo>
                  <a:pt x="598" y="1852"/>
                </a:lnTo>
                <a:lnTo>
                  <a:pt x="598" y="1853"/>
                </a:lnTo>
                <a:close/>
                <a:moveTo>
                  <a:pt x="676" y="773"/>
                </a:moveTo>
                <a:lnTo>
                  <a:pt x="678" y="769"/>
                </a:lnTo>
                <a:lnTo>
                  <a:pt x="677" y="767"/>
                </a:lnTo>
                <a:lnTo>
                  <a:pt x="676" y="770"/>
                </a:lnTo>
                <a:lnTo>
                  <a:pt x="676" y="773"/>
                </a:lnTo>
                <a:close/>
                <a:moveTo>
                  <a:pt x="403" y="701"/>
                </a:moveTo>
                <a:lnTo>
                  <a:pt x="399" y="702"/>
                </a:lnTo>
                <a:lnTo>
                  <a:pt x="402" y="704"/>
                </a:lnTo>
                <a:lnTo>
                  <a:pt x="403" y="701"/>
                </a:lnTo>
                <a:close/>
                <a:moveTo>
                  <a:pt x="443" y="672"/>
                </a:moveTo>
                <a:lnTo>
                  <a:pt x="442" y="674"/>
                </a:lnTo>
                <a:lnTo>
                  <a:pt x="445" y="675"/>
                </a:lnTo>
                <a:lnTo>
                  <a:pt x="443" y="672"/>
                </a:lnTo>
                <a:close/>
                <a:moveTo>
                  <a:pt x="412" y="1950"/>
                </a:moveTo>
                <a:lnTo>
                  <a:pt x="415" y="1948"/>
                </a:lnTo>
                <a:lnTo>
                  <a:pt x="412" y="1946"/>
                </a:lnTo>
                <a:lnTo>
                  <a:pt x="412" y="1950"/>
                </a:lnTo>
                <a:close/>
                <a:moveTo>
                  <a:pt x="403" y="704"/>
                </a:moveTo>
                <a:lnTo>
                  <a:pt x="408" y="707"/>
                </a:lnTo>
                <a:lnTo>
                  <a:pt x="407" y="710"/>
                </a:lnTo>
                <a:lnTo>
                  <a:pt x="404" y="708"/>
                </a:lnTo>
                <a:lnTo>
                  <a:pt x="403" y="710"/>
                </a:lnTo>
                <a:lnTo>
                  <a:pt x="404" y="712"/>
                </a:lnTo>
                <a:lnTo>
                  <a:pt x="401" y="712"/>
                </a:lnTo>
                <a:lnTo>
                  <a:pt x="399" y="714"/>
                </a:lnTo>
                <a:lnTo>
                  <a:pt x="396" y="714"/>
                </a:lnTo>
                <a:lnTo>
                  <a:pt x="391" y="714"/>
                </a:lnTo>
                <a:lnTo>
                  <a:pt x="396" y="715"/>
                </a:lnTo>
                <a:lnTo>
                  <a:pt x="394" y="716"/>
                </a:lnTo>
                <a:lnTo>
                  <a:pt x="394" y="720"/>
                </a:lnTo>
                <a:lnTo>
                  <a:pt x="396" y="716"/>
                </a:lnTo>
                <a:lnTo>
                  <a:pt x="402" y="715"/>
                </a:lnTo>
                <a:lnTo>
                  <a:pt x="403" y="717"/>
                </a:lnTo>
                <a:lnTo>
                  <a:pt x="401" y="721"/>
                </a:lnTo>
                <a:lnTo>
                  <a:pt x="402" y="724"/>
                </a:lnTo>
                <a:lnTo>
                  <a:pt x="407" y="724"/>
                </a:lnTo>
                <a:lnTo>
                  <a:pt x="403" y="728"/>
                </a:lnTo>
                <a:lnTo>
                  <a:pt x="397" y="724"/>
                </a:lnTo>
                <a:lnTo>
                  <a:pt x="394" y="725"/>
                </a:lnTo>
                <a:lnTo>
                  <a:pt x="401" y="728"/>
                </a:lnTo>
                <a:lnTo>
                  <a:pt x="399" y="732"/>
                </a:lnTo>
                <a:lnTo>
                  <a:pt x="394" y="732"/>
                </a:lnTo>
                <a:lnTo>
                  <a:pt x="389" y="735"/>
                </a:lnTo>
                <a:lnTo>
                  <a:pt x="387" y="732"/>
                </a:lnTo>
                <a:lnTo>
                  <a:pt x="389" y="731"/>
                </a:lnTo>
                <a:lnTo>
                  <a:pt x="382" y="732"/>
                </a:lnTo>
                <a:lnTo>
                  <a:pt x="386" y="735"/>
                </a:lnTo>
                <a:lnTo>
                  <a:pt x="379" y="740"/>
                </a:lnTo>
                <a:lnTo>
                  <a:pt x="377" y="740"/>
                </a:lnTo>
                <a:lnTo>
                  <a:pt x="381" y="735"/>
                </a:lnTo>
                <a:lnTo>
                  <a:pt x="378" y="736"/>
                </a:lnTo>
                <a:lnTo>
                  <a:pt x="381" y="731"/>
                </a:lnTo>
                <a:lnTo>
                  <a:pt x="376" y="736"/>
                </a:lnTo>
                <a:lnTo>
                  <a:pt x="377" y="732"/>
                </a:lnTo>
                <a:lnTo>
                  <a:pt x="369" y="731"/>
                </a:lnTo>
                <a:lnTo>
                  <a:pt x="369" y="730"/>
                </a:lnTo>
                <a:lnTo>
                  <a:pt x="367" y="728"/>
                </a:lnTo>
                <a:lnTo>
                  <a:pt x="369" y="724"/>
                </a:lnTo>
                <a:lnTo>
                  <a:pt x="375" y="720"/>
                </a:lnTo>
                <a:lnTo>
                  <a:pt x="379" y="721"/>
                </a:lnTo>
                <a:lnTo>
                  <a:pt x="381" y="727"/>
                </a:lnTo>
                <a:lnTo>
                  <a:pt x="381" y="728"/>
                </a:lnTo>
                <a:lnTo>
                  <a:pt x="381" y="724"/>
                </a:lnTo>
                <a:lnTo>
                  <a:pt x="386" y="724"/>
                </a:lnTo>
                <a:lnTo>
                  <a:pt x="377" y="720"/>
                </a:lnTo>
                <a:lnTo>
                  <a:pt x="377" y="716"/>
                </a:lnTo>
                <a:lnTo>
                  <a:pt x="380" y="715"/>
                </a:lnTo>
                <a:lnTo>
                  <a:pt x="386" y="716"/>
                </a:lnTo>
                <a:lnTo>
                  <a:pt x="387" y="721"/>
                </a:lnTo>
                <a:lnTo>
                  <a:pt x="389" y="720"/>
                </a:lnTo>
                <a:lnTo>
                  <a:pt x="387" y="716"/>
                </a:lnTo>
                <a:lnTo>
                  <a:pt x="390" y="716"/>
                </a:lnTo>
                <a:lnTo>
                  <a:pt x="394" y="716"/>
                </a:lnTo>
                <a:lnTo>
                  <a:pt x="390" y="714"/>
                </a:lnTo>
                <a:lnTo>
                  <a:pt x="388" y="713"/>
                </a:lnTo>
                <a:lnTo>
                  <a:pt x="390" y="716"/>
                </a:lnTo>
                <a:lnTo>
                  <a:pt x="386" y="715"/>
                </a:lnTo>
                <a:lnTo>
                  <a:pt x="387" y="713"/>
                </a:lnTo>
                <a:lnTo>
                  <a:pt x="388" y="713"/>
                </a:lnTo>
                <a:lnTo>
                  <a:pt x="390" y="712"/>
                </a:lnTo>
                <a:lnTo>
                  <a:pt x="396" y="712"/>
                </a:lnTo>
                <a:lnTo>
                  <a:pt x="392" y="710"/>
                </a:lnTo>
                <a:lnTo>
                  <a:pt x="394" y="707"/>
                </a:lnTo>
                <a:lnTo>
                  <a:pt x="394" y="704"/>
                </a:lnTo>
                <a:lnTo>
                  <a:pt x="397" y="704"/>
                </a:lnTo>
                <a:lnTo>
                  <a:pt x="402" y="704"/>
                </a:lnTo>
                <a:lnTo>
                  <a:pt x="403" y="704"/>
                </a:lnTo>
                <a:close/>
                <a:moveTo>
                  <a:pt x="394" y="732"/>
                </a:moveTo>
                <a:lnTo>
                  <a:pt x="394" y="732"/>
                </a:lnTo>
                <a:lnTo>
                  <a:pt x="393" y="732"/>
                </a:lnTo>
                <a:lnTo>
                  <a:pt x="394" y="732"/>
                </a:lnTo>
                <a:close/>
                <a:moveTo>
                  <a:pt x="369" y="736"/>
                </a:moveTo>
                <a:lnTo>
                  <a:pt x="371" y="736"/>
                </a:lnTo>
                <a:lnTo>
                  <a:pt x="370" y="735"/>
                </a:lnTo>
                <a:lnTo>
                  <a:pt x="369" y="731"/>
                </a:lnTo>
                <a:lnTo>
                  <a:pt x="369" y="731"/>
                </a:lnTo>
                <a:lnTo>
                  <a:pt x="369" y="736"/>
                </a:lnTo>
                <a:close/>
                <a:moveTo>
                  <a:pt x="442" y="1959"/>
                </a:moveTo>
                <a:lnTo>
                  <a:pt x="439" y="1959"/>
                </a:lnTo>
                <a:lnTo>
                  <a:pt x="439" y="1960"/>
                </a:lnTo>
                <a:lnTo>
                  <a:pt x="446" y="1964"/>
                </a:lnTo>
                <a:lnTo>
                  <a:pt x="446" y="1962"/>
                </a:lnTo>
                <a:lnTo>
                  <a:pt x="444" y="1960"/>
                </a:lnTo>
                <a:lnTo>
                  <a:pt x="442" y="1959"/>
                </a:lnTo>
                <a:close/>
                <a:moveTo>
                  <a:pt x="411" y="1945"/>
                </a:moveTo>
                <a:lnTo>
                  <a:pt x="412" y="1946"/>
                </a:lnTo>
                <a:lnTo>
                  <a:pt x="412" y="1945"/>
                </a:lnTo>
                <a:lnTo>
                  <a:pt x="411" y="1945"/>
                </a:lnTo>
                <a:close/>
                <a:moveTo>
                  <a:pt x="436" y="1959"/>
                </a:moveTo>
                <a:lnTo>
                  <a:pt x="436" y="1957"/>
                </a:lnTo>
                <a:lnTo>
                  <a:pt x="435" y="1957"/>
                </a:lnTo>
                <a:lnTo>
                  <a:pt x="436" y="1959"/>
                </a:lnTo>
                <a:close/>
                <a:moveTo>
                  <a:pt x="333" y="743"/>
                </a:moveTo>
                <a:lnTo>
                  <a:pt x="330" y="743"/>
                </a:lnTo>
                <a:lnTo>
                  <a:pt x="336" y="743"/>
                </a:lnTo>
                <a:lnTo>
                  <a:pt x="333" y="743"/>
                </a:lnTo>
                <a:close/>
                <a:moveTo>
                  <a:pt x="361" y="1393"/>
                </a:moveTo>
                <a:lnTo>
                  <a:pt x="349" y="1389"/>
                </a:lnTo>
                <a:lnTo>
                  <a:pt x="349" y="1391"/>
                </a:lnTo>
                <a:lnTo>
                  <a:pt x="349" y="1393"/>
                </a:lnTo>
                <a:lnTo>
                  <a:pt x="346" y="1396"/>
                </a:lnTo>
                <a:lnTo>
                  <a:pt x="349" y="1402"/>
                </a:lnTo>
                <a:lnTo>
                  <a:pt x="349" y="1407"/>
                </a:lnTo>
                <a:lnTo>
                  <a:pt x="354" y="1411"/>
                </a:lnTo>
                <a:lnTo>
                  <a:pt x="355" y="1408"/>
                </a:lnTo>
                <a:lnTo>
                  <a:pt x="360" y="1407"/>
                </a:lnTo>
                <a:lnTo>
                  <a:pt x="363" y="1407"/>
                </a:lnTo>
                <a:lnTo>
                  <a:pt x="367" y="1402"/>
                </a:lnTo>
                <a:lnTo>
                  <a:pt x="363" y="1400"/>
                </a:lnTo>
                <a:lnTo>
                  <a:pt x="361" y="1393"/>
                </a:lnTo>
                <a:close/>
                <a:moveTo>
                  <a:pt x="349" y="1381"/>
                </a:moveTo>
                <a:lnTo>
                  <a:pt x="347" y="1377"/>
                </a:lnTo>
                <a:lnTo>
                  <a:pt x="342" y="1379"/>
                </a:lnTo>
                <a:lnTo>
                  <a:pt x="337" y="1376"/>
                </a:lnTo>
                <a:lnTo>
                  <a:pt x="337" y="1379"/>
                </a:lnTo>
                <a:lnTo>
                  <a:pt x="340" y="1381"/>
                </a:lnTo>
                <a:lnTo>
                  <a:pt x="343" y="1384"/>
                </a:lnTo>
                <a:lnTo>
                  <a:pt x="348" y="1383"/>
                </a:lnTo>
                <a:lnTo>
                  <a:pt x="349" y="1381"/>
                </a:lnTo>
                <a:close/>
                <a:moveTo>
                  <a:pt x="353" y="762"/>
                </a:moveTo>
                <a:lnTo>
                  <a:pt x="356" y="762"/>
                </a:lnTo>
                <a:lnTo>
                  <a:pt x="356" y="758"/>
                </a:lnTo>
                <a:lnTo>
                  <a:pt x="353" y="762"/>
                </a:lnTo>
                <a:close/>
                <a:moveTo>
                  <a:pt x="375" y="746"/>
                </a:moveTo>
                <a:lnTo>
                  <a:pt x="377" y="743"/>
                </a:lnTo>
                <a:lnTo>
                  <a:pt x="374" y="743"/>
                </a:lnTo>
                <a:lnTo>
                  <a:pt x="375" y="746"/>
                </a:lnTo>
                <a:close/>
                <a:moveTo>
                  <a:pt x="377" y="736"/>
                </a:moveTo>
                <a:lnTo>
                  <a:pt x="371" y="736"/>
                </a:lnTo>
                <a:lnTo>
                  <a:pt x="374" y="740"/>
                </a:lnTo>
                <a:lnTo>
                  <a:pt x="377" y="736"/>
                </a:lnTo>
                <a:close/>
                <a:moveTo>
                  <a:pt x="367" y="747"/>
                </a:moveTo>
                <a:lnTo>
                  <a:pt x="373" y="743"/>
                </a:lnTo>
                <a:lnTo>
                  <a:pt x="367" y="743"/>
                </a:lnTo>
                <a:lnTo>
                  <a:pt x="367" y="747"/>
                </a:lnTo>
                <a:close/>
                <a:moveTo>
                  <a:pt x="485" y="660"/>
                </a:moveTo>
                <a:lnTo>
                  <a:pt x="487" y="660"/>
                </a:lnTo>
                <a:lnTo>
                  <a:pt x="486" y="663"/>
                </a:lnTo>
                <a:lnTo>
                  <a:pt x="486" y="664"/>
                </a:lnTo>
                <a:lnTo>
                  <a:pt x="494" y="660"/>
                </a:lnTo>
                <a:lnTo>
                  <a:pt x="486" y="659"/>
                </a:lnTo>
                <a:lnTo>
                  <a:pt x="485" y="660"/>
                </a:lnTo>
                <a:close/>
                <a:moveTo>
                  <a:pt x="592" y="1842"/>
                </a:moveTo>
                <a:lnTo>
                  <a:pt x="594" y="1843"/>
                </a:lnTo>
                <a:lnTo>
                  <a:pt x="596" y="1840"/>
                </a:lnTo>
                <a:lnTo>
                  <a:pt x="594" y="1840"/>
                </a:lnTo>
                <a:lnTo>
                  <a:pt x="592" y="1842"/>
                </a:lnTo>
                <a:close/>
                <a:moveTo>
                  <a:pt x="508" y="663"/>
                </a:moveTo>
                <a:lnTo>
                  <a:pt x="508" y="660"/>
                </a:lnTo>
                <a:lnTo>
                  <a:pt x="505" y="663"/>
                </a:lnTo>
                <a:lnTo>
                  <a:pt x="508" y="663"/>
                </a:lnTo>
                <a:close/>
                <a:moveTo>
                  <a:pt x="485" y="648"/>
                </a:moveTo>
                <a:lnTo>
                  <a:pt x="482" y="651"/>
                </a:lnTo>
                <a:lnTo>
                  <a:pt x="485" y="651"/>
                </a:lnTo>
                <a:lnTo>
                  <a:pt x="485" y="648"/>
                </a:lnTo>
                <a:close/>
                <a:moveTo>
                  <a:pt x="576" y="1836"/>
                </a:moveTo>
                <a:lnTo>
                  <a:pt x="579" y="1835"/>
                </a:lnTo>
                <a:lnTo>
                  <a:pt x="576" y="1835"/>
                </a:lnTo>
                <a:lnTo>
                  <a:pt x="576" y="1836"/>
                </a:lnTo>
                <a:close/>
                <a:moveTo>
                  <a:pt x="576" y="1829"/>
                </a:moveTo>
                <a:lnTo>
                  <a:pt x="579" y="1828"/>
                </a:lnTo>
                <a:lnTo>
                  <a:pt x="576" y="1828"/>
                </a:lnTo>
                <a:lnTo>
                  <a:pt x="576" y="1829"/>
                </a:lnTo>
                <a:close/>
                <a:moveTo>
                  <a:pt x="592" y="1846"/>
                </a:moveTo>
                <a:lnTo>
                  <a:pt x="594" y="1843"/>
                </a:lnTo>
                <a:lnTo>
                  <a:pt x="592" y="1843"/>
                </a:lnTo>
                <a:lnTo>
                  <a:pt x="592" y="1846"/>
                </a:lnTo>
                <a:close/>
                <a:moveTo>
                  <a:pt x="585" y="1829"/>
                </a:moveTo>
                <a:lnTo>
                  <a:pt x="587" y="1829"/>
                </a:lnTo>
                <a:lnTo>
                  <a:pt x="585" y="1828"/>
                </a:lnTo>
                <a:lnTo>
                  <a:pt x="585" y="1829"/>
                </a:lnTo>
                <a:close/>
                <a:moveTo>
                  <a:pt x="468" y="654"/>
                </a:moveTo>
                <a:lnTo>
                  <a:pt x="468" y="652"/>
                </a:lnTo>
                <a:lnTo>
                  <a:pt x="465" y="652"/>
                </a:lnTo>
                <a:lnTo>
                  <a:pt x="467" y="654"/>
                </a:lnTo>
                <a:lnTo>
                  <a:pt x="468" y="654"/>
                </a:lnTo>
                <a:close/>
                <a:moveTo>
                  <a:pt x="475" y="654"/>
                </a:moveTo>
                <a:lnTo>
                  <a:pt x="474" y="656"/>
                </a:lnTo>
                <a:lnTo>
                  <a:pt x="476" y="654"/>
                </a:lnTo>
                <a:lnTo>
                  <a:pt x="475" y="654"/>
                </a:lnTo>
                <a:close/>
                <a:moveTo>
                  <a:pt x="467" y="665"/>
                </a:moveTo>
                <a:lnTo>
                  <a:pt x="463" y="669"/>
                </a:lnTo>
                <a:lnTo>
                  <a:pt x="468" y="667"/>
                </a:lnTo>
                <a:lnTo>
                  <a:pt x="467" y="665"/>
                </a:lnTo>
                <a:close/>
                <a:moveTo>
                  <a:pt x="463" y="651"/>
                </a:moveTo>
                <a:lnTo>
                  <a:pt x="467" y="651"/>
                </a:lnTo>
                <a:lnTo>
                  <a:pt x="465" y="648"/>
                </a:lnTo>
                <a:lnTo>
                  <a:pt x="463" y="651"/>
                </a:lnTo>
                <a:close/>
                <a:moveTo>
                  <a:pt x="462" y="669"/>
                </a:moveTo>
                <a:lnTo>
                  <a:pt x="463" y="669"/>
                </a:lnTo>
                <a:lnTo>
                  <a:pt x="465" y="665"/>
                </a:lnTo>
                <a:lnTo>
                  <a:pt x="462" y="669"/>
                </a:lnTo>
                <a:close/>
                <a:moveTo>
                  <a:pt x="471" y="665"/>
                </a:moveTo>
                <a:lnTo>
                  <a:pt x="472" y="660"/>
                </a:lnTo>
                <a:lnTo>
                  <a:pt x="471" y="660"/>
                </a:lnTo>
                <a:lnTo>
                  <a:pt x="472" y="659"/>
                </a:lnTo>
                <a:lnTo>
                  <a:pt x="471" y="658"/>
                </a:lnTo>
                <a:lnTo>
                  <a:pt x="471" y="659"/>
                </a:lnTo>
                <a:lnTo>
                  <a:pt x="467" y="664"/>
                </a:lnTo>
                <a:lnTo>
                  <a:pt x="471" y="665"/>
                </a:lnTo>
                <a:close/>
                <a:moveTo>
                  <a:pt x="475" y="667"/>
                </a:moveTo>
                <a:lnTo>
                  <a:pt x="468" y="670"/>
                </a:lnTo>
                <a:lnTo>
                  <a:pt x="467" y="674"/>
                </a:lnTo>
                <a:lnTo>
                  <a:pt x="474" y="671"/>
                </a:lnTo>
                <a:lnTo>
                  <a:pt x="481" y="663"/>
                </a:lnTo>
                <a:lnTo>
                  <a:pt x="479" y="660"/>
                </a:lnTo>
                <a:lnTo>
                  <a:pt x="475" y="667"/>
                </a:lnTo>
                <a:close/>
                <a:moveTo>
                  <a:pt x="4359" y="1680"/>
                </a:moveTo>
                <a:lnTo>
                  <a:pt x="4359" y="1680"/>
                </a:lnTo>
                <a:lnTo>
                  <a:pt x="4359" y="1680"/>
                </a:lnTo>
                <a:lnTo>
                  <a:pt x="4357" y="1680"/>
                </a:lnTo>
                <a:lnTo>
                  <a:pt x="4357" y="1680"/>
                </a:lnTo>
                <a:lnTo>
                  <a:pt x="4358" y="1680"/>
                </a:lnTo>
                <a:lnTo>
                  <a:pt x="4358" y="1680"/>
                </a:lnTo>
                <a:lnTo>
                  <a:pt x="4359" y="1680"/>
                </a:lnTo>
                <a:close/>
                <a:moveTo>
                  <a:pt x="5044" y="2037"/>
                </a:moveTo>
                <a:lnTo>
                  <a:pt x="5043" y="2036"/>
                </a:lnTo>
                <a:lnTo>
                  <a:pt x="5043" y="2036"/>
                </a:lnTo>
                <a:lnTo>
                  <a:pt x="5043" y="2038"/>
                </a:lnTo>
                <a:lnTo>
                  <a:pt x="5045" y="2038"/>
                </a:lnTo>
                <a:lnTo>
                  <a:pt x="5044" y="2037"/>
                </a:lnTo>
                <a:close/>
                <a:moveTo>
                  <a:pt x="5212" y="1949"/>
                </a:moveTo>
                <a:lnTo>
                  <a:pt x="5209" y="1947"/>
                </a:lnTo>
                <a:lnTo>
                  <a:pt x="5208" y="1949"/>
                </a:lnTo>
                <a:lnTo>
                  <a:pt x="5211" y="1949"/>
                </a:lnTo>
                <a:lnTo>
                  <a:pt x="5212" y="1949"/>
                </a:lnTo>
                <a:close/>
                <a:moveTo>
                  <a:pt x="5223" y="1950"/>
                </a:moveTo>
                <a:lnTo>
                  <a:pt x="5224" y="1950"/>
                </a:lnTo>
                <a:lnTo>
                  <a:pt x="5224" y="1948"/>
                </a:lnTo>
                <a:lnTo>
                  <a:pt x="5224" y="1948"/>
                </a:lnTo>
                <a:lnTo>
                  <a:pt x="5223" y="1949"/>
                </a:lnTo>
                <a:lnTo>
                  <a:pt x="5223" y="1950"/>
                </a:lnTo>
                <a:close/>
                <a:moveTo>
                  <a:pt x="5208" y="1961"/>
                </a:moveTo>
                <a:lnTo>
                  <a:pt x="5208" y="1961"/>
                </a:lnTo>
                <a:lnTo>
                  <a:pt x="5208" y="1961"/>
                </a:lnTo>
                <a:lnTo>
                  <a:pt x="5209" y="1960"/>
                </a:lnTo>
                <a:lnTo>
                  <a:pt x="5208" y="1960"/>
                </a:lnTo>
                <a:lnTo>
                  <a:pt x="5208" y="1961"/>
                </a:lnTo>
                <a:close/>
                <a:moveTo>
                  <a:pt x="5223" y="1973"/>
                </a:moveTo>
                <a:lnTo>
                  <a:pt x="5224" y="1974"/>
                </a:lnTo>
                <a:lnTo>
                  <a:pt x="5224" y="1974"/>
                </a:lnTo>
                <a:lnTo>
                  <a:pt x="5224" y="1972"/>
                </a:lnTo>
                <a:lnTo>
                  <a:pt x="5223" y="1972"/>
                </a:lnTo>
                <a:lnTo>
                  <a:pt x="5223" y="1973"/>
                </a:lnTo>
                <a:close/>
                <a:moveTo>
                  <a:pt x="5217" y="853"/>
                </a:moveTo>
                <a:lnTo>
                  <a:pt x="5221" y="853"/>
                </a:lnTo>
                <a:lnTo>
                  <a:pt x="5219" y="853"/>
                </a:lnTo>
                <a:lnTo>
                  <a:pt x="5217" y="852"/>
                </a:lnTo>
                <a:lnTo>
                  <a:pt x="5208" y="846"/>
                </a:lnTo>
                <a:lnTo>
                  <a:pt x="5208" y="846"/>
                </a:lnTo>
                <a:lnTo>
                  <a:pt x="5208" y="847"/>
                </a:lnTo>
                <a:lnTo>
                  <a:pt x="5211" y="849"/>
                </a:lnTo>
                <a:lnTo>
                  <a:pt x="5217" y="853"/>
                </a:lnTo>
                <a:close/>
                <a:moveTo>
                  <a:pt x="5218" y="1939"/>
                </a:moveTo>
                <a:lnTo>
                  <a:pt x="5216" y="1941"/>
                </a:lnTo>
                <a:lnTo>
                  <a:pt x="5211" y="1943"/>
                </a:lnTo>
                <a:lnTo>
                  <a:pt x="5209" y="1944"/>
                </a:lnTo>
                <a:lnTo>
                  <a:pt x="5208" y="1946"/>
                </a:lnTo>
                <a:lnTo>
                  <a:pt x="5206" y="1945"/>
                </a:lnTo>
                <a:lnTo>
                  <a:pt x="5205" y="1945"/>
                </a:lnTo>
                <a:lnTo>
                  <a:pt x="5204" y="1948"/>
                </a:lnTo>
                <a:lnTo>
                  <a:pt x="5206" y="1949"/>
                </a:lnTo>
                <a:lnTo>
                  <a:pt x="5208" y="1951"/>
                </a:lnTo>
                <a:lnTo>
                  <a:pt x="5208" y="1949"/>
                </a:lnTo>
                <a:lnTo>
                  <a:pt x="5208" y="1949"/>
                </a:lnTo>
                <a:lnTo>
                  <a:pt x="5208" y="1949"/>
                </a:lnTo>
                <a:lnTo>
                  <a:pt x="5208" y="1948"/>
                </a:lnTo>
                <a:lnTo>
                  <a:pt x="5212" y="1946"/>
                </a:lnTo>
                <a:lnTo>
                  <a:pt x="5212" y="1948"/>
                </a:lnTo>
                <a:lnTo>
                  <a:pt x="5221" y="1946"/>
                </a:lnTo>
                <a:lnTo>
                  <a:pt x="5223" y="1943"/>
                </a:lnTo>
                <a:lnTo>
                  <a:pt x="5224" y="1941"/>
                </a:lnTo>
                <a:lnTo>
                  <a:pt x="5221" y="1943"/>
                </a:lnTo>
                <a:lnTo>
                  <a:pt x="5218" y="1945"/>
                </a:lnTo>
                <a:lnTo>
                  <a:pt x="5221" y="1942"/>
                </a:lnTo>
                <a:lnTo>
                  <a:pt x="5224" y="1938"/>
                </a:lnTo>
                <a:lnTo>
                  <a:pt x="5221" y="1939"/>
                </a:lnTo>
                <a:lnTo>
                  <a:pt x="5218" y="1939"/>
                </a:lnTo>
                <a:close/>
                <a:moveTo>
                  <a:pt x="5207" y="840"/>
                </a:moveTo>
                <a:lnTo>
                  <a:pt x="5208" y="840"/>
                </a:lnTo>
                <a:lnTo>
                  <a:pt x="5206" y="839"/>
                </a:lnTo>
                <a:lnTo>
                  <a:pt x="5204" y="838"/>
                </a:lnTo>
                <a:lnTo>
                  <a:pt x="5205" y="839"/>
                </a:lnTo>
                <a:lnTo>
                  <a:pt x="5207" y="840"/>
                </a:lnTo>
                <a:close/>
                <a:moveTo>
                  <a:pt x="5169" y="830"/>
                </a:moveTo>
                <a:lnTo>
                  <a:pt x="5169" y="830"/>
                </a:lnTo>
                <a:lnTo>
                  <a:pt x="5169" y="831"/>
                </a:lnTo>
                <a:lnTo>
                  <a:pt x="5170" y="831"/>
                </a:lnTo>
                <a:lnTo>
                  <a:pt x="5169" y="830"/>
                </a:lnTo>
                <a:close/>
                <a:moveTo>
                  <a:pt x="5151" y="2269"/>
                </a:moveTo>
                <a:lnTo>
                  <a:pt x="5154" y="2269"/>
                </a:lnTo>
                <a:lnTo>
                  <a:pt x="5155" y="2267"/>
                </a:lnTo>
                <a:lnTo>
                  <a:pt x="5151" y="2269"/>
                </a:lnTo>
                <a:close/>
                <a:moveTo>
                  <a:pt x="5121" y="1663"/>
                </a:moveTo>
                <a:lnTo>
                  <a:pt x="5121" y="1663"/>
                </a:lnTo>
                <a:lnTo>
                  <a:pt x="5121" y="1665"/>
                </a:lnTo>
                <a:lnTo>
                  <a:pt x="5122" y="1667"/>
                </a:lnTo>
                <a:lnTo>
                  <a:pt x="5122" y="1667"/>
                </a:lnTo>
                <a:lnTo>
                  <a:pt x="5122" y="1665"/>
                </a:lnTo>
                <a:lnTo>
                  <a:pt x="5121" y="1664"/>
                </a:lnTo>
                <a:lnTo>
                  <a:pt x="5121" y="1663"/>
                </a:lnTo>
                <a:close/>
                <a:moveTo>
                  <a:pt x="5129" y="2236"/>
                </a:moveTo>
                <a:lnTo>
                  <a:pt x="5129" y="2236"/>
                </a:lnTo>
                <a:lnTo>
                  <a:pt x="5129" y="2236"/>
                </a:lnTo>
                <a:lnTo>
                  <a:pt x="5129" y="2236"/>
                </a:lnTo>
                <a:lnTo>
                  <a:pt x="5129" y="2236"/>
                </a:lnTo>
                <a:close/>
                <a:moveTo>
                  <a:pt x="5189" y="841"/>
                </a:moveTo>
                <a:lnTo>
                  <a:pt x="5190" y="841"/>
                </a:lnTo>
                <a:lnTo>
                  <a:pt x="5191" y="840"/>
                </a:lnTo>
                <a:lnTo>
                  <a:pt x="5193" y="840"/>
                </a:lnTo>
                <a:lnTo>
                  <a:pt x="5193" y="836"/>
                </a:lnTo>
                <a:lnTo>
                  <a:pt x="5192" y="836"/>
                </a:lnTo>
                <a:lnTo>
                  <a:pt x="5190" y="838"/>
                </a:lnTo>
                <a:lnTo>
                  <a:pt x="5188" y="840"/>
                </a:lnTo>
                <a:lnTo>
                  <a:pt x="5188" y="841"/>
                </a:lnTo>
                <a:lnTo>
                  <a:pt x="5189" y="841"/>
                </a:lnTo>
                <a:close/>
                <a:moveTo>
                  <a:pt x="5159" y="2262"/>
                </a:moveTo>
                <a:lnTo>
                  <a:pt x="5159" y="2258"/>
                </a:lnTo>
                <a:lnTo>
                  <a:pt x="5158" y="2257"/>
                </a:lnTo>
                <a:lnTo>
                  <a:pt x="5156" y="2256"/>
                </a:lnTo>
                <a:lnTo>
                  <a:pt x="5156" y="2256"/>
                </a:lnTo>
                <a:lnTo>
                  <a:pt x="5156" y="2259"/>
                </a:lnTo>
                <a:lnTo>
                  <a:pt x="5158" y="2260"/>
                </a:lnTo>
                <a:lnTo>
                  <a:pt x="5159" y="2262"/>
                </a:lnTo>
                <a:lnTo>
                  <a:pt x="5159" y="2262"/>
                </a:lnTo>
                <a:close/>
                <a:moveTo>
                  <a:pt x="5221" y="838"/>
                </a:moveTo>
                <a:lnTo>
                  <a:pt x="5222" y="839"/>
                </a:lnTo>
                <a:lnTo>
                  <a:pt x="5222" y="840"/>
                </a:lnTo>
                <a:lnTo>
                  <a:pt x="5223" y="839"/>
                </a:lnTo>
                <a:lnTo>
                  <a:pt x="5224" y="838"/>
                </a:lnTo>
                <a:lnTo>
                  <a:pt x="5222" y="838"/>
                </a:lnTo>
                <a:lnTo>
                  <a:pt x="5221" y="838"/>
                </a:lnTo>
                <a:close/>
                <a:moveTo>
                  <a:pt x="5205" y="1960"/>
                </a:moveTo>
                <a:lnTo>
                  <a:pt x="5200" y="1953"/>
                </a:lnTo>
                <a:lnTo>
                  <a:pt x="5195" y="1955"/>
                </a:lnTo>
                <a:lnTo>
                  <a:pt x="5190" y="1957"/>
                </a:lnTo>
                <a:lnTo>
                  <a:pt x="5189" y="1959"/>
                </a:lnTo>
                <a:lnTo>
                  <a:pt x="5188" y="1960"/>
                </a:lnTo>
                <a:lnTo>
                  <a:pt x="5188" y="1961"/>
                </a:lnTo>
                <a:lnTo>
                  <a:pt x="5186" y="1962"/>
                </a:lnTo>
                <a:lnTo>
                  <a:pt x="5185" y="1964"/>
                </a:lnTo>
                <a:lnTo>
                  <a:pt x="5187" y="1967"/>
                </a:lnTo>
                <a:lnTo>
                  <a:pt x="5191" y="1968"/>
                </a:lnTo>
                <a:lnTo>
                  <a:pt x="5194" y="1969"/>
                </a:lnTo>
                <a:lnTo>
                  <a:pt x="5200" y="1969"/>
                </a:lnTo>
                <a:lnTo>
                  <a:pt x="5204" y="1967"/>
                </a:lnTo>
                <a:lnTo>
                  <a:pt x="5208" y="1965"/>
                </a:lnTo>
                <a:lnTo>
                  <a:pt x="5206" y="1963"/>
                </a:lnTo>
                <a:lnTo>
                  <a:pt x="5205" y="1960"/>
                </a:lnTo>
                <a:close/>
                <a:moveTo>
                  <a:pt x="5196" y="1982"/>
                </a:moveTo>
                <a:lnTo>
                  <a:pt x="5197" y="1982"/>
                </a:lnTo>
                <a:lnTo>
                  <a:pt x="5200" y="1981"/>
                </a:lnTo>
                <a:lnTo>
                  <a:pt x="5204" y="1979"/>
                </a:lnTo>
                <a:lnTo>
                  <a:pt x="5201" y="1979"/>
                </a:lnTo>
                <a:lnTo>
                  <a:pt x="5196" y="1982"/>
                </a:lnTo>
                <a:close/>
                <a:moveTo>
                  <a:pt x="5122" y="1676"/>
                </a:moveTo>
                <a:lnTo>
                  <a:pt x="5122" y="1678"/>
                </a:lnTo>
                <a:lnTo>
                  <a:pt x="5122" y="1679"/>
                </a:lnTo>
                <a:lnTo>
                  <a:pt x="5125" y="1678"/>
                </a:lnTo>
                <a:lnTo>
                  <a:pt x="5122" y="1676"/>
                </a:lnTo>
                <a:lnTo>
                  <a:pt x="5122" y="1676"/>
                </a:lnTo>
                <a:close/>
                <a:moveTo>
                  <a:pt x="4939" y="657"/>
                </a:moveTo>
                <a:lnTo>
                  <a:pt x="4939" y="657"/>
                </a:lnTo>
                <a:lnTo>
                  <a:pt x="4939" y="657"/>
                </a:lnTo>
                <a:lnTo>
                  <a:pt x="4939" y="657"/>
                </a:lnTo>
                <a:lnTo>
                  <a:pt x="4939" y="657"/>
                </a:lnTo>
                <a:close/>
                <a:moveTo>
                  <a:pt x="4887" y="861"/>
                </a:moveTo>
                <a:lnTo>
                  <a:pt x="4887" y="861"/>
                </a:lnTo>
                <a:lnTo>
                  <a:pt x="4887" y="861"/>
                </a:lnTo>
                <a:lnTo>
                  <a:pt x="4887" y="861"/>
                </a:lnTo>
                <a:close/>
                <a:moveTo>
                  <a:pt x="5204" y="565"/>
                </a:moveTo>
                <a:lnTo>
                  <a:pt x="5204" y="565"/>
                </a:lnTo>
                <a:lnTo>
                  <a:pt x="5205" y="564"/>
                </a:lnTo>
                <a:lnTo>
                  <a:pt x="5204" y="565"/>
                </a:lnTo>
                <a:lnTo>
                  <a:pt x="5204" y="565"/>
                </a:lnTo>
                <a:close/>
                <a:moveTo>
                  <a:pt x="4887" y="861"/>
                </a:moveTo>
                <a:lnTo>
                  <a:pt x="4887" y="860"/>
                </a:lnTo>
                <a:lnTo>
                  <a:pt x="4887" y="860"/>
                </a:lnTo>
                <a:lnTo>
                  <a:pt x="4886" y="861"/>
                </a:lnTo>
                <a:lnTo>
                  <a:pt x="4887" y="861"/>
                </a:lnTo>
                <a:close/>
                <a:moveTo>
                  <a:pt x="4613" y="804"/>
                </a:moveTo>
                <a:lnTo>
                  <a:pt x="4611" y="803"/>
                </a:lnTo>
                <a:lnTo>
                  <a:pt x="4610" y="802"/>
                </a:lnTo>
                <a:lnTo>
                  <a:pt x="4609" y="804"/>
                </a:lnTo>
                <a:lnTo>
                  <a:pt x="4610" y="804"/>
                </a:lnTo>
                <a:lnTo>
                  <a:pt x="4613" y="804"/>
                </a:lnTo>
                <a:close/>
                <a:moveTo>
                  <a:pt x="4625" y="795"/>
                </a:moveTo>
                <a:lnTo>
                  <a:pt x="4624" y="796"/>
                </a:lnTo>
                <a:lnTo>
                  <a:pt x="4626" y="796"/>
                </a:lnTo>
                <a:lnTo>
                  <a:pt x="4626" y="795"/>
                </a:lnTo>
                <a:lnTo>
                  <a:pt x="4626" y="795"/>
                </a:lnTo>
                <a:lnTo>
                  <a:pt x="4626" y="795"/>
                </a:lnTo>
                <a:lnTo>
                  <a:pt x="4625" y="795"/>
                </a:lnTo>
                <a:close/>
                <a:moveTo>
                  <a:pt x="4682" y="806"/>
                </a:moveTo>
                <a:lnTo>
                  <a:pt x="4682" y="806"/>
                </a:lnTo>
                <a:lnTo>
                  <a:pt x="4682" y="806"/>
                </a:lnTo>
                <a:lnTo>
                  <a:pt x="4682" y="806"/>
                </a:lnTo>
                <a:lnTo>
                  <a:pt x="4682" y="806"/>
                </a:lnTo>
                <a:lnTo>
                  <a:pt x="4682" y="806"/>
                </a:lnTo>
                <a:close/>
                <a:moveTo>
                  <a:pt x="4676" y="808"/>
                </a:moveTo>
                <a:lnTo>
                  <a:pt x="4674" y="808"/>
                </a:lnTo>
                <a:lnTo>
                  <a:pt x="4674" y="810"/>
                </a:lnTo>
                <a:lnTo>
                  <a:pt x="4676" y="808"/>
                </a:lnTo>
                <a:lnTo>
                  <a:pt x="4676" y="808"/>
                </a:lnTo>
                <a:close/>
                <a:moveTo>
                  <a:pt x="4624" y="800"/>
                </a:moveTo>
                <a:lnTo>
                  <a:pt x="4624" y="800"/>
                </a:lnTo>
                <a:lnTo>
                  <a:pt x="4622" y="800"/>
                </a:lnTo>
                <a:lnTo>
                  <a:pt x="4622" y="801"/>
                </a:lnTo>
                <a:lnTo>
                  <a:pt x="4623" y="801"/>
                </a:lnTo>
                <a:lnTo>
                  <a:pt x="4624" y="800"/>
                </a:lnTo>
                <a:close/>
                <a:moveTo>
                  <a:pt x="5208" y="587"/>
                </a:moveTo>
                <a:lnTo>
                  <a:pt x="5208" y="587"/>
                </a:lnTo>
                <a:lnTo>
                  <a:pt x="5208" y="588"/>
                </a:lnTo>
                <a:lnTo>
                  <a:pt x="5208" y="588"/>
                </a:lnTo>
                <a:lnTo>
                  <a:pt x="5208" y="587"/>
                </a:lnTo>
                <a:close/>
                <a:moveTo>
                  <a:pt x="5208" y="588"/>
                </a:moveTo>
                <a:lnTo>
                  <a:pt x="5208" y="588"/>
                </a:lnTo>
                <a:lnTo>
                  <a:pt x="5208" y="591"/>
                </a:lnTo>
                <a:lnTo>
                  <a:pt x="5208" y="589"/>
                </a:lnTo>
                <a:lnTo>
                  <a:pt x="5208" y="588"/>
                </a:lnTo>
                <a:close/>
                <a:moveTo>
                  <a:pt x="5174" y="561"/>
                </a:moveTo>
                <a:lnTo>
                  <a:pt x="5174" y="561"/>
                </a:lnTo>
                <a:lnTo>
                  <a:pt x="5174" y="561"/>
                </a:lnTo>
                <a:lnTo>
                  <a:pt x="5174" y="561"/>
                </a:lnTo>
                <a:close/>
                <a:moveTo>
                  <a:pt x="4935" y="816"/>
                </a:moveTo>
                <a:lnTo>
                  <a:pt x="4935" y="816"/>
                </a:lnTo>
                <a:lnTo>
                  <a:pt x="4935" y="816"/>
                </a:lnTo>
                <a:lnTo>
                  <a:pt x="4935" y="816"/>
                </a:lnTo>
                <a:close/>
                <a:moveTo>
                  <a:pt x="5211" y="595"/>
                </a:moveTo>
                <a:lnTo>
                  <a:pt x="5211" y="595"/>
                </a:lnTo>
                <a:lnTo>
                  <a:pt x="5210" y="594"/>
                </a:lnTo>
                <a:lnTo>
                  <a:pt x="5211" y="595"/>
                </a:lnTo>
                <a:lnTo>
                  <a:pt x="5211" y="595"/>
                </a:lnTo>
                <a:close/>
                <a:moveTo>
                  <a:pt x="4981" y="740"/>
                </a:moveTo>
                <a:lnTo>
                  <a:pt x="4981" y="740"/>
                </a:lnTo>
                <a:lnTo>
                  <a:pt x="4981" y="740"/>
                </a:lnTo>
                <a:lnTo>
                  <a:pt x="4981" y="740"/>
                </a:lnTo>
                <a:lnTo>
                  <a:pt x="4981" y="740"/>
                </a:lnTo>
                <a:close/>
                <a:moveTo>
                  <a:pt x="5024" y="676"/>
                </a:moveTo>
                <a:lnTo>
                  <a:pt x="5024" y="676"/>
                </a:lnTo>
                <a:lnTo>
                  <a:pt x="5024" y="676"/>
                </a:lnTo>
                <a:lnTo>
                  <a:pt x="5024" y="676"/>
                </a:lnTo>
                <a:lnTo>
                  <a:pt x="5024" y="676"/>
                </a:lnTo>
                <a:close/>
                <a:moveTo>
                  <a:pt x="5111" y="652"/>
                </a:moveTo>
                <a:lnTo>
                  <a:pt x="5111" y="652"/>
                </a:lnTo>
                <a:lnTo>
                  <a:pt x="5111" y="652"/>
                </a:lnTo>
                <a:lnTo>
                  <a:pt x="5111" y="652"/>
                </a:lnTo>
                <a:lnTo>
                  <a:pt x="5111" y="652"/>
                </a:lnTo>
                <a:close/>
                <a:moveTo>
                  <a:pt x="5136" y="2340"/>
                </a:moveTo>
                <a:lnTo>
                  <a:pt x="5137" y="2339"/>
                </a:lnTo>
                <a:lnTo>
                  <a:pt x="5136" y="2339"/>
                </a:lnTo>
                <a:lnTo>
                  <a:pt x="5136" y="2339"/>
                </a:lnTo>
                <a:lnTo>
                  <a:pt x="5136" y="2340"/>
                </a:lnTo>
                <a:close/>
                <a:moveTo>
                  <a:pt x="5036" y="2420"/>
                </a:moveTo>
                <a:lnTo>
                  <a:pt x="5036" y="2417"/>
                </a:lnTo>
                <a:lnTo>
                  <a:pt x="5033" y="2419"/>
                </a:lnTo>
                <a:lnTo>
                  <a:pt x="5036" y="2420"/>
                </a:lnTo>
                <a:close/>
                <a:moveTo>
                  <a:pt x="5067" y="2560"/>
                </a:moveTo>
                <a:lnTo>
                  <a:pt x="5067" y="2557"/>
                </a:lnTo>
                <a:lnTo>
                  <a:pt x="5067" y="2557"/>
                </a:lnTo>
                <a:lnTo>
                  <a:pt x="5065" y="2560"/>
                </a:lnTo>
                <a:lnTo>
                  <a:pt x="5067" y="2560"/>
                </a:lnTo>
                <a:close/>
                <a:moveTo>
                  <a:pt x="5055" y="2443"/>
                </a:moveTo>
                <a:lnTo>
                  <a:pt x="5056" y="2444"/>
                </a:lnTo>
                <a:lnTo>
                  <a:pt x="5056" y="2445"/>
                </a:lnTo>
                <a:lnTo>
                  <a:pt x="5056" y="2443"/>
                </a:lnTo>
                <a:lnTo>
                  <a:pt x="5055" y="2443"/>
                </a:lnTo>
                <a:close/>
                <a:moveTo>
                  <a:pt x="5134" y="2343"/>
                </a:moveTo>
                <a:lnTo>
                  <a:pt x="5134" y="2343"/>
                </a:lnTo>
                <a:lnTo>
                  <a:pt x="5134" y="2343"/>
                </a:lnTo>
                <a:lnTo>
                  <a:pt x="5134" y="2343"/>
                </a:lnTo>
                <a:lnTo>
                  <a:pt x="5132" y="2343"/>
                </a:lnTo>
                <a:lnTo>
                  <a:pt x="5132" y="2344"/>
                </a:lnTo>
                <a:lnTo>
                  <a:pt x="5134" y="2343"/>
                </a:lnTo>
                <a:lnTo>
                  <a:pt x="5134" y="2343"/>
                </a:lnTo>
                <a:close/>
                <a:moveTo>
                  <a:pt x="5136" y="2340"/>
                </a:moveTo>
                <a:lnTo>
                  <a:pt x="5136" y="2341"/>
                </a:lnTo>
                <a:lnTo>
                  <a:pt x="5136" y="2339"/>
                </a:lnTo>
                <a:lnTo>
                  <a:pt x="5136" y="2339"/>
                </a:lnTo>
                <a:lnTo>
                  <a:pt x="5136" y="2339"/>
                </a:lnTo>
                <a:lnTo>
                  <a:pt x="5136" y="2339"/>
                </a:lnTo>
                <a:lnTo>
                  <a:pt x="5137" y="2335"/>
                </a:lnTo>
                <a:lnTo>
                  <a:pt x="5137" y="2335"/>
                </a:lnTo>
                <a:lnTo>
                  <a:pt x="5137" y="2335"/>
                </a:lnTo>
                <a:lnTo>
                  <a:pt x="5132" y="2339"/>
                </a:lnTo>
                <a:lnTo>
                  <a:pt x="5132" y="2343"/>
                </a:lnTo>
                <a:lnTo>
                  <a:pt x="5134" y="2343"/>
                </a:lnTo>
                <a:lnTo>
                  <a:pt x="5136" y="2343"/>
                </a:lnTo>
                <a:lnTo>
                  <a:pt x="5136" y="2340"/>
                </a:lnTo>
                <a:close/>
                <a:moveTo>
                  <a:pt x="5047" y="2447"/>
                </a:moveTo>
                <a:lnTo>
                  <a:pt x="5048" y="2449"/>
                </a:lnTo>
                <a:lnTo>
                  <a:pt x="5044" y="2459"/>
                </a:lnTo>
                <a:lnTo>
                  <a:pt x="5045" y="2459"/>
                </a:lnTo>
                <a:lnTo>
                  <a:pt x="5046" y="2456"/>
                </a:lnTo>
                <a:lnTo>
                  <a:pt x="5047" y="2454"/>
                </a:lnTo>
                <a:lnTo>
                  <a:pt x="5048" y="2456"/>
                </a:lnTo>
                <a:lnTo>
                  <a:pt x="5052" y="2453"/>
                </a:lnTo>
                <a:lnTo>
                  <a:pt x="5052" y="2451"/>
                </a:lnTo>
                <a:lnTo>
                  <a:pt x="5052" y="2451"/>
                </a:lnTo>
                <a:lnTo>
                  <a:pt x="5052" y="2450"/>
                </a:lnTo>
                <a:lnTo>
                  <a:pt x="5053" y="2449"/>
                </a:lnTo>
                <a:lnTo>
                  <a:pt x="5051" y="2447"/>
                </a:lnTo>
                <a:lnTo>
                  <a:pt x="5047" y="2447"/>
                </a:lnTo>
                <a:close/>
                <a:moveTo>
                  <a:pt x="5036" y="2417"/>
                </a:moveTo>
                <a:lnTo>
                  <a:pt x="5036" y="2417"/>
                </a:lnTo>
                <a:lnTo>
                  <a:pt x="5036" y="2417"/>
                </a:lnTo>
                <a:lnTo>
                  <a:pt x="5036" y="2417"/>
                </a:lnTo>
                <a:close/>
                <a:moveTo>
                  <a:pt x="4697" y="897"/>
                </a:moveTo>
                <a:lnTo>
                  <a:pt x="4690" y="897"/>
                </a:lnTo>
                <a:lnTo>
                  <a:pt x="4690" y="897"/>
                </a:lnTo>
                <a:lnTo>
                  <a:pt x="4697" y="897"/>
                </a:lnTo>
                <a:close/>
                <a:moveTo>
                  <a:pt x="5056" y="2445"/>
                </a:moveTo>
                <a:lnTo>
                  <a:pt x="5056" y="2445"/>
                </a:lnTo>
                <a:lnTo>
                  <a:pt x="5056" y="2445"/>
                </a:lnTo>
                <a:lnTo>
                  <a:pt x="5056" y="2445"/>
                </a:lnTo>
                <a:lnTo>
                  <a:pt x="5056" y="2445"/>
                </a:lnTo>
                <a:close/>
                <a:moveTo>
                  <a:pt x="5020" y="1857"/>
                </a:moveTo>
                <a:lnTo>
                  <a:pt x="5025" y="1853"/>
                </a:lnTo>
                <a:lnTo>
                  <a:pt x="5018" y="1856"/>
                </a:lnTo>
                <a:lnTo>
                  <a:pt x="5020" y="1857"/>
                </a:lnTo>
                <a:close/>
                <a:moveTo>
                  <a:pt x="5031" y="2008"/>
                </a:moveTo>
                <a:lnTo>
                  <a:pt x="5032" y="2006"/>
                </a:lnTo>
                <a:lnTo>
                  <a:pt x="5032" y="2003"/>
                </a:lnTo>
                <a:lnTo>
                  <a:pt x="5032" y="2003"/>
                </a:lnTo>
                <a:lnTo>
                  <a:pt x="5031" y="2006"/>
                </a:lnTo>
                <a:lnTo>
                  <a:pt x="5030" y="2009"/>
                </a:lnTo>
                <a:lnTo>
                  <a:pt x="5031" y="2008"/>
                </a:lnTo>
                <a:close/>
                <a:moveTo>
                  <a:pt x="5024" y="776"/>
                </a:moveTo>
                <a:lnTo>
                  <a:pt x="5024" y="776"/>
                </a:lnTo>
                <a:lnTo>
                  <a:pt x="5021" y="776"/>
                </a:lnTo>
                <a:lnTo>
                  <a:pt x="5027" y="785"/>
                </a:lnTo>
                <a:lnTo>
                  <a:pt x="5029" y="785"/>
                </a:lnTo>
                <a:lnTo>
                  <a:pt x="5032" y="786"/>
                </a:lnTo>
                <a:lnTo>
                  <a:pt x="5032" y="783"/>
                </a:lnTo>
                <a:lnTo>
                  <a:pt x="5028" y="779"/>
                </a:lnTo>
                <a:lnTo>
                  <a:pt x="5024" y="776"/>
                </a:lnTo>
                <a:close/>
                <a:moveTo>
                  <a:pt x="5041" y="1929"/>
                </a:moveTo>
                <a:lnTo>
                  <a:pt x="5038" y="1929"/>
                </a:lnTo>
                <a:lnTo>
                  <a:pt x="5041" y="1930"/>
                </a:lnTo>
                <a:lnTo>
                  <a:pt x="5041" y="1929"/>
                </a:lnTo>
                <a:close/>
                <a:moveTo>
                  <a:pt x="5048" y="2457"/>
                </a:moveTo>
                <a:lnTo>
                  <a:pt x="5048" y="2457"/>
                </a:lnTo>
                <a:lnTo>
                  <a:pt x="5048" y="2457"/>
                </a:lnTo>
                <a:lnTo>
                  <a:pt x="5048" y="2457"/>
                </a:lnTo>
                <a:close/>
                <a:moveTo>
                  <a:pt x="5026" y="2519"/>
                </a:moveTo>
                <a:lnTo>
                  <a:pt x="5023" y="2519"/>
                </a:lnTo>
                <a:lnTo>
                  <a:pt x="5023" y="2521"/>
                </a:lnTo>
                <a:lnTo>
                  <a:pt x="5020" y="2525"/>
                </a:lnTo>
                <a:lnTo>
                  <a:pt x="5025" y="2526"/>
                </a:lnTo>
                <a:lnTo>
                  <a:pt x="5023" y="2522"/>
                </a:lnTo>
                <a:lnTo>
                  <a:pt x="5024" y="2521"/>
                </a:lnTo>
                <a:lnTo>
                  <a:pt x="5026" y="2519"/>
                </a:lnTo>
                <a:close/>
                <a:moveTo>
                  <a:pt x="5048" y="2457"/>
                </a:moveTo>
                <a:lnTo>
                  <a:pt x="5048" y="2456"/>
                </a:lnTo>
                <a:lnTo>
                  <a:pt x="5047" y="2457"/>
                </a:lnTo>
                <a:lnTo>
                  <a:pt x="5048" y="2457"/>
                </a:lnTo>
                <a:close/>
                <a:moveTo>
                  <a:pt x="5047" y="2459"/>
                </a:moveTo>
                <a:lnTo>
                  <a:pt x="5045" y="2459"/>
                </a:lnTo>
                <a:lnTo>
                  <a:pt x="5045" y="2459"/>
                </a:lnTo>
                <a:lnTo>
                  <a:pt x="5047" y="2459"/>
                </a:lnTo>
                <a:close/>
                <a:moveTo>
                  <a:pt x="5137" y="831"/>
                </a:moveTo>
                <a:lnTo>
                  <a:pt x="5137" y="827"/>
                </a:lnTo>
                <a:lnTo>
                  <a:pt x="5132" y="830"/>
                </a:lnTo>
                <a:lnTo>
                  <a:pt x="5136" y="831"/>
                </a:lnTo>
                <a:lnTo>
                  <a:pt x="5137" y="831"/>
                </a:lnTo>
                <a:close/>
                <a:moveTo>
                  <a:pt x="5080" y="1999"/>
                </a:moveTo>
                <a:lnTo>
                  <a:pt x="5078" y="1998"/>
                </a:lnTo>
                <a:lnTo>
                  <a:pt x="5078" y="1998"/>
                </a:lnTo>
                <a:lnTo>
                  <a:pt x="5079" y="1999"/>
                </a:lnTo>
                <a:lnTo>
                  <a:pt x="5080" y="1999"/>
                </a:lnTo>
                <a:close/>
                <a:moveTo>
                  <a:pt x="5124" y="2239"/>
                </a:moveTo>
                <a:lnTo>
                  <a:pt x="5124" y="2239"/>
                </a:lnTo>
                <a:lnTo>
                  <a:pt x="5124" y="2238"/>
                </a:lnTo>
                <a:lnTo>
                  <a:pt x="5124" y="2239"/>
                </a:lnTo>
                <a:close/>
                <a:moveTo>
                  <a:pt x="5120" y="2231"/>
                </a:moveTo>
                <a:lnTo>
                  <a:pt x="5120" y="2230"/>
                </a:lnTo>
                <a:lnTo>
                  <a:pt x="5118" y="2230"/>
                </a:lnTo>
                <a:lnTo>
                  <a:pt x="5124" y="2238"/>
                </a:lnTo>
                <a:lnTo>
                  <a:pt x="5124" y="2236"/>
                </a:lnTo>
                <a:lnTo>
                  <a:pt x="5120" y="2231"/>
                </a:lnTo>
                <a:close/>
                <a:moveTo>
                  <a:pt x="5144" y="2274"/>
                </a:moveTo>
                <a:lnTo>
                  <a:pt x="5144" y="2275"/>
                </a:lnTo>
                <a:lnTo>
                  <a:pt x="5145" y="2275"/>
                </a:lnTo>
                <a:lnTo>
                  <a:pt x="5145" y="2274"/>
                </a:lnTo>
                <a:lnTo>
                  <a:pt x="5144" y="2274"/>
                </a:lnTo>
                <a:close/>
                <a:moveTo>
                  <a:pt x="5139" y="2242"/>
                </a:moveTo>
                <a:lnTo>
                  <a:pt x="5138" y="2242"/>
                </a:lnTo>
                <a:lnTo>
                  <a:pt x="5140" y="2242"/>
                </a:lnTo>
                <a:lnTo>
                  <a:pt x="5139" y="2242"/>
                </a:lnTo>
                <a:close/>
                <a:moveTo>
                  <a:pt x="5136" y="2343"/>
                </a:moveTo>
                <a:lnTo>
                  <a:pt x="5136" y="2343"/>
                </a:lnTo>
                <a:lnTo>
                  <a:pt x="5136" y="2343"/>
                </a:lnTo>
                <a:lnTo>
                  <a:pt x="5136" y="2343"/>
                </a:lnTo>
                <a:close/>
                <a:moveTo>
                  <a:pt x="5129" y="820"/>
                </a:moveTo>
                <a:lnTo>
                  <a:pt x="5124" y="820"/>
                </a:lnTo>
                <a:lnTo>
                  <a:pt x="5124" y="822"/>
                </a:lnTo>
                <a:lnTo>
                  <a:pt x="5125" y="824"/>
                </a:lnTo>
                <a:lnTo>
                  <a:pt x="5133" y="820"/>
                </a:lnTo>
                <a:lnTo>
                  <a:pt x="5131" y="820"/>
                </a:lnTo>
                <a:lnTo>
                  <a:pt x="5129" y="820"/>
                </a:lnTo>
                <a:close/>
                <a:moveTo>
                  <a:pt x="5201" y="2283"/>
                </a:moveTo>
                <a:lnTo>
                  <a:pt x="5202" y="2285"/>
                </a:lnTo>
                <a:lnTo>
                  <a:pt x="5199" y="2287"/>
                </a:lnTo>
                <a:lnTo>
                  <a:pt x="5196" y="2290"/>
                </a:lnTo>
                <a:lnTo>
                  <a:pt x="5196" y="2298"/>
                </a:lnTo>
                <a:lnTo>
                  <a:pt x="5196" y="2300"/>
                </a:lnTo>
                <a:lnTo>
                  <a:pt x="5196" y="2302"/>
                </a:lnTo>
                <a:lnTo>
                  <a:pt x="5195" y="2302"/>
                </a:lnTo>
                <a:lnTo>
                  <a:pt x="5194" y="2306"/>
                </a:lnTo>
                <a:lnTo>
                  <a:pt x="5193" y="2310"/>
                </a:lnTo>
                <a:lnTo>
                  <a:pt x="5192" y="2310"/>
                </a:lnTo>
                <a:lnTo>
                  <a:pt x="5190" y="2310"/>
                </a:lnTo>
                <a:lnTo>
                  <a:pt x="5182" y="2310"/>
                </a:lnTo>
                <a:lnTo>
                  <a:pt x="5180" y="2312"/>
                </a:lnTo>
                <a:lnTo>
                  <a:pt x="5178" y="2317"/>
                </a:lnTo>
                <a:lnTo>
                  <a:pt x="5180" y="2319"/>
                </a:lnTo>
                <a:lnTo>
                  <a:pt x="5181" y="2323"/>
                </a:lnTo>
                <a:lnTo>
                  <a:pt x="5182" y="2323"/>
                </a:lnTo>
                <a:lnTo>
                  <a:pt x="5177" y="2330"/>
                </a:lnTo>
                <a:lnTo>
                  <a:pt x="5174" y="2333"/>
                </a:lnTo>
                <a:lnTo>
                  <a:pt x="5170" y="2337"/>
                </a:lnTo>
                <a:lnTo>
                  <a:pt x="5167" y="2347"/>
                </a:lnTo>
                <a:lnTo>
                  <a:pt x="5155" y="2355"/>
                </a:lnTo>
                <a:lnTo>
                  <a:pt x="5155" y="2355"/>
                </a:lnTo>
                <a:lnTo>
                  <a:pt x="5152" y="2355"/>
                </a:lnTo>
                <a:lnTo>
                  <a:pt x="5152" y="2351"/>
                </a:lnTo>
                <a:lnTo>
                  <a:pt x="5149" y="2351"/>
                </a:lnTo>
                <a:lnTo>
                  <a:pt x="5148" y="2351"/>
                </a:lnTo>
                <a:lnTo>
                  <a:pt x="5145" y="2351"/>
                </a:lnTo>
                <a:lnTo>
                  <a:pt x="5148" y="2347"/>
                </a:lnTo>
                <a:lnTo>
                  <a:pt x="5148" y="2346"/>
                </a:lnTo>
                <a:lnTo>
                  <a:pt x="5148" y="2347"/>
                </a:lnTo>
                <a:lnTo>
                  <a:pt x="5154" y="2338"/>
                </a:lnTo>
                <a:lnTo>
                  <a:pt x="5155" y="2331"/>
                </a:lnTo>
                <a:lnTo>
                  <a:pt x="5154" y="2327"/>
                </a:lnTo>
                <a:lnTo>
                  <a:pt x="5152" y="2325"/>
                </a:lnTo>
                <a:lnTo>
                  <a:pt x="5150" y="2324"/>
                </a:lnTo>
                <a:lnTo>
                  <a:pt x="5148" y="2323"/>
                </a:lnTo>
                <a:lnTo>
                  <a:pt x="5145" y="2322"/>
                </a:lnTo>
                <a:lnTo>
                  <a:pt x="5144" y="2321"/>
                </a:lnTo>
                <a:lnTo>
                  <a:pt x="5142" y="2320"/>
                </a:lnTo>
                <a:lnTo>
                  <a:pt x="5136" y="2317"/>
                </a:lnTo>
                <a:lnTo>
                  <a:pt x="5132" y="2311"/>
                </a:lnTo>
                <a:lnTo>
                  <a:pt x="5132" y="2309"/>
                </a:lnTo>
                <a:lnTo>
                  <a:pt x="5142" y="2308"/>
                </a:lnTo>
                <a:lnTo>
                  <a:pt x="5144" y="2306"/>
                </a:lnTo>
                <a:lnTo>
                  <a:pt x="5145" y="2304"/>
                </a:lnTo>
                <a:lnTo>
                  <a:pt x="5148" y="2294"/>
                </a:lnTo>
                <a:lnTo>
                  <a:pt x="5148" y="2294"/>
                </a:lnTo>
                <a:lnTo>
                  <a:pt x="5148" y="2288"/>
                </a:lnTo>
                <a:lnTo>
                  <a:pt x="5148" y="2286"/>
                </a:lnTo>
                <a:lnTo>
                  <a:pt x="5151" y="2286"/>
                </a:lnTo>
                <a:lnTo>
                  <a:pt x="5151" y="2286"/>
                </a:lnTo>
                <a:lnTo>
                  <a:pt x="5149" y="2282"/>
                </a:lnTo>
                <a:lnTo>
                  <a:pt x="5148" y="2279"/>
                </a:lnTo>
                <a:lnTo>
                  <a:pt x="5145" y="2275"/>
                </a:lnTo>
                <a:lnTo>
                  <a:pt x="5147" y="2274"/>
                </a:lnTo>
                <a:lnTo>
                  <a:pt x="5151" y="2274"/>
                </a:lnTo>
                <a:lnTo>
                  <a:pt x="5150" y="2272"/>
                </a:lnTo>
                <a:lnTo>
                  <a:pt x="5149" y="2270"/>
                </a:lnTo>
                <a:lnTo>
                  <a:pt x="5146" y="2272"/>
                </a:lnTo>
                <a:lnTo>
                  <a:pt x="5144" y="2274"/>
                </a:lnTo>
                <a:lnTo>
                  <a:pt x="5142" y="2270"/>
                </a:lnTo>
                <a:lnTo>
                  <a:pt x="5140" y="2267"/>
                </a:lnTo>
                <a:lnTo>
                  <a:pt x="5140" y="2267"/>
                </a:lnTo>
                <a:lnTo>
                  <a:pt x="5140" y="2262"/>
                </a:lnTo>
                <a:lnTo>
                  <a:pt x="5137" y="2263"/>
                </a:lnTo>
                <a:lnTo>
                  <a:pt x="5128" y="2247"/>
                </a:lnTo>
                <a:lnTo>
                  <a:pt x="5128" y="2247"/>
                </a:lnTo>
                <a:lnTo>
                  <a:pt x="5128" y="2247"/>
                </a:lnTo>
                <a:lnTo>
                  <a:pt x="5126" y="2245"/>
                </a:lnTo>
                <a:lnTo>
                  <a:pt x="5125" y="2242"/>
                </a:lnTo>
                <a:lnTo>
                  <a:pt x="5126" y="2242"/>
                </a:lnTo>
                <a:lnTo>
                  <a:pt x="5125" y="2241"/>
                </a:lnTo>
                <a:lnTo>
                  <a:pt x="5125" y="2240"/>
                </a:lnTo>
                <a:lnTo>
                  <a:pt x="5124" y="2239"/>
                </a:lnTo>
                <a:lnTo>
                  <a:pt x="5128" y="2236"/>
                </a:lnTo>
                <a:lnTo>
                  <a:pt x="5129" y="2237"/>
                </a:lnTo>
                <a:lnTo>
                  <a:pt x="5129" y="2239"/>
                </a:lnTo>
                <a:lnTo>
                  <a:pt x="5130" y="2242"/>
                </a:lnTo>
                <a:lnTo>
                  <a:pt x="5131" y="2242"/>
                </a:lnTo>
                <a:lnTo>
                  <a:pt x="5138" y="2242"/>
                </a:lnTo>
                <a:lnTo>
                  <a:pt x="5137" y="2243"/>
                </a:lnTo>
                <a:lnTo>
                  <a:pt x="5139" y="2244"/>
                </a:lnTo>
                <a:lnTo>
                  <a:pt x="5140" y="2245"/>
                </a:lnTo>
                <a:lnTo>
                  <a:pt x="5142" y="2244"/>
                </a:lnTo>
                <a:lnTo>
                  <a:pt x="5144" y="2243"/>
                </a:lnTo>
                <a:lnTo>
                  <a:pt x="5144" y="2243"/>
                </a:lnTo>
                <a:lnTo>
                  <a:pt x="5144" y="2243"/>
                </a:lnTo>
                <a:lnTo>
                  <a:pt x="5144" y="2245"/>
                </a:lnTo>
                <a:lnTo>
                  <a:pt x="5145" y="2247"/>
                </a:lnTo>
                <a:lnTo>
                  <a:pt x="5144" y="2249"/>
                </a:lnTo>
                <a:lnTo>
                  <a:pt x="5144" y="2251"/>
                </a:lnTo>
                <a:lnTo>
                  <a:pt x="5144" y="2252"/>
                </a:lnTo>
                <a:lnTo>
                  <a:pt x="5145" y="2254"/>
                </a:lnTo>
                <a:lnTo>
                  <a:pt x="5145" y="2254"/>
                </a:lnTo>
                <a:lnTo>
                  <a:pt x="5144" y="2255"/>
                </a:lnTo>
                <a:lnTo>
                  <a:pt x="5144" y="2256"/>
                </a:lnTo>
                <a:lnTo>
                  <a:pt x="5146" y="2257"/>
                </a:lnTo>
                <a:lnTo>
                  <a:pt x="5149" y="2259"/>
                </a:lnTo>
                <a:lnTo>
                  <a:pt x="5148" y="2264"/>
                </a:lnTo>
                <a:lnTo>
                  <a:pt x="5148" y="2269"/>
                </a:lnTo>
                <a:lnTo>
                  <a:pt x="5155" y="2273"/>
                </a:lnTo>
                <a:lnTo>
                  <a:pt x="5155" y="2275"/>
                </a:lnTo>
                <a:lnTo>
                  <a:pt x="5156" y="2276"/>
                </a:lnTo>
                <a:lnTo>
                  <a:pt x="5156" y="2273"/>
                </a:lnTo>
                <a:lnTo>
                  <a:pt x="5156" y="2272"/>
                </a:lnTo>
                <a:lnTo>
                  <a:pt x="5156" y="2270"/>
                </a:lnTo>
                <a:lnTo>
                  <a:pt x="5156" y="2267"/>
                </a:lnTo>
                <a:lnTo>
                  <a:pt x="5156" y="2266"/>
                </a:lnTo>
                <a:lnTo>
                  <a:pt x="5159" y="2266"/>
                </a:lnTo>
                <a:lnTo>
                  <a:pt x="5160" y="2268"/>
                </a:lnTo>
                <a:lnTo>
                  <a:pt x="5162" y="2270"/>
                </a:lnTo>
                <a:lnTo>
                  <a:pt x="5164" y="2270"/>
                </a:lnTo>
                <a:lnTo>
                  <a:pt x="5164" y="2277"/>
                </a:lnTo>
                <a:lnTo>
                  <a:pt x="5166" y="2281"/>
                </a:lnTo>
                <a:lnTo>
                  <a:pt x="5169" y="2286"/>
                </a:lnTo>
                <a:lnTo>
                  <a:pt x="5169" y="2286"/>
                </a:lnTo>
                <a:lnTo>
                  <a:pt x="5169" y="2286"/>
                </a:lnTo>
                <a:lnTo>
                  <a:pt x="5174" y="2287"/>
                </a:lnTo>
                <a:lnTo>
                  <a:pt x="5184" y="2290"/>
                </a:lnTo>
                <a:lnTo>
                  <a:pt x="5188" y="2288"/>
                </a:lnTo>
                <a:lnTo>
                  <a:pt x="5190" y="2286"/>
                </a:lnTo>
                <a:lnTo>
                  <a:pt x="5191" y="2285"/>
                </a:lnTo>
                <a:lnTo>
                  <a:pt x="5193" y="2283"/>
                </a:lnTo>
                <a:lnTo>
                  <a:pt x="5195" y="2282"/>
                </a:lnTo>
                <a:lnTo>
                  <a:pt x="5200" y="2282"/>
                </a:lnTo>
                <a:lnTo>
                  <a:pt x="5201" y="2283"/>
                </a:lnTo>
                <a:close/>
                <a:moveTo>
                  <a:pt x="5132" y="2245"/>
                </a:moveTo>
                <a:lnTo>
                  <a:pt x="5132" y="2244"/>
                </a:lnTo>
                <a:lnTo>
                  <a:pt x="5131" y="2243"/>
                </a:lnTo>
                <a:lnTo>
                  <a:pt x="5131" y="2245"/>
                </a:lnTo>
                <a:lnTo>
                  <a:pt x="5130" y="2245"/>
                </a:lnTo>
                <a:lnTo>
                  <a:pt x="5129" y="2247"/>
                </a:lnTo>
                <a:lnTo>
                  <a:pt x="5130" y="2246"/>
                </a:lnTo>
                <a:lnTo>
                  <a:pt x="5132" y="2245"/>
                </a:lnTo>
                <a:close/>
                <a:moveTo>
                  <a:pt x="5140" y="2254"/>
                </a:moveTo>
                <a:lnTo>
                  <a:pt x="5145" y="2254"/>
                </a:lnTo>
                <a:lnTo>
                  <a:pt x="5142" y="2253"/>
                </a:lnTo>
                <a:lnTo>
                  <a:pt x="5140" y="2251"/>
                </a:lnTo>
                <a:lnTo>
                  <a:pt x="5140" y="2254"/>
                </a:lnTo>
                <a:close/>
                <a:moveTo>
                  <a:pt x="5144" y="2258"/>
                </a:moveTo>
                <a:lnTo>
                  <a:pt x="5143" y="2259"/>
                </a:lnTo>
                <a:lnTo>
                  <a:pt x="5141" y="2259"/>
                </a:lnTo>
                <a:lnTo>
                  <a:pt x="5137" y="2258"/>
                </a:lnTo>
                <a:lnTo>
                  <a:pt x="5141" y="2262"/>
                </a:lnTo>
                <a:lnTo>
                  <a:pt x="5142" y="2261"/>
                </a:lnTo>
                <a:lnTo>
                  <a:pt x="5143" y="2260"/>
                </a:lnTo>
                <a:lnTo>
                  <a:pt x="5144" y="2259"/>
                </a:lnTo>
                <a:lnTo>
                  <a:pt x="5144" y="2258"/>
                </a:lnTo>
                <a:close/>
                <a:moveTo>
                  <a:pt x="5169" y="2286"/>
                </a:moveTo>
                <a:lnTo>
                  <a:pt x="5164" y="2282"/>
                </a:lnTo>
                <a:lnTo>
                  <a:pt x="5164" y="2284"/>
                </a:lnTo>
                <a:lnTo>
                  <a:pt x="5169" y="2286"/>
                </a:lnTo>
                <a:close/>
                <a:moveTo>
                  <a:pt x="5130" y="2236"/>
                </a:moveTo>
                <a:lnTo>
                  <a:pt x="5130" y="2235"/>
                </a:lnTo>
                <a:lnTo>
                  <a:pt x="5130" y="2235"/>
                </a:lnTo>
                <a:lnTo>
                  <a:pt x="5129" y="2235"/>
                </a:lnTo>
                <a:lnTo>
                  <a:pt x="5129" y="2236"/>
                </a:lnTo>
                <a:lnTo>
                  <a:pt x="5130" y="2236"/>
                </a:lnTo>
                <a:close/>
                <a:moveTo>
                  <a:pt x="5071" y="1987"/>
                </a:moveTo>
                <a:lnTo>
                  <a:pt x="5072" y="1989"/>
                </a:lnTo>
                <a:lnTo>
                  <a:pt x="5072" y="1990"/>
                </a:lnTo>
                <a:lnTo>
                  <a:pt x="5074" y="1987"/>
                </a:lnTo>
                <a:lnTo>
                  <a:pt x="5072" y="1986"/>
                </a:lnTo>
                <a:lnTo>
                  <a:pt x="5071" y="1986"/>
                </a:lnTo>
                <a:lnTo>
                  <a:pt x="5071" y="1987"/>
                </a:lnTo>
                <a:close/>
                <a:moveTo>
                  <a:pt x="5139" y="2347"/>
                </a:moveTo>
                <a:lnTo>
                  <a:pt x="5140" y="2347"/>
                </a:lnTo>
                <a:lnTo>
                  <a:pt x="5140" y="2347"/>
                </a:lnTo>
                <a:lnTo>
                  <a:pt x="5139" y="2347"/>
                </a:lnTo>
                <a:close/>
                <a:moveTo>
                  <a:pt x="5035" y="2428"/>
                </a:moveTo>
                <a:lnTo>
                  <a:pt x="5034" y="2428"/>
                </a:lnTo>
                <a:lnTo>
                  <a:pt x="5032" y="2427"/>
                </a:lnTo>
                <a:lnTo>
                  <a:pt x="5032" y="2429"/>
                </a:lnTo>
                <a:lnTo>
                  <a:pt x="5035" y="2428"/>
                </a:lnTo>
                <a:lnTo>
                  <a:pt x="5035" y="2428"/>
                </a:lnTo>
                <a:close/>
                <a:moveTo>
                  <a:pt x="5134" y="2348"/>
                </a:moveTo>
                <a:lnTo>
                  <a:pt x="5136" y="2343"/>
                </a:lnTo>
                <a:lnTo>
                  <a:pt x="5135" y="2343"/>
                </a:lnTo>
                <a:lnTo>
                  <a:pt x="5132" y="2345"/>
                </a:lnTo>
                <a:lnTo>
                  <a:pt x="5132" y="2344"/>
                </a:lnTo>
                <a:lnTo>
                  <a:pt x="5130" y="2345"/>
                </a:lnTo>
                <a:lnTo>
                  <a:pt x="5125" y="2349"/>
                </a:lnTo>
                <a:lnTo>
                  <a:pt x="5123" y="2339"/>
                </a:lnTo>
                <a:lnTo>
                  <a:pt x="5122" y="2339"/>
                </a:lnTo>
                <a:lnTo>
                  <a:pt x="5121" y="2340"/>
                </a:lnTo>
                <a:lnTo>
                  <a:pt x="5119" y="2338"/>
                </a:lnTo>
                <a:lnTo>
                  <a:pt x="5116" y="2337"/>
                </a:lnTo>
                <a:lnTo>
                  <a:pt x="5116" y="2335"/>
                </a:lnTo>
                <a:lnTo>
                  <a:pt x="5110" y="2340"/>
                </a:lnTo>
                <a:lnTo>
                  <a:pt x="5110" y="2345"/>
                </a:lnTo>
                <a:lnTo>
                  <a:pt x="5109" y="2350"/>
                </a:lnTo>
                <a:lnTo>
                  <a:pt x="5108" y="2353"/>
                </a:lnTo>
                <a:lnTo>
                  <a:pt x="5106" y="2355"/>
                </a:lnTo>
                <a:lnTo>
                  <a:pt x="5101" y="2357"/>
                </a:lnTo>
                <a:lnTo>
                  <a:pt x="5099" y="2364"/>
                </a:lnTo>
                <a:lnTo>
                  <a:pt x="5096" y="2371"/>
                </a:lnTo>
                <a:lnTo>
                  <a:pt x="5092" y="2377"/>
                </a:lnTo>
                <a:lnTo>
                  <a:pt x="5088" y="2379"/>
                </a:lnTo>
                <a:lnTo>
                  <a:pt x="5084" y="2381"/>
                </a:lnTo>
                <a:lnTo>
                  <a:pt x="5080" y="2385"/>
                </a:lnTo>
                <a:lnTo>
                  <a:pt x="5076" y="2389"/>
                </a:lnTo>
                <a:lnTo>
                  <a:pt x="5067" y="2392"/>
                </a:lnTo>
                <a:lnTo>
                  <a:pt x="5063" y="2396"/>
                </a:lnTo>
                <a:lnTo>
                  <a:pt x="5056" y="2397"/>
                </a:lnTo>
                <a:lnTo>
                  <a:pt x="5055" y="2400"/>
                </a:lnTo>
                <a:lnTo>
                  <a:pt x="5053" y="2402"/>
                </a:lnTo>
                <a:lnTo>
                  <a:pt x="5048" y="2407"/>
                </a:lnTo>
                <a:lnTo>
                  <a:pt x="5043" y="2411"/>
                </a:lnTo>
                <a:lnTo>
                  <a:pt x="5043" y="2413"/>
                </a:lnTo>
                <a:lnTo>
                  <a:pt x="5044" y="2415"/>
                </a:lnTo>
                <a:lnTo>
                  <a:pt x="5042" y="2413"/>
                </a:lnTo>
                <a:lnTo>
                  <a:pt x="5040" y="2412"/>
                </a:lnTo>
                <a:lnTo>
                  <a:pt x="5036" y="2417"/>
                </a:lnTo>
                <a:lnTo>
                  <a:pt x="5036" y="2417"/>
                </a:lnTo>
                <a:lnTo>
                  <a:pt x="5037" y="2418"/>
                </a:lnTo>
                <a:lnTo>
                  <a:pt x="5037" y="2420"/>
                </a:lnTo>
                <a:lnTo>
                  <a:pt x="5039" y="2423"/>
                </a:lnTo>
                <a:lnTo>
                  <a:pt x="5036" y="2421"/>
                </a:lnTo>
                <a:lnTo>
                  <a:pt x="5034" y="2419"/>
                </a:lnTo>
                <a:lnTo>
                  <a:pt x="5033" y="2419"/>
                </a:lnTo>
                <a:lnTo>
                  <a:pt x="5033" y="2419"/>
                </a:lnTo>
                <a:lnTo>
                  <a:pt x="5033" y="2422"/>
                </a:lnTo>
                <a:lnTo>
                  <a:pt x="5033" y="2425"/>
                </a:lnTo>
                <a:lnTo>
                  <a:pt x="5037" y="2425"/>
                </a:lnTo>
                <a:lnTo>
                  <a:pt x="5035" y="2428"/>
                </a:lnTo>
                <a:lnTo>
                  <a:pt x="5036" y="2428"/>
                </a:lnTo>
                <a:lnTo>
                  <a:pt x="5035" y="2428"/>
                </a:lnTo>
                <a:lnTo>
                  <a:pt x="5033" y="2431"/>
                </a:lnTo>
                <a:lnTo>
                  <a:pt x="5032" y="2431"/>
                </a:lnTo>
                <a:lnTo>
                  <a:pt x="5032" y="2429"/>
                </a:lnTo>
                <a:lnTo>
                  <a:pt x="5028" y="2430"/>
                </a:lnTo>
                <a:lnTo>
                  <a:pt x="5028" y="2433"/>
                </a:lnTo>
                <a:lnTo>
                  <a:pt x="5028" y="2435"/>
                </a:lnTo>
                <a:lnTo>
                  <a:pt x="5031" y="2435"/>
                </a:lnTo>
                <a:lnTo>
                  <a:pt x="5031" y="2435"/>
                </a:lnTo>
                <a:lnTo>
                  <a:pt x="5036" y="2432"/>
                </a:lnTo>
                <a:lnTo>
                  <a:pt x="5032" y="2439"/>
                </a:lnTo>
                <a:lnTo>
                  <a:pt x="5033" y="2439"/>
                </a:lnTo>
                <a:lnTo>
                  <a:pt x="5036" y="2438"/>
                </a:lnTo>
                <a:lnTo>
                  <a:pt x="5040" y="2438"/>
                </a:lnTo>
                <a:lnTo>
                  <a:pt x="5042" y="2439"/>
                </a:lnTo>
                <a:lnTo>
                  <a:pt x="5044" y="2439"/>
                </a:lnTo>
                <a:lnTo>
                  <a:pt x="5047" y="2439"/>
                </a:lnTo>
                <a:lnTo>
                  <a:pt x="5048" y="2443"/>
                </a:lnTo>
                <a:lnTo>
                  <a:pt x="5053" y="2440"/>
                </a:lnTo>
                <a:lnTo>
                  <a:pt x="5055" y="2441"/>
                </a:lnTo>
                <a:lnTo>
                  <a:pt x="5056" y="2441"/>
                </a:lnTo>
                <a:lnTo>
                  <a:pt x="5056" y="2442"/>
                </a:lnTo>
                <a:lnTo>
                  <a:pt x="5057" y="2445"/>
                </a:lnTo>
                <a:lnTo>
                  <a:pt x="5060" y="2442"/>
                </a:lnTo>
                <a:lnTo>
                  <a:pt x="5060" y="2447"/>
                </a:lnTo>
                <a:lnTo>
                  <a:pt x="5065" y="2447"/>
                </a:lnTo>
                <a:lnTo>
                  <a:pt x="5069" y="2446"/>
                </a:lnTo>
                <a:lnTo>
                  <a:pt x="5072" y="2445"/>
                </a:lnTo>
                <a:lnTo>
                  <a:pt x="5076" y="2441"/>
                </a:lnTo>
                <a:lnTo>
                  <a:pt x="5076" y="2440"/>
                </a:lnTo>
                <a:lnTo>
                  <a:pt x="5083" y="2437"/>
                </a:lnTo>
                <a:lnTo>
                  <a:pt x="5084" y="2435"/>
                </a:lnTo>
                <a:lnTo>
                  <a:pt x="5085" y="2434"/>
                </a:lnTo>
                <a:lnTo>
                  <a:pt x="5091" y="2431"/>
                </a:lnTo>
                <a:lnTo>
                  <a:pt x="5090" y="2428"/>
                </a:lnTo>
                <a:lnTo>
                  <a:pt x="5091" y="2423"/>
                </a:lnTo>
                <a:lnTo>
                  <a:pt x="5092" y="2421"/>
                </a:lnTo>
                <a:lnTo>
                  <a:pt x="5092" y="2419"/>
                </a:lnTo>
                <a:lnTo>
                  <a:pt x="5094" y="2416"/>
                </a:lnTo>
                <a:lnTo>
                  <a:pt x="5096" y="2414"/>
                </a:lnTo>
                <a:lnTo>
                  <a:pt x="5098" y="2403"/>
                </a:lnTo>
                <a:lnTo>
                  <a:pt x="5100" y="2402"/>
                </a:lnTo>
                <a:lnTo>
                  <a:pt x="5101" y="2400"/>
                </a:lnTo>
                <a:lnTo>
                  <a:pt x="5114" y="2394"/>
                </a:lnTo>
                <a:lnTo>
                  <a:pt x="5114" y="2391"/>
                </a:lnTo>
                <a:lnTo>
                  <a:pt x="5120" y="2394"/>
                </a:lnTo>
                <a:lnTo>
                  <a:pt x="5120" y="2392"/>
                </a:lnTo>
                <a:lnTo>
                  <a:pt x="5121" y="2393"/>
                </a:lnTo>
                <a:lnTo>
                  <a:pt x="5123" y="2395"/>
                </a:lnTo>
                <a:lnTo>
                  <a:pt x="5125" y="2395"/>
                </a:lnTo>
                <a:lnTo>
                  <a:pt x="5123" y="2392"/>
                </a:lnTo>
                <a:lnTo>
                  <a:pt x="5121" y="2390"/>
                </a:lnTo>
                <a:lnTo>
                  <a:pt x="5120" y="2389"/>
                </a:lnTo>
                <a:lnTo>
                  <a:pt x="5120" y="2382"/>
                </a:lnTo>
                <a:lnTo>
                  <a:pt x="5125" y="2378"/>
                </a:lnTo>
                <a:lnTo>
                  <a:pt x="5128" y="2374"/>
                </a:lnTo>
                <a:lnTo>
                  <a:pt x="5131" y="2370"/>
                </a:lnTo>
                <a:lnTo>
                  <a:pt x="5136" y="2364"/>
                </a:lnTo>
                <a:lnTo>
                  <a:pt x="5141" y="2358"/>
                </a:lnTo>
                <a:lnTo>
                  <a:pt x="5143" y="2357"/>
                </a:lnTo>
                <a:lnTo>
                  <a:pt x="5136" y="2350"/>
                </a:lnTo>
                <a:lnTo>
                  <a:pt x="5139" y="2347"/>
                </a:lnTo>
                <a:lnTo>
                  <a:pt x="5137" y="2348"/>
                </a:lnTo>
                <a:lnTo>
                  <a:pt x="5134" y="2348"/>
                </a:lnTo>
                <a:close/>
                <a:moveTo>
                  <a:pt x="5068" y="1975"/>
                </a:moveTo>
                <a:lnTo>
                  <a:pt x="5067" y="1976"/>
                </a:lnTo>
                <a:lnTo>
                  <a:pt x="5067" y="1978"/>
                </a:lnTo>
                <a:lnTo>
                  <a:pt x="5071" y="1979"/>
                </a:lnTo>
                <a:lnTo>
                  <a:pt x="5071" y="1978"/>
                </a:lnTo>
                <a:lnTo>
                  <a:pt x="5069" y="1975"/>
                </a:lnTo>
                <a:lnTo>
                  <a:pt x="5068" y="1975"/>
                </a:lnTo>
                <a:close/>
                <a:moveTo>
                  <a:pt x="5143" y="2347"/>
                </a:moveTo>
                <a:lnTo>
                  <a:pt x="5140" y="2347"/>
                </a:lnTo>
                <a:lnTo>
                  <a:pt x="5140" y="2347"/>
                </a:lnTo>
                <a:lnTo>
                  <a:pt x="5140" y="2348"/>
                </a:lnTo>
                <a:lnTo>
                  <a:pt x="5143" y="2347"/>
                </a:lnTo>
                <a:close/>
                <a:moveTo>
                  <a:pt x="5140" y="2345"/>
                </a:moveTo>
                <a:lnTo>
                  <a:pt x="5140" y="2347"/>
                </a:lnTo>
                <a:lnTo>
                  <a:pt x="5140" y="2346"/>
                </a:lnTo>
                <a:lnTo>
                  <a:pt x="5140" y="2345"/>
                </a:lnTo>
                <a:close/>
                <a:moveTo>
                  <a:pt x="5224" y="1941"/>
                </a:moveTo>
                <a:lnTo>
                  <a:pt x="5224" y="1941"/>
                </a:lnTo>
                <a:lnTo>
                  <a:pt x="5224" y="1941"/>
                </a:lnTo>
                <a:lnTo>
                  <a:pt x="5224" y="1941"/>
                </a:lnTo>
                <a:lnTo>
                  <a:pt x="5224" y="1941"/>
                </a:lnTo>
                <a:close/>
                <a:moveTo>
                  <a:pt x="3360" y="1322"/>
                </a:moveTo>
                <a:lnTo>
                  <a:pt x="3360" y="1322"/>
                </a:lnTo>
                <a:lnTo>
                  <a:pt x="3360" y="1321"/>
                </a:lnTo>
                <a:lnTo>
                  <a:pt x="3360" y="1322"/>
                </a:lnTo>
                <a:lnTo>
                  <a:pt x="3360" y="1322"/>
                </a:lnTo>
                <a:close/>
                <a:moveTo>
                  <a:pt x="3218" y="1716"/>
                </a:moveTo>
                <a:lnTo>
                  <a:pt x="3219" y="1716"/>
                </a:lnTo>
                <a:lnTo>
                  <a:pt x="3218" y="1715"/>
                </a:lnTo>
                <a:lnTo>
                  <a:pt x="3218" y="1716"/>
                </a:lnTo>
                <a:lnTo>
                  <a:pt x="3218" y="1716"/>
                </a:lnTo>
                <a:close/>
                <a:moveTo>
                  <a:pt x="3988" y="1450"/>
                </a:moveTo>
                <a:lnTo>
                  <a:pt x="3988" y="1450"/>
                </a:lnTo>
                <a:lnTo>
                  <a:pt x="3988" y="1449"/>
                </a:lnTo>
                <a:lnTo>
                  <a:pt x="3988" y="1450"/>
                </a:lnTo>
                <a:lnTo>
                  <a:pt x="3988" y="1450"/>
                </a:lnTo>
                <a:close/>
                <a:moveTo>
                  <a:pt x="2365" y="1381"/>
                </a:moveTo>
                <a:lnTo>
                  <a:pt x="2367" y="1375"/>
                </a:lnTo>
                <a:lnTo>
                  <a:pt x="2367" y="1375"/>
                </a:lnTo>
                <a:lnTo>
                  <a:pt x="2367" y="1374"/>
                </a:lnTo>
                <a:lnTo>
                  <a:pt x="2365" y="1381"/>
                </a:lnTo>
                <a:close/>
                <a:moveTo>
                  <a:pt x="2743" y="1720"/>
                </a:moveTo>
                <a:lnTo>
                  <a:pt x="2745" y="1720"/>
                </a:lnTo>
                <a:lnTo>
                  <a:pt x="2743" y="1718"/>
                </a:lnTo>
                <a:lnTo>
                  <a:pt x="2743" y="1720"/>
                </a:lnTo>
                <a:close/>
                <a:moveTo>
                  <a:pt x="2369" y="1382"/>
                </a:moveTo>
                <a:lnTo>
                  <a:pt x="2370" y="1382"/>
                </a:lnTo>
                <a:lnTo>
                  <a:pt x="2369" y="1381"/>
                </a:lnTo>
                <a:lnTo>
                  <a:pt x="2369" y="1382"/>
                </a:lnTo>
                <a:close/>
                <a:moveTo>
                  <a:pt x="2423" y="1581"/>
                </a:moveTo>
                <a:lnTo>
                  <a:pt x="2430" y="1581"/>
                </a:lnTo>
                <a:lnTo>
                  <a:pt x="2430" y="1579"/>
                </a:lnTo>
                <a:lnTo>
                  <a:pt x="2430" y="1579"/>
                </a:lnTo>
                <a:lnTo>
                  <a:pt x="2426" y="1579"/>
                </a:lnTo>
                <a:lnTo>
                  <a:pt x="2423" y="1581"/>
                </a:lnTo>
                <a:close/>
                <a:moveTo>
                  <a:pt x="2430" y="1579"/>
                </a:moveTo>
                <a:lnTo>
                  <a:pt x="2430" y="1579"/>
                </a:lnTo>
                <a:lnTo>
                  <a:pt x="2430" y="1579"/>
                </a:lnTo>
                <a:lnTo>
                  <a:pt x="2430" y="1579"/>
                </a:lnTo>
                <a:close/>
                <a:moveTo>
                  <a:pt x="3156" y="1375"/>
                </a:moveTo>
                <a:lnTo>
                  <a:pt x="3156" y="1375"/>
                </a:lnTo>
                <a:lnTo>
                  <a:pt x="3156" y="1375"/>
                </a:lnTo>
                <a:lnTo>
                  <a:pt x="3156" y="1375"/>
                </a:lnTo>
                <a:close/>
                <a:moveTo>
                  <a:pt x="3891" y="1367"/>
                </a:moveTo>
                <a:lnTo>
                  <a:pt x="3893" y="1367"/>
                </a:lnTo>
                <a:lnTo>
                  <a:pt x="3894" y="1367"/>
                </a:lnTo>
                <a:lnTo>
                  <a:pt x="3893" y="1365"/>
                </a:lnTo>
                <a:lnTo>
                  <a:pt x="3891" y="1362"/>
                </a:lnTo>
                <a:lnTo>
                  <a:pt x="3891" y="1367"/>
                </a:lnTo>
                <a:close/>
                <a:moveTo>
                  <a:pt x="3936" y="1358"/>
                </a:moveTo>
                <a:lnTo>
                  <a:pt x="3937" y="1356"/>
                </a:lnTo>
                <a:lnTo>
                  <a:pt x="3936" y="1351"/>
                </a:lnTo>
                <a:lnTo>
                  <a:pt x="3936" y="1351"/>
                </a:lnTo>
                <a:lnTo>
                  <a:pt x="3936" y="1358"/>
                </a:lnTo>
                <a:close/>
                <a:moveTo>
                  <a:pt x="3963" y="1391"/>
                </a:moveTo>
                <a:lnTo>
                  <a:pt x="3963" y="1391"/>
                </a:lnTo>
                <a:lnTo>
                  <a:pt x="3963" y="1391"/>
                </a:lnTo>
                <a:lnTo>
                  <a:pt x="3963" y="1391"/>
                </a:lnTo>
                <a:close/>
                <a:moveTo>
                  <a:pt x="3868" y="1391"/>
                </a:moveTo>
                <a:lnTo>
                  <a:pt x="3867" y="1390"/>
                </a:lnTo>
                <a:lnTo>
                  <a:pt x="3867" y="1391"/>
                </a:lnTo>
                <a:lnTo>
                  <a:pt x="3868" y="1391"/>
                </a:lnTo>
                <a:close/>
                <a:moveTo>
                  <a:pt x="3340" y="1286"/>
                </a:moveTo>
                <a:lnTo>
                  <a:pt x="3341" y="1286"/>
                </a:lnTo>
                <a:lnTo>
                  <a:pt x="3340" y="1286"/>
                </a:lnTo>
                <a:lnTo>
                  <a:pt x="3340" y="1286"/>
                </a:lnTo>
                <a:lnTo>
                  <a:pt x="3340" y="1286"/>
                </a:lnTo>
                <a:close/>
                <a:moveTo>
                  <a:pt x="3490" y="1308"/>
                </a:moveTo>
                <a:lnTo>
                  <a:pt x="3490" y="1308"/>
                </a:lnTo>
                <a:lnTo>
                  <a:pt x="3490" y="1308"/>
                </a:lnTo>
                <a:lnTo>
                  <a:pt x="3490" y="1308"/>
                </a:lnTo>
                <a:lnTo>
                  <a:pt x="3490" y="1308"/>
                </a:lnTo>
                <a:close/>
                <a:moveTo>
                  <a:pt x="3844" y="1407"/>
                </a:moveTo>
                <a:lnTo>
                  <a:pt x="3843" y="1407"/>
                </a:lnTo>
                <a:lnTo>
                  <a:pt x="3843" y="1407"/>
                </a:lnTo>
                <a:lnTo>
                  <a:pt x="3844" y="1407"/>
                </a:lnTo>
                <a:close/>
                <a:moveTo>
                  <a:pt x="3853" y="1395"/>
                </a:moveTo>
                <a:lnTo>
                  <a:pt x="3851" y="1395"/>
                </a:lnTo>
                <a:lnTo>
                  <a:pt x="3851" y="1397"/>
                </a:lnTo>
                <a:lnTo>
                  <a:pt x="3853" y="1395"/>
                </a:lnTo>
                <a:lnTo>
                  <a:pt x="3853" y="1395"/>
                </a:lnTo>
                <a:close/>
                <a:moveTo>
                  <a:pt x="3358" y="1535"/>
                </a:moveTo>
                <a:lnTo>
                  <a:pt x="3357" y="1533"/>
                </a:lnTo>
                <a:lnTo>
                  <a:pt x="3357" y="1533"/>
                </a:lnTo>
                <a:lnTo>
                  <a:pt x="3357" y="1535"/>
                </a:lnTo>
                <a:lnTo>
                  <a:pt x="3358" y="1535"/>
                </a:lnTo>
                <a:close/>
                <a:moveTo>
                  <a:pt x="2687" y="676"/>
                </a:moveTo>
                <a:lnTo>
                  <a:pt x="2686" y="675"/>
                </a:lnTo>
                <a:lnTo>
                  <a:pt x="2683" y="677"/>
                </a:lnTo>
                <a:lnTo>
                  <a:pt x="2686" y="681"/>
                </a:lnTo>
                <a:lnTo>
                  <a:pt x="2686" y="680"/>
                </a:lnTo>
                <a:lnTo>
                  <a:pt x="2686" y="678"/>
                </a:lnTo>
                <a:lnTo>
                  <a:pt x="2687" y="678"/>
                </a:lnTo>
                <a:lnTo>
                  <a:pt x="2690" y="678"/>
                </a:lnTo>
                <a:lnTo>
                  <a:pt x="2691" y="675"/>
                </a:lnTo>
                <a:lnTo>
                  <a:pt x="2687" y="674"/>
                </a:lnTo>
                <a:lnTo>
                  <a:pt x="2687" y="676"/>
                </a:lnTo>
                <a:close/>
                <a:moveTo>
                  <a:pt x="2692" y="688"/>
                </a:moveTo>
                <a:lnTo>
                  <a:pt x="2692" y="688"/>
                </a:lnTo>
                <a:lnTo>
                  <a:pt x="2692" y="688"/>
                </a:lnTo>
                <a:lnTo>
                  <a:pt x="2692" y="688"/>
                </a:lnTo>
                <a:close/>
                <a:moveTo>
                  <a:pt x="2935" y="539"/>
                </a:moveTo>
                <a:lnTo>
                  <a:pt x="2935" y="539"/>
                </a:lnTo>
                <a:lnTo>
                  <a:pt x="2935" y="539"/>
                </a:lnTo>
                <a:lnTo>
                  <a:pt x="2935" y="539"/>
                </a:lnTo>
                <a:lnTo>
                  <a:pt x="2935" y="539"/>
                </a:lnTo>
                <a:close/>
                <a:moveTo>
                  <a:pt x="2680" y="646"/>
                </a:moveTo>
                <a:lnTo>
                  <a:pt x="2680" y="649"/>
                </a:lnTo>
                <a:lnTo>
                  <a:pt x="2681" y="647"/>
                </a:lnTo>
                <a:lnTo>
                  <a:pt x="2681" y="646"/>
                </a:lnTo>
                <a:lnTo>
                  <a:pt x="2681" y="646"/>
                </a:lnTo>
                <a:lnTo>
                  <a:pt x="2680" y="646"/>
                </a:lnTo>
                <a:close/>
                <a:moveTo>
                  <a:pt x="2377" y="1332"/>
                </a:moveTo>
                <a:lnTo>
                  <a:pt x="2381" y="1329"/>
                </a:lnTo>
                <a:lnTo>
                  <a:pt x="2381" y="1329"/>
                </a:lnTo>
                <a:lnTo>
                  <a:pt x="2377" y="1332"/>
                </a:lnTo>
                <a:close/>
                <a:moveTo>
                  <a:pt x="2683" y="624"/>
                </a:moveTo>
                <a:lnTo>
                  <a:pt x="2687" y="626"/>
                </a:lnTo>
                <a:lnTo>
                  <a:pt x="2686" y="624"/>
                </a:lnTo>
                <a:lnTo>
                  <a:pt x="2683" y="624"/>
                </a:lnTo>
                <a:close/>
                <a:moveTo>
                  <a:pt x="2818" y="503"/>
                </a:moveTo>
                <a:lnTo>
                  <a:pt x="2819" y="500"/>
                </a:lnTo>
                <a:lnTo>
                  <a:pt x="2814" y="503"/>
                </a:lnTo>
                <a:lnTo>
                  <a:pt x="2818" y="504"/>
                </a:lnTo>
                <a:lnTo>
                  <a:pt x="2818" y="503"/>
                </a:lnTo>
                <a:lnTo>
                  <a:pt x="2817" y="503"/>
                </a:lnTo>
                <a:lnTo>
                  <a:pt x="2818" y="503"/>
                </a:lnTo>
                <a:close/>
                <a:moveTo>
                  <a:pt x="2799" y="515"/>
                </a:moveTo>
                <a:lnTo>
                  <a:pt x="2800" y="515"/>
                </a:lnTo>
                <a:lnTo>
                  <a:pt x="2799" y="515"/>
                </a:lnTo>
                <a:lnTo>
                  <a:pt x="2799" y="515"/>
                </a:lnTo>
                <a:close/>
                <a:moveTo>
                  <a:pt x="2887" y="787"/>
                </a:moveTo>
                <a:lnTo>
                  <a:pt x="2885" y="787"/>
                </a:lnTo>
                <a:lnTo>
                  <a:pt x="2886" y="787"/>
                </a:lnTo>
                <a:lnTo>
                  <a:pt x="2887" y="787"/>
                </a:lnTo>
                <a:close/>
                <a:moveTo>
                  <a:pt x="2666" y="850"/>
                </a:moveTo>
                <a:lnTo>
                  <a:pt x="2673" y="851"/>
                </a:lnTo>
                <a:lnTo>
                  <a:pt x="2671" y="848"/>
                </a:lnTo>
                <a:lnTo>
                  <a:pt x="2666" y="850"/>
                </a:lnTo>
                <a:close/>
                <a:moveTo>
                  <a:pt x="2808" y="796"/>
                </a:moveTo>
                <a:lnTo>
                  <a:pt x="2808" y="795"/>
                </a:lnTo>
                <a:lnTo>
                  <a:pt x="2809" y="792"/>
                </a:lnTo>
                <a:lnTo>
                  <a:pt x="2810" y="792"/>
                </a:lnTo>
                <a:lnTo>
                  <a:pt x="2809" y="791"/>
                </a:lnTo>
                <a:lnTo>
                  <a:pt x="2811" y="788"/>
                </a:lnTo>
                <a:lnTo>
                  <a:pt x="2808" y="788"/>
                </a:lnTo>
                <a:lnTo>
                  <a:pt x="2809" y="790"/>
                </a:lnTo>
                <a:lnTo>
                  <a:pt x="2805" y="787"/>
                </a:lnTo>
                <a:lnTo>
                  <a:pt x="2807" y="790"/>
                </a:lnTo>
                <a:lnTo>
                  <a:pt x="2804" y="792"/>
                </a:lnTo>
                <a:lnTo>
                  <a:pt x="2808" y="795"/>
                </a:lnTo>
                <a:lnTo>
                  <a:pt x="2807" y="796"/>
                </a:lnTo>
                <a:lnTo>
                  <a:pt x="2807" y="796"/>
                </a:lnTo>
                <a:lnTo>
                  <a:pt x="2808" y="796"/>
                </a:lnTo>
                <a:close/>
                <a:moveTo>
                  <a:pt x="2739" y="776"/>
                </a:moveTo>
                <a:lnTo>
                  <a:pt x="2737" y="776"/>
                </a:lnTo>
                <a:lnTo>
                  <a:pt x="2737" y="777"/>
                </a:lnTo>
                <a:lnTo>
                  <a:pt x="2737" y="779"/>
                </a:lnTo>
                <a:lnTo>
                  <a:pt x="2739" y="778"/>
                </a:lnTo>
                <a:lnTo>
                  <a:pt x="2739" y="777"/>
                </a:lnTo>
                <a:lnTo>
                  <a:pt x="2739" y="776"/>
                </a:lnTo>
                <a:close/>
                <a:moveTo>
                  <a:pt x="2484" y="1021"/>
                </a:moveTo>
                <a:lnTo>
                  <a:pt x="2484" y="1021"/>
                </a:lnTo>
                <a:lnTo>
                  <a:pt x="2484" y="1021"/>
                </a:lnTo>
                <a:lnTo>
                  <a:pt x="2484" y="1021"/>
                </a:lnTo>
                <a:close/>
                <a:moveTo>
                  <a:pt x="2811" y="792"/>
                </a:moveTo>
                <a:lnTo>
                  <a:pt x="2810" y="792"/>
                </a:lnTo>
                <a:lnTo>
                  <a:pt x="2812" y="795"/>
                </a:lnTo>
                <a:lnTo>
                  <a:pt x="2811" y="792"/>
                </a:lnTo>
                <a:close/>
                <a:moveTo>
                  <a:pt x="2746" y="736"/>
                </a:moveTo>
                <a:lnTo>
                  <a:pt x="2746" y="736"/>
                </a:lnTo>
                <a:lnTo>
                  <a:pt x="2746" y="736"/>
                </a:lnTo>
                <a:lnTo>
                  <a:pt x="2746" y="736"/>
                </a:lnTo>
                <a:close/>
                <a:moveTo>
                  <a:pt x="2737" y="772"/>
                </a:moveTo>
                <a:lnTo>
                  <a:pt x="2737" y="772"/>
                </a:lnTo>
                <a:lnTo>
                  <a:pt x="2737" y="772"/>
                </a:lnTo>
                <a:lnTo>
                  <a:pt x="2737" y="772"/>
                </a:lnTo>
                <a:lnTo>
                  <a:pt x="2737" y="772"/>
                </a:lnTo>
                <a:close/>
                <a:moveTo>
                  <a:pt x="4349" y="1308"/>
                </a:moveTo>
                <a:lnTo>
                  <a:pt x="4349" y="1307"/>
                </a:lnTo>
                <a:lnTo>
                  <a:pt x="4350" y="1307"/>
                </a:lnTo>
                <a:lnTo>
                  <a:pt x="4349" y="1306"/>
                </a:lnTo>
                <a:lnTo>
                  <a:pt x="4348" y="1306"/>
                </a:lnTo>
                <a:lnTo>
                  <a:pt x="4349" y="1308"/>
                </a:lnTo>
                <a:close/>
                <a:moveTo>
                  <a:pt x="4373" y="1073"/>
                </a:moveTo>
                <a:lnTo>
                  <a:pt x="4375" y="1072"/>
                </a:lnTo>
                <a:lnTo>
                  <a:pt x="4373" y="1071"/>
                </a:lnTo>
                <a:lnTo>
                  <a:pt x="4373" y="1073"/>
                </a:lnTo>
                <a:close/>
                <a:moveTo>
                  <a:pt x="4442" y="1106"/>
                </a:moveTo>
                <a:lnTo>
                  <a:pt x="4441" y="1104"/>
                </a:lnTo>
                <a:lnTo>
                  <a:pt x="4441" y="1106"/>
                </a:lnTo>
                <a:lnTo>
                  <a:pt x="4442" y="1106"/>
                </a:lnTo>
                <a:close/>
                <a:moveTo>
                  <a:pt x="3989" y="1449"/>
                </a:moveTo>
                <a:lnTo>
                  <a:pt x="3989" y="1449"/>
                </a:lnTo>
                <a:lnTo>
                  <a:pt x="3988" y="1449"/>
                </a:lnTo>
                <a:lnTo>
                  <a:pt x="3989" y="1449"/>
                </a:lnTo>
                <a:close/>
                <a:moveTo>
                  <a:pt x="4449" y="1153"/>
                </a:moveTo>
                <a:lnTo>
                  <a:pt x="4449" y="1153"/>
                </a:lnTo>
                <a:lnTo>
                  <a:pt x="4449" y="1153"/>
                </a:lnTo>
                <a:lnTo>
                  <a:pt x="4450" y="1157"/>
                </a:lnTo>
                <a:lnTo>
                  <a:pt x="4451" y="1157"/>
                </a:lnTo>
                <a:lnTo>
                  <a:pt x="4449" y="1153"/>
                </a:lnTo>
                <a:close/>
                <a:moveTo>
                  <a:pt x="4446" y="1106"/>
                </a:moveTo>
                <a:lnTo>
                  <a:pt x="4445" y="1105"/>
                </a:lnTo>
                <a:lnTo>
                  <a:pt x="4445" y="1106"/>
                </a:lnTo>
                <a:lnTo>
                  <a:pt x="4446" y="1106"/>
                </a:lnTo>
                <a:close/>
                <a:moveTo>
                  <a:pt x="4384" y="1237"/>
                </a:moveTo>
                <a:lnTo>
                  <a:pt x="4385" y="1237"/>
                </a:lnTo>
                <a:lnTo>
                  <a:pt x="4387" y="1237"/>
                </a:lnTo>
                <a:lnTo>
                  <a:pt x="4385" y="1236"/>
                </a:lnTo>
                <a:lnTo>
                  <a:pt x="4385" y="1236"/>
                </a:lnTo>
                <a:lnTo>
                  <a:pt x="4384" y="1237"/>
                </a:lnTo>
                <a:lnTo>
                  <a:pt x="4384" y="1237"/>
                </a:lnTo>
                <a:close/>
                <a:moveTo>
                  <a:pt x="4382" y="1246"/>
                </a:moveTo>
                <a:lnTo>
                  <a:pt x="4381" y="1246"/>
                </a:lnTo>
                <a:lnTo>
                  <a:pt x="4381" y="1246"/>
                </a:lnTo>
                <a:lnTo>
                  <a:pt x="4382" y="1246"/>
                </a:lnTo>
                <a:close/>
                <a:moveTo>
                  <a:pt x="4350" y="1292"/>
                </a:moveTo>
                <a:lnTo>
                  <a:pt x="4350" y="1293"/>
                </a:lnTo>
                <a:lnTo>
                  <a:pt x="4352" y="1294"/>
                </a:lnTo>
                <a:lnTo>
                  <a:pt x="4353" y="1294"/>
                </a:lnTo>
                <a:lnTo>
                  <a:pt x="4352" y="1292"/>
                </a:lnTo>
                <a:lnTo>
                  <a:pt x="4350" y="1290"/>
                </a:lnTo>
                <a:lnTo>
                  <a:pt x="4350" y="1292"/>
                </a:lnTo>
                <a:lnTo>
                  <a:pt x="4350" y="1292"/>
                </a:lnTo>
                <a:close/>
                <a:moveTo>
                  <a:pt x="4383" y="1246"/>
                </a:moveTo>
                <a:lnTo>
                  <a:pt x="4383" y="1248"/>
                </a:lnTo>
                <a:lnTo>
                  <a:pt x="4383" y="1248"/>
                </a:lnTo>
                <a:lnTo>
                  <a:pt x="4383" y="1247"/>
                </a:lnTo>
                <a:lnTo>
                  <a:pt x="4383" y="1246"/>
                </a:lnTo>
                <a:lnTo>
                  <a:pt x="4383" y="1246"/>
                </a:lnTo>
                <a:lnTo>
                  <a:pt x="4383" y="1245"/>
                </a:lnTo>
                <a:lnTo>
                  <a:pt x="4383" y="1246"/>
                </a:lnTo>
                <a:lnTo>
                  <a:pt x="4383" y="1246"/>
                </a:lnTo>
                <a:close/>
                <a:moveTo>
                  <a:pt x="4517" y="1021"/>
                </a:moveTo>
                <a:lnTo>
                  <a:pt x="4518" y="1021"/>
                </a:lnTo>
                <a:lnTo>
                  <a:pt x="4517" y="1019"/>
                </a:lnTo>
                <a:lnTo>
                  <a:pt x="4517" y="1018"/>
                </a:lnTo>
                <a:lnTo>
                  <a:pt x="4514" y="1017"/>
                </a:lnTo>
                <a:lnTo>
                  <a:pt x="4514" y="1021"/>
                </a:lnTo>
                <a:lnTo>
                  <a:pt x="4517" y="1021"/>
                </a:lnTo>
                <a:close/>
                <a:moveTo>
                  <a:pt x="4452" y="1159"/>
                </a:moveTo>
                <a:lnTo>
                  <a:pt x="4452" y="1159"/>
                </a:lnTo>
                <a:lnTo>
                  <a:pt x="4452" y="1159"/>
                </a:lnTo>
                <a:lnTo>
                  <a:pt x="4452" y="1159"/>
                </a:lnTo>
                <a:close/>
                <a:moveTo>
                  <a:pt x="4530" y="1008"/>
                </a:moveTo>
                <a:lnTo>
                  <a:pt x="4530" y="1007"/>
                </a:lnTo>
                <a:lnTo>
                  <a:pt x="4530" y="1006"/>
                </a:lnTo>
                <a:lnTo>
                  <a:pt x="4530" y="1008"/>
                </a:lnTo>
                <a:close/>
                <a:moveTo>
                  <a:pt x="4528" y="1013"/>
                </a:moveTo>
                <a:lnTo>
                  <a:pt x="4530" y="1008"/>
                </a:lnTo>
                <a:lnTo>
                  <a:pt x="4527" y="1013"/>
                </a:lnTo>
                <a:lnTo>
                  <a:pt x="4528" y="1013"/>
                </a:lnTo>
                <a:close/>
                <a:moveTo>
                  <a:pt x="4508" y="1025"/>
                </a:moveTo>
                <a:lnTo>
                  <a:pt x="4508" y="1025"/>
                </a:lnTo>
                <a:lnTo>
                  <a:pt x="4508" y="1025"/>
                </a:lnTo>
                <a:lnTo>
                  <a:pt x="4508" y="1025"/>
                </a:lnTo>
                <a:lnTo>
                  <a:pt x="4508" y="1025"/>
                </a:lnTo>
                <a:close/>
                <a:moveTo>
                  <a:pt x="4457" y="1158"/>
                </a:moveTo>
                <a:lnTo>
                  <a:pt x="4457" y="1158"/>
                </a:lnTo>
                <a:lnTo>
                  <a:pt x="4457" y="1158"/>
                </a:lnTo>
                <a:lnTo>
                  <a:pt x="4457" y="1158"/>
                </a:lnTo>
                <a:close/>
                <a:moveTo>
                  <a:pt x="4478" y="1150"/>
                </a:moveTo>
                <a:lnTo>
                  <a:pt x="4480" y="1150"/>
                </a:lnTo>
                <a:lnTo>
                  <a:pt x="4481" y="1150"/>
                </a:lnTo>
                <a:lnTo>
                  <a:pt x="4479" y="1150"/>
                </a:lnTo>
                <a:lnTo>
                  <a:pt x="4478" y="1149"/>
                </a:lnTo>
                <a:lnTo>
                  <a:pt x="4478" y="1150"/>
                </a:lnTo>
                <a:lnTo>
                  <a:pt x="4478" y="1150"/>
                </a:lnTo>
                <a:close/>
                <a:moveTo>
                  <a:pt x="4458" y="1158"/>
                </a:moveTo>
                <a:lnTo>
                  <a:pt x="4457" y="1158"/>
                </a:lnTo>
                <a:lnTo>
                  <a:pt x="4457" y="1158"/>
                </a:lnTo>
                <a:lnTo>
                  <a:pt x="4458" y="1158"/>
                </a:lnTo>
                <a:close/>
                <a:moveTo>
                  <a:pt x="4373" y="1073"/>
                </a:moveTo>
                <a:lnTo>
                  <a:pt x="4373" y="1073"/>
                </a:lnTo>
                <a:lnTo>
                  <a:pt x="4372" y="1073"/>
                </a:lnTo>
                <a:lnTo>
                  <a:pt x="4373" y="1073"/>
                </a:lnTo>
                <a:close/>
                <a:moveTo>
                  <a:pt x="4126" y="1682"/>
                </a:moveTo>
                <a:lnTo>
                  <a:pt x="4127" y="1682"/>
                </a:lnTo>
                <a:lnTo>
                  <a:pt x="4127" y="1680"/>
                </a:lnTo>
                <a:lnTo>
                  <a:pt x="4127" y="1680"/>
                </a:lnTo>
                <a:lnTo>
                  <a:pt x="4127" y="1681"/>
                </a:lnTo>
                <a:lnTo>
                  <a:pt x="4126" y="1682"/>
                </a:lnTo>
                <a:close/>
                <a:moveTo>
                  <a:pt x="4122" y="1676"/>
                </a:moveTo>
                <a:lnTo>
                  <a:pt x="4120" y="1674"/>
                </a:lnTo>
                <a:lnTo>
                  <a:pt x="4120" y="1676"/>
                </a:lnTo>
                <a:lnTo>
                  <a:pt x="4122" y="1676"/>
                </a:lnTo>
                <a:close/>
                <a:moveTo>
                  <a:pt x="4666" y="837"/>
                </a:moveTo>
                <a:lnTo>
                  <a:pt x="4666" y="841"/>
                </a:lnTo>
                <a:lnTo>
                  <a:pt x="4674" y="850"/>
                </a:lnTo>
                <a:lnTo>
                  <a:pt x="4675" y="854"/>
                </a:lnTo>
                <a:lnTo>
                  <a:pt x="4676" y="857"/>
                </a:lnTo>
                <a:lnTo>
                  <a:pt x="4675" y="864"/>
                </a:lnTo>
                <a:lnTo>
                  <a:pt x="4673" y="870"/>
                </a:lnTo>
                <a:lnTo>
                  <a:pt x="4674" y="873"/>
                </a:lnTo>
                <a:lnTo>
                  <a:pt x="4674" y="887"/>
                </a:lnTo>
                <a:lnTo>
                  <a:pt x="4673" y="900"/>
                </a:lnTo>
                <a:lnTo>
                  <a:pt x="4672" y="902"/>
                </a:lnTo>
                <a:lnTo>
                  <a:pt x="4672" y="905"/>
                </a:lnTo>
                <a:lnTo>
                  <a:pt x="4673" y="907"/>
                </a:lnTo>
                <a:lnTo>
                  <a:pt x="4674" y="909"/>
                </a:lnTo>
                <a:lnTo>
                  <a:pt x="4676" y="913"/>
                </a:lnTo>
                <a:lnTo>
                  <a:pt x="4676" y="916"/>
                </a:lnTo>
                <a:lnTo>
                  <a:pt x="4677" y="919"/>
                </a:lnTo>
                <a:lnTo>
                  <a:pt x="4673" y="922"/>
                </a:lnTo>
                <a:lnTo>
                  <a:pt x="4670" y="926"/>
                </a:lnTo>
                <a:lnTo>
                  <a:pt x="4670" y="936"/>
                </a:lnTo>
                <a:lnTo>
                  <a:pt x="4669" y="946"/>
                </a:lnTo>
                <a:lnTo>
                  <a:pt x="4670" y="951"/>
                </a:lnTo>
                <a:lnTo>
                  <a:pt x="4671" y="956"/>
                </a:lnTo>
                <a:lnTo>
                  <a:pt x="4673" y="956"/>
                </a:lnTo>
                <a:lnTo>
                  <a:pt x="4675" y="957"/>
                </a:lnTo>
                <a:lnTo>
                  <a:pt x="4680" y="946"/>
                </a:lnTo>
                <a:lnTo>
                  <a:pt x="4682" y="944"/>
                </a:lnTo>
                <a:lnTo>
                  <a:pt x="4683" y="943"/>
                </a:lnTo>
                <a:lnTo>
                  <a:pt x="4684" y="949"/>
                </a:lnTo>
                <a:lnTo>
                  <a:pt x="4694" y="949"/>
                </a:lnTo>
                <a:lnTo>
                  <a:pt x="4694" y="952"/>
                </a:lnTo>
                <a:lnTo>
                  <a:pt x="4694" y="956"/>
                </a:lnTo>
                <a:lnTo>
                  <a:pt x="4694" y="956"/>
                </a:lnTo>
                <a:lnTo>
                  <a:pt x="4694" y="956"/>
                </a:lnTo>
                <a:lnTo>
                  <a:pt x="4695" y="949"/>
                </a:lnTo>
                <a:lnTo>
                  <a:pt x="4695" y="941"/>
                </a:lnTo>
                <a:lnTo>
                  <a:pt x="4690" y="941"/>
                </a:lnTo>
                <a:lnTo>
                  <a:pt x="4690" y="942"/>
                </a:lnTo>
                <a:lnTo>
                  <a:pt x="4690" y="942"/>
                </a:lnTo>
                <a:lnTo>
                  <a:pt x="4687" y="932"/>
                </a:lnTo>
                <a:lnTo>
                  <a:pt x="4683" y="926"/>
                </a:lnTo>
                <a:lnTo>
                  <a:pt x="4682" y="924"/>
                </a:lnTo>
                <a:lnTo>
                  <a:pt x="4682" y="923"/>
                </a:lnTo>
                <a:lnTo>
                  <a:pt x="4682" y="918"/>
                </a:lnTo>
                <a:lnTo>
                  <a:pt x="4684" y="910"/>
                </a:lnTo>
                <a:lnTo>
                  <a:pt x="4686" y="902"/>
                </a:lnTo>
                <a:lnTo>
                  <a:pt x="4686" y="898"/>
                </a:lnTo>
                <a:lnTo>
                  <a:pt x="4690" y="897"/>
                </a:lnTo>
                <a:lnTo>
                  <a:pt x="4690" y="897"/>
                </a:lnTo>
                <a:lnTo>
                  <a:pt x="4690" y="891"/>
                </a:lnTo>
                <a:lnTo>
                  <a:pt x="4696" y="893"/>
                </a:lnTo>
                <a:lnTo>
                  <a:pt x="4701" y="895"/>
                </a:lnTo>
                <a:lnTo>
                  <a:pt x="4708" y="899"/>
                </a:lnTo>
                <a:lnTo>
                  <a:pt x="4713" y="905"/>
                </a:lnTo>
                <a:lnTo>
                  <a:pt x="4714" y="905"/>
                </a:lnTo>
                <a:lnTo>
                  <a:pt x="4714" y="905"/>
                </a:lnTo>
                <a:lnTo>
                  <a:pt x="4713" y="903"/>
                </a:lnTo>
                <a:lnTo>
                  <a:pt x="4712" y="901"/>
                </a:lnTo>
                <a:lnTo>
                  <a:pt x="4710" y="900"/>
                </a:lnTo>
                <a:lnTo>
                  <a:pt x="4709" y="898"/>
                </a:lnTo>
                <a:lnTo>
                  <a:pt x="4702" y="880"/>
                </a:lnTo>
                <a:lnTo>
                  <a:pt x="4700" y="876"/>
                </a:lnTo>
                <a:lnTo>
                  <a:pt x="4698" y="873"/>
                </a:lnTo>
                <a:lnTo>
                  <a:pt x="4697" y="865"/>
                </a:lnTo>
                <a:lnTo>
                  <a:pt x="4696" y="856"/>
                </a:lnTo>
                <a:lnTo>
                  <a:pt x="4695" y="857"/>
                </a:lnTo>
                <a:lnTo>
                  <a:pt x="4695" y="857"/>
                </a:lnTo>
                <a:lnTo>
                  <a:pt x="4694" y="852"/>
                </a:lnTo>
                <a:lnTo>
                  <a:pt x="4694" y="848"/>
                </a:lnTo>
                <a:lnTo>
                  <a:pt x="4692" y="848"/>
                </a:lnTo>
                <a:lnTo>
                  <a:pt x="4692" y="846"/>
                </a:lnTo>
                <a:lnTo>
                  <a:pt x="4686" y="840"/>
                </a:lnTo>
                <a:lnTo>
                  <a:pt x="4686" y="832"/>
                </a:lnTo>
                <a:lnTo>
                  <a:pt x="4688" y="830"/>
                </a:lnTo>
                <a:lnTo>
                  <a:pt x="4690" y="828"/>
                </a:lnTo>
                <a:lnTo>
                  <a:pt x="4690" y="822"/>
                </a:lnTo>
                <a:lnTo>
                  <a:pt x="4690" y="817"/>
                </a:lnTo>
                <a:lnTo>
                  <a:pt x="4690" y="813"/>
                </a:lnTo>
                <a:lnTo>
                  <a:pt x="4688" y="813"/>
                </a:lnTo>
                <a:lnTo>
                  <a:pt x="4686" y="812"/>
                </a:lnTo>
                <a:lnTo>
                  <a:pt x="4686" y="808"/>
                </a:lnTo>
                <a:lnTo>
                  <a:pt x="4685" y="804"/>
                </a:lnTo>
                <a:lnTo>
                  <a:pt x="4687" y="800"/>
                </a:lnTo>
                <a:lnTo>
                  <a:pt x="4687" y="798"/>
                </a:lnTo>
                <a:lnTo>
                  <a:pt x="4683" y="792"/>
                </a:lnTo>
                <a:lnTo>
                  <a:pt x="4682" y="792"/>
                </a:lnTo>
                <a:lnTo>
                  <a:pt x="4682" y="796"/>
                </a:lnTo>
                <a:lnTo>
                  <a:pt x="4678" y="796"/>
                </a:lnTo>
                <a:lnTo>
                  <a:pt x="4681" y="798"/>
                </a:lnTo>
                <a:lnTo>
                  <a:pt x="4683" y="801"/>
                </a:lnTo>
                <a:lnTo>
                  <a:pt x="4683" y="803"/>
                </a:lnTo>
                <a:lnTo>
                  <a:pt x="4682" y="806"/>
                </a:lnTo>
                <a:lnTo>
                  <a:pt x="4682" y="807"/>
                </a:lnTo>
                <a:lnTo>
                  <a:pt x="4681" y="806"/>
                </a:lnTo>
                <a:lnTo>
                  <a:pt x="4680" y="807"/>
                </a:lnTo>
                <a:lnTo>
                  <a:pt x="4682" y="812"/>
                </a:lnTo>
                <a:lnTo>
                  <a:pt x="4683" y="812"/>
                </a:lnTo>
                <a:lnTo>
                  <a:pt x="4682" y="814"/>
                </a:lnTo>
                <a:lnTo>
                  <a:pt x="4680" y="816"/>
                </a:lnTo>
                <a:lnTo>
                  <a:pt x="4674" y="816"/>
                </a:lnTo>
                <a:lnTo>
                  <a:pt x="4674" y="810"/>
                </a:lnTo>
                <a:lnTo>
                  <a:pt x="4674" y="810"/>
                </a:lnTo>
                <a:lnTo>
                  <a:pt x="4671" y="812"/>
                </a:lnTo>
                <a:lnTo>
                  <a:pt x="4671" y="815"/>
                </a:lnTo>
                <a:lnTo>
                  <a:pt x="4672" y="818"/>
                </a:lnTo>
                <a:lnTo>
                  <a:pt x="4671" y="823"/>
                </a:lnTo>
                <a:lnTo>
                  <a:pt x="4669" y="828"/>
                </a:lnTo>
                <a:lnTo>
                  <a:pt x="4666" y="833"/>
                </a:lnTo>
                <a:lnTo>
                  <a:pt x="4666" y="834"/>
                </a:lnTo>
                <a:lnTo>
                  <a:pt x="4668" y="835"/>
                </a:lnTo>
                <a:lnTo>
                  <a:pt x="4666" y="837"/>
                </a:lnTo>
                <a:close/>
                <a:moveTo>
                  <a:pt x="4100" y="1512"/>
                </a:moveTo>
                <a:lnTo>
                  <a:pt x="4100" y="1511"/>
                </a:lnTo>
                <a:lnTo>
                  <a:pt x="4099" y="1512"/>
                </a:lnTo>
                <a:lnTo>
                  <a:pt x="4100" y="1512"/>
                </a:lnTo>
                <a:close/>
                <a:moveTo>
                  <a:pt x="4126" y="1680"/>
                </a:moveTo>
                <a:lnTo>
                  <a:pt x="4127" y="1680"/>
                </a:lnTo>
                <a:lnTo>
                  <a:pt x="4123" y="1679"/>
                </a:lnTo>
                <a:lnTo>
                  <a:pt x="4125" y="1680"/>
                </a:lnTo>
                <a:lnTo>
                  <a:pt x="4126" y="1680"/>
                </a:lnTo>
                <a:close/>
                <a:moveTo>
                  <a:pt x="4028" y="1446"/>
                </a:moveTo>
                <a:lnTo>
                  <a:pt x="4029" y="1447"/>
                </a:lnTo>
                <a:lnTo>
                  <a:pt x="4029" y="1446"/>
                </a:lnTo>
                <a:lnTo>
                  <a:pt x="4028" y="1446"/>
                </a:lnTo>
                <a:close/>
                <a:moveTo>
                  <a:pt x="4041" y="1515"/>
                </a:moveTo>
                <a:lnTo>
                  <a:pt x="4040" y="1515"/>
                </a:lnTo>
                <a:lnTo>
                  <a:pt x="4040" y="1515"/>
                </a:lnTo>
                <a:lnTo>
                  <a:pt x="4041" y="1515"/>
                </a:lnTo>
                <a:close/>
                <a:moveTo>
                  <a:pt x="4040" y="1515"/>
                </a:moveTo>
                <a:lnTo>
                  <a:pt x="4037" y="1518"/>
                </a:lnTo>
                <a:lnTo>
                  <a:pt x="4039" y="1518"/>
                </a:lnTo>
                <a:lnTo>
                  <a:pt x="4040" y="1515"/>
                </a:lnTo>
                <a:lnTo>
                  <a:pt x="4040" y="1515"/>
                </a:lnTo>
                <a:lnTo>
                  <a:pt x="4040" y="1515"/>
                </a:lnTo>
                <a:close/>
                <a:moveTo>
                  <a:pt x="4101" y="1513"/>
                </a:moveTo>
                <a:lnTo>
                  <a:pt x="4102" y="1513"/>
                </a:lnTo>
                <a:lnTo>
                  <a:pt x="4100" y="1512"/>
                </a:lnTo>
                <a:lnTo>
                  <a:pt x="4100" y="1512"/>
                </a:lnTo>
                <a:lnTo>
                  <a:pt x="4100" y="1513"/>
                </a:lnTo>
                <a:lnTo>
                  <a:pt x="4101" y="1513"/>
                </a:lnTo>
                <a:close/>
                <a:moveTo>
                  <a:pt x="4253" y="1364"/>
                </a:moveTo>
                <a:lnTo>
                  <a:pt x="4253" y="1363"/>
                </a:lnTo>
                <a:lnTo>
                  <a:pt x="4253" y="1363"/>
                </a:lnTo>
                <a:lnTo>
                  <a:pt x="4253" y="1364"/>
                </a:lnTo>
                <a:close/>
                <a:moveTo>
                  <a:pt x="4161" y="1547"/>
                </a:moveTo>
                <a:lnTo>
                  <a:pt x="4161" y="1547"/>
                </a:lnTo>
                <a:lnTo>
                  <a:pt x="4161" y="1547"/>
                </a:lnTo>
                <a:lnTo>
                  <a:pt x="4160" y="1547"/>
                </a:lnTo>
                <a:lnTo>
                  <a:pt x="4161" y="1547"/>
                </a:lnTo>
                <a:close/>
                <a:moveTo>
                  <a:pt x="4238" y="1369"/>
                </a:moveTo>
                <a:lnTo>
                  <a:pt x="4238" y="1368"/>
                </a:lnTo>
                <a:lnTo>
                  <a:pt x="4239" y="1368"/>
                </a:lnTo>
                <a:lnTo>
                  <a:pt x="4238" y="1368"/>
                </a:lnTo>
                <a:lnTo>
                  <a:pt x="4238" y="1369"/>
                </a:lnTo>
                <a:lnTo>
                  <a:pt x="4238" y="1369"/>
                </a:lnTo>
                <a:close/>
                <a:moveTo>
                  <a:pt x="4333" y="1320"/>
                </a:moveTo>
                <a:lnTo>
                  <a:pt x="4333" y="1320"/>
                </a:lnTo>
                <a:lnTo>
                  <a:pt x="4333" y="1319"/>
                </a:lnTo>
                <a:lnTo>
                  <a:pt x="4333" y="1320"/>
                </a:lnTo>
                <a:lnTo>
                  <a:pt x="4333" y="1320"/>
                </a:lnTo>
                <a:close/>
                <a:moveTo>
                  <a:pt x="4218" y="1375"/>
                </a:moveTo>
                <a:lnTo>
                  <a:pt x="4217" y="1375"/>
                </a:lnTo>
                <a:lnTo>
                  <a:pt x="4217" y="1375"/>
                </a:lnTo>
                <a:lnTo>
                  <a:pt x="4218" y="1375"/>
                </a:lnTo>
                <a:close/>
                <a:moveTo>
                  <a:pt x="4198" y="1515"/>
                </a:moveTo>
                <a:lnTo>
                  <a:pt x="4198" y="1515"/>
                </a:lnTo>
                <a:lnTo>
                  <a:pt x="4198" y="1515"/>
                </a:lnTo>
                <a:lnTo>
                  <a:pt x="4198" y="1515"/>
                </a:lnTo>
                <a:close/>
                <a:moveTo>
                  <a:pt x="4187" y="1367"/>
                </a:moveTo>
                <a:lnTo>
                  <a:pt x="4187" y="1367"/>
                </a:lnTo>
                <a:lnTo>
                  <a:pt x="4187" y="1367"/>
                </a:lnTo>
                <a:lnTo>
                  <a:pt x="4187" y="1367"/>
                </a:lnTo>
                <a:lnTo>
                  <a:pt x="4187" y="1367"/>
                </a:lnTo>
                <a:close/>
                <a:moveTo>
                  <a:pt x="4394" y="1756"/>
                </a:moveTo>
                <a:lnTo>
                  <a:pt x="4393" y="1755"/>
                </a:lnTo>
                <a:lnTo>
                  <a:pt x="4393" y="1756"/>
                </a:lnTo>
                <a:lnTo>
                  <a:pt x="4394" y="1756"/>
                </a:lnTo>
                <a:lnTo>
                  <a:pt x="4394" y="1756"/>
                </a:lnTo>
                <a:close/>
                <a:moveTo>
                  <a:pt x="4766" y="2331"/>
                </a:moveTo>
                <a:lnTo>
                  <a:pt x="4763" y="2331"/>
                </a:lnTo>
                <a:lnTo>
                  <a:pt x="4760" y="2332"/>
                </a:lnTo>
                <a:lnTo>
                  <a:pt x="4761" y="2334"/>
                </a:lnTo>
                <a:lnTo>
                  <a:pt x="4763" y="2333"/>
                </a:lnTo>
                <a:lnTo>
                  <a:pt x="4764" y="2332"/>
                </a:lnTo>
                <a:lnTo>
                  <a:pt x="4766" y="2334"/>
                </a:lnTo>
                <a:lnTo>
                  <a:pt x="4767" y="2333"/>
                </a:lnTo>
                <a:lnTo>
                  <a:pt x="4768" y="2332"/>
                </a:lnTo>
                <a:lnTo>
                  <a:pt x="4767" y="2331"/>
                </a:lnTo>
                <a:lnTo>
                  <a:pt x="4766" y="2331"/>
                </a:lnTo>
                <a:close/>
                <a:moveTo>
                  <a:pt x="4715" y="2338"/>
                </a:moveTo>
                <a:lnTo>
                  <a:pt x="4715" y="2337"/>
                </a:lnTo>
                <a:lnTo>
                  <a:pt x="4715" y="2335"/>
                </a:lnTo>
                <a:lnTo>
                  <a:pt x="4715" y="2335"/>
                </a:lnTo>
                <a:lnTo>
                  <a:pt x="4715" y="2337"/>
                </a:lnTo>
                <a:lnTo>
                  <a:pt x="4714" y="2339"/>
                </a:lnTo>
                <a:lnTo>
                  <a:pt x="4715" y="2338"/>
                </a:lnTo>
                <a:close/>
                <a:moveTo>
                  <a:pt x="4326" y="2242"/>
                </a:moveTo>
                <a:lnTo>
                  <a:pt x="4326" y="2241"/>
                </a:lnTo>
                <a:lnTo>
                  <a:pt x="4325" y="2240"/>
                </a:lnTo>
                <a:lnTo>
                  <a:pt x="4325" y="2240"/>
                </a:lnTo>
                <a:lnTo>
                  <a:pt x="4323" y="2242"/>
                </a:lnTo>
                <a:lnTo>
                  <a:pt x="4326" y="2242"/>
                </a:lnTo>
                <a:close/>
                <a:moveTo>
                  <a:pt x="4715" y="2332"/>
                </a:moveTo>
                <a:lnTo>
                  <a:pt x="4714" y="2332"/>
                </a:lnTo>
                <a:lnTo>
                  <a:pt x="4714" y="2334"/>
                </a:lnTo>
                <a:lnTo>
                  <a:pt x="4714" y="2334"/>
                </a:lnTo>
                <a:lnTo>
                  <a:pt x="4715" y="2333"/>
                </a:lnTo>
                <a:lnTo>
                  <a:pt x="4715" y="2332"/>
                </a:lnTo>
                <a:close/>
                <a:moveTo>
                  <a:pt x="4762" y="2334"/>
                </a:moveTo>
                <a:lnTo>
                  <a:pt x="4762" y="2334"/>
                </a:lnTo>
                <a:lnTo>
                  <a:pt x="4762" y="2334"/>
                </a:lnTo>
                <a:lnTo>
                  <a:pt x="4761" y="2335"/>
                </a:lnTo>
                <a:lnTo>
                  <a:pt x="4762" y="2335"/>
                </a:lnTo>
                <a:lnTo>
                  <a:pt x="4762" y="2334"/>
                </a:lnTo>
                <a:close/>
                <a:moveTo>
                  <a:pt x="4585" y="2238"/>
                </a:moveTo>
                <a:lnTo>
                  <a:pt x="4586" y="2238"/>
                </a:lnTo>
                <a:lnTo>
                  <a:pt x="4584" y="2237"/>
                </a:lnTo>
                <a:lnTo>
                  <a:pt x="4584" y="2238"/>
                </a:lnTo>
                <a:lnTo>
                  <a:pt x="4585" y="2238"/>
                </a:lnTo>
                <a:close/>
                <a:moveTo>
                  <a:pt x="4815" y="2057"/>
                </a:moveTo>
                <a:lnTo>
                  <a:pt x="4813" y="2057"/>
                </a:lnTo>
                <a:lnTo>
                  <a:pt x="4814" y="2058"/>
                </a:lnTo>
                <a:lnTo>
                  <a:pt x="4815" y="2057"/>
                </a:lnTo>
                <a:lnTo>
                  <a:pt x="4815" y="2057"/>
                </a:lnTo>
                <a:close/>
                <a:moveTo>
                  <a:pt x="4716" y="2298"/>
                </a:moveTo>
                <a:lnTo>
                  <a:pt x="4716" y="2298"/>
                </a:lnTo>
                <a:lnTo>
                  <a:pt x="4716" y="2298"/>
                </a:lnTo>
                <a:lnTo>
                  <a:pt x="4716" y="2298"/>
                </a:lnTo>
                <a:close/>
                <a:moveTo>
                  <a:pt x="4698" y="2321"/>
                </a:moveTo>
                <a:lnTo>
                  <a:pt x="4698" y="2327"/>
                </a:lnTo>
                <a:lnTo>
                  <a:pt x="4700" y="2327"/>
                </a:lnTo>
                <a:lnTo>
                  <a:pt x="4700" y="2327"/>
                </a:lnTo>
                <a:lnTo>
                  <a:pt x="4701" y="2325"/>
                </a:lnTo>
                <a:lnTo>
                  <a:pt x="4702" y="2323"/>
                </a:lnTo>
                <a:lnTo>
                  <a:pt x="4702" y="2320"/>
                </a:lnTo>
                <a:lnTo>
                  <a:pt x="4701" y="2317"/>
                </a:lnTo>
                <a:lnTo>
                  <a:pt x="4700" y="2319"/>
                </a:lnTo>
                <a:lnTo>
                  <a:pt x="4698" y="2321"/>
                </a:lnTo>
                <a:close/>
                <a:moveTo>
                  <a:pt x="4763" y="2342"/>
                </a:moveTo>
                <a:lnTo>
                  <a:pt x="4762" y="2340"/>
                </a:lnTo>
                <a:lnTo>
                  <a:pt x="4760" y="2340"/>
                </a:lnTo>
                <a:lnTo>
                  <a:pt x="4758" y="2343"/>
                </a:lnTo>
                <a:lnTo>
                  <a:pt x="4754" y="2343"/>
                </a:lnTo>
                <a:lnTo>
                  <a:pt x="4751" y="2345"/>
                </a:lnTo>
                <a:lnTo>
                  <a:pt x="4746" y="2343"/>
                </a:lnTo>
                <a:lnTo>
                  <a:pt x="4743" y="2344"/>
                </a:lnTo>
                <a:lnTo>
                  <a:pt x="4746" y="2345"/>
                </a:lnTo>
                <a:lnTo>
                  <a:pt x="4744" y="2344"/>
                </a:lnTo>
                <a:lnTo>
                  <a:pt x="4742" y="2343"/>
                </a:lnTo>
                <a:lnTo>
                  <a:pt x="4740" y="2346"/>
                </a:lnTo>
                <a:lnTo>
                  <a:pt x="4737" y="2346"/>
                </a:lnTo>
                <a:lnTo>
                  <a:pt x="4734" y="2345"/>
                </a:lnTo>
                <a:lnTo>
                  <a:pt x="4727" y="2342"/>
                </a:lnTo>
                <a:lnTo>
                  <a:pt x="4720" y="2339"/>
                </a:lnTo>
                <a:lnTo>
                  <a:pt x="4714" y="2339"/>
                </a:lnTo>
                <a:lnTo>
                  <a:pt x="4710" y="2339"/>
                </a:lnTo>
                <a:lnTo>
                  <a:pt x="4710" y="2342"/>
                </a:lnTo>
                <a:lnTo>
                  <a:pt x="4710" y="2346"/>
                </a:lnTo>
                <a:lnTo>
                  <a:pt x="4715" y="2354"/>
                </a:lnTo>
                <a:lnTo>
                  <a:pt x="4720" y="2362"/>
                </a:lnTo>
                <a:lnTo>
                  <a:pt x="4723" y="2366"/>
                </a:lnTo>
                <a:lnTo>
                  <a:pt x="4722" y="2370"/>
                </a:lnTo>
                <a:lnTo>
                  <a:pt x="4722" y="2368"/>
                </a:lnTo>
                <a:lnTo>
                  <a:pt x="4721" y="2368"/>
                </a:lnTo>
                <a:lnTo>
                  <a:pt x="4720" y="2367"/>
                </a:lnTo>
                <a:lnTo>
                  <a:pt x="4719" y="2367"/>
                </a:lnTo>
                <a:lnTo>
                  <a:pt x="4719" y="2367"/>
                </a:lnTo>
                <a:lnTo>
                  <a:pt x="4720" y="2369"/>
                </a:lnTo>
                <a:lnTo>
                  <a:pt x="4720" y="2371"/>
                </a:lnTo>
                <a:lnTo>
                  <a:pt x="4723" y="2378"/>
                </a:lnTo>
                <a:lnTo>
                  <a:pt x="4725" y="2382"/>
                </a:lnTo>
                <a:lnTo>
                  <a:pt x="4728" y="2387"/>
                </a:lnTo>
                <a:lnTo>
                  <a:pt x="4731" y="2387"/>
                </a:lnTo>
                <a:lnTo>
                  <a:pt x="4731" y="2388"/>
                </a:lnTo>
                <a:lnTo>
                  <a:pt x="4733" y="2388"/>
                </a:lnTo>
                <a:lnTo>
                  <a:pt x="4739" y="2389"/>
                </a:lnTo>
                <a:lnTo>
                  <a:pt x="4746" y="2389"/>
                </a:lnTo>
                <a:lnTo>
                  <a:pt x="4746" y="2387"/>
                </a:lnTo>
                <a:lnTo>
                  <a:pt x="4747" y="2384"/>
                </a:lnTo>
                <a:lnTo>
                  <a:pt x="4746" y="2383"/>
                </a:lnTo>
                <a:lnTo>
                  <a:pt x="4745" y="2381"/>
                </a:lnTo>
                <a:lnTo>
                  <a:pt x="4747" y="2382"/>
                </a:lnTo>
                <a:lnTo>
                  <a:pt x="4747" y="2383"/>
                </a:lnTo>
                <a:lnTo>
                  <a:pt x="4749" y="2383"/>
                </a:lnTo>
                <a:lnTo>
                  <a:pt x="4749" y="2383"/>
                </a:lnTo>
                <a:lnTo>
                  <a:pt x="4747" y="2381"/>
                </a:lnTo>
                <a:lnTo>
                  <a:pt x="4747" y="2381"/>
                </a:lnTo>
                <a:lnTo>
                  <a:pt x="4750" y="2379"/>
                </a:lnTo>
                <a:lnTo>
                  <a:pt x="4750" y="2379"/>
                </a:lnTo>
                <a:lnTo>
                  <a:pt x="4751" y="2378"/>
                </a:lnTo>
                <a:lnTo>
                  <a:pt x="4751" y="2378"/>
                </a:lnTo>
                <a:lnTo>
                  <a:pt x="4751" y="2377"/>
                </a:lnTo>
                <a:lnTo>
                  <a:pt x="4757" y="2377"/>
                </a:lnTo>
                <a:lnTo>
                  <a:pt x="4758" y="2378"/>
                </a:lnTo>
                <a:lnTo>
                  <a:pt x="4760" y="2369"/>
                </a:lnTo>
                <a:lnTo>
                  <a:pt x="4762" y="2360"/>
                </a:lnTo>
                <a:lnTo>
                  <a:pt x="4763" y="2362"/>
                </a:lnTo>
                <a:lnTo>
                  <a:pt x="4763" y="2367"/>
                </a:lnTo>
                <a:lnTo>
                  <a:pt x="4766" y="2367"/>
                </a:lnTo>
                <a:lnTo>
                  <a:pt x="4763" y="2357"/>
                </a:lnTo>
                <a:lnTo>
                  <a:pt x="4763" y="2342"/>
                </a:lnTo>
                <a:close/>
                <a:moveTo>
                  <a:pt x="4756" y="2378"/>
                </a:moveTo>
                <a:lnTo>
                  <a:pt x="4756" y="2378"/>
                </a:lnTo>
                <a:lnTo>
                  <a:pt x="4755" y="2379"/>
                </a:lnTo>
                <a:lnTo>
                  <a:pt x="4754" y="2379"/>
                </a:lnTo>
                <a:lnTo>
                  <a:pt x="4756" y="2381"/>
                </a:lnTo>
                <a:lnTo>
                  <a:pt x="4758" y="2382"/>
                </a:lnTo>
                <a:lnTo>
                  <a:pt x="4758" y="2382"/>
                </a:lnTo>
                <a:lnTo>
                  <a:pt x="4758" y="2381"/>
                </a:lnTo>
                <a:lnTo>
                  <a:pt x="4760" y="2382"/>
                </a:lnTo>
                <a:lnTo>
                  <a:pt x="4760" y="2379"/>
                </a:lnTo>
                <a:lnTo>
                  <a:pt x="4756" y="2379"/>
                </a:lnTo>
                <a:lnTo>
                  <a:pt x="4756" y="2378"/>
                </a:lnTo>
                <a:close/>
                <a:moveTo>
                  <a:pt x="4701" y="2317"/>
                </a:moveTo>
                <a:lnTo>
                  <a:pt x="4702" y="2316"/>
                </a:lnTo>
                <a:lnTo>
                  <a:pt x="4702" y="2315"/>
                </a:lnTo>
                <a:lnTo>
                  <a:pt x="4701" y="2315"/>
                </a:lnTo>
                <a:lnTo>
                  <a:pt x="4701" y="2317"/>
                </a:lnTo>
                <a:close/>
                <a:moveTo>
                  <a:pt x="4759" y="2379"/>
                </a:moveTo>
                <a:lnTo>
                  <a:pt x="4760" y="2379"/>
                </a:lnTo>
                <a:lnTo>
                  <a:pt x="4758" y="2378"/>
                </a:lnTo>
                <a:lnTo>
                  <a:pt x="4758" y="2379"/>
                </a:lnTo>
                <a:lnTo>
                  <a:pt x="4759" y="2379"/>
                </a:lnTo>
                <a:close/>
                <a:moveTo>
                  <a:pt x="4761" y="2374"/>
                </a:moveTo>
                <a:lnTo>
                  <a:pt x="4761" y="2374"/>
                </a:lnTo>
                <a:lnTo>
                  <a:pt x="4762" y="2373"/>
                </a:lnTo>
                <a:lnTo>
                  <a:pt x="4762" y="2373"/>
                </a:lnTo>
                <a:lnTo>
                  <a:pt x="4762" y="2371"/>
                </a:lnTo>
                <a:lnTo>
                  <a:pt x="4761" y="2371"/>
                </a:lnTo>
                <a:lnTo>
                  <a:pt x="4761" y="2374"/>
                </a:lnTo>
                <a:close/>
                <a:moveTo>
                  <a:pt x="4429" y="1673"/>
                </a:moveTo>
                <a:lnTo>
                  <a:pt x="4430" y="1670"/>
                </a:lnTo>
                <a:lnTo>
                  <a:pt x="4429" y="1671"/>
                </a:lnTo>
                <a:lnTo>
                  <a:pt x="4429" y="1676"/>
                </a:lnTo>
                <a:lnTo>
                  <a:pt x="4429" y="1673"/>
                </a:lnTo>
                <a:close/>
                <a:moveTo>
                  <a:pt x="4750" y="2383"/>
                </a:moveTo>
                <a:lnTo>
                  <a:pt x="4750" y="2383"/>
                </a:lnTo>
                <a:lnTo>
                  <a:pt x="4750" y="2383"/>
                </a:lnTo>
                <a:lnTo>
                  <a:pt x="4750" y="2383"/>
                </a:lnTo>
                <a:close/>
                <a:moveTo>
                  <a:pt x="4750" y="2382"/>
                </a:moveTo>
                <a:lnTo>
                  <a:pt x="4749" y="2383"/>
                </a:lnTo>
                <a:lnTo>
                  <a:pt x="4750" y="2383"/>
                </a:lnTo>
                <a:lnTo>
                  <a:pt x="4750" y="2382"/>
                </a:lnTo>
                <a:close/>
                <a:moveTo>
                  <a:pt x="4763" y="2331"/>
                </a:moveTo>
                <a:lnTo>
                  <a:pt x="4763" y="2328"/>
                </a:lnTo>
                <a:lnTo>
                  <a:pt x="4763" y="2323"/>
                </a:lnTo>
                <a:lnTo>
                  <a:pt x="4762" y="2323"/>
                </a:lnTo>
                <a:lnTo>
                  <a:pt x="4760" y="2323"/>
                </a:lnTo>
                <a:lnTo>
                  <a:pt x="4758" y="2323"/>
                </a:lnTo>
                <a:lnTo>
                  <a:pt x="4756" y="2325"/>
                </a:lnTo>
                <a:lnTo>
                  <a:pt x="4759" y="2328"/>
                </a:lnTo>
                <a:lnTo>
                  <a:pt x="4762" y="2331"/>
                </a:lnTo>
                <a:lnTo>
                  <a:pt x="4762" y="2331"/>
                </a:lnTo>
                <a:lnTo>
                  <a:pt x="4763" y="2331"/>
                </a:lnTo>
                <a:close/>
                <a:moveTo>
                  <a:pt x="4554" y="1869"/>
                </a:moveTo>
                <a:lnTo>
                  <a:pt x="4554" y="1870"/>
                </a:lnTo>
                <a:lnTo>
                  <a:pt x="4556" y="1869"/>
                </a:lnTo>
                <a:lnTo>
                  <a:pt x="4554" y="1869"/>
                </a:lnTo>
                <a:close/>
                <a:moveTo>
                  <a:pt x="4586" y="1875"/>
                </a:moveTo>
                <a:lnTo>
                  <a:pt x="4586" y="1875"/>
                </a:lnTo>
                <a:lnTo>
                  <a:pt x="4586" y="1875"/>
                </a:lnTo>
                <a:lnTo>
                  <a:pt x="4586" y="1875"/>
                </a:lnTo>
                <a:lnTo>
                  <a:pt x="4586" y="1875"/>
                </a:lnTo>
                <a:close/>
                <a:moveTo>
                  <a:pt x="4594" y="1873"/>
                </a:moveTo>
                <a:lnTo>
                  <a:pt x="4594" y="1874"/>
                </a:lnTo>
                <a:lnTo>
                  <a:pt x="4595" y="1873"/>
                </a:lnTo>
                <a:lnTo>
                  <a:pt x="4594" y="1873"/>
                </a:lnTo>
                <a:close/>
                <a:moveTo>
                  <a:pt x="4447" y="1902"/>
                </a:moveTo>
                <a:lnTo>
                  <a:pt x="4448" y="1901"/>
                </a:lnTo>
                <a:lnTo>
                  <a:pt x="4447" y="1901"/>
                </a:lnTo>
                <a:lnTo>
                  <a:pt x="4445" y="1901"/>
                </a:lnTo>
                <a:lnTo>
                  <a:pt x="4445" y="1904"/>
                </a:lnTo>
                <a:lnTo>
                  <a:pt x="4446" y="1905"/>
                </a:lnTo>
                <a:lnTo>
                  <a:pt x="4447" y="1903"/>
                </a:lnTo>
                <a:lnTo>
                  <a:pt x="4447" y="1902"/>
                </a:lnTo>
                <a:close/>
                <a:moveTo>
                  <a:pt x="4475" y="1917"/>
                </a:moveTo>
                <a:lnTo>
                  <a:pt x="4473" y="1917"/>
                </a:lnTo>
                <a:lnTo>
                  <a:pt x="4473" y="1919"/>
                </a:lnTo>
                <a:lnTo>
                  <a:pt x="4475" y="1917"/>
                </a:lnTo>
                <a:lnTo>
                  <a:pt x="4475" y="1917"/>
                </a:lnTo>
                <a:close/>
                <a:moveTo>
                  <a:pt x="4790" y="2029"/>
                </a:moveTo>
                <a:lnTo>
                  <a:pt x="4790" y="2029"/>
                </a:lnTo>
                <a:lnTo>
                  <a:pt x="4790" y="2029"/>
                </a:lnTo>
                <a:lnTo>
                  <a:pt x="4790" y="2029"/>
                </a:lnTo>
                <a:lnTo>
                  <a:pt x="4790" y="2029"/>
                </a:lnTo>
                <a:close/>
                <a:moveTo>
                  <a:pt x="4672" y="1873"/>
                </a:moveTo>
                <a:lnTo>
                  <a:pt x="4672" y="1873"/>
                </a:lnTo>
                <a:lnTo>
                  <a:pt x="4672" y="1873"/>
                </a:lnTo>
                <a:lnTo>
                  <a:pt x="4672" y="1873"/>
                </a:lnTo>
                <a:lnTo>
                  <a:pt x="4672" y="1873"/>
                </a:lnTo>
                <a:lnTo>
                  <a:pt x="4672" y="1872"/>
                </a:lnTo>
                <a:lnTo>
                  <a:pt x="4672" y="1873"/>
                </a:lnTo>
                <a:close/>
                <a:moveTo>
                  <a:pt x="4681" y="1856"/>
                </a:moveTo>
                <a:lnTo>
                  <a:pt x="4681" y="1856"/>
                </a:lnTo>
                <a:lnTo>
                  <a:pt x="4681" y="1856"/>
                </a:lnTo>
                <a:lnTo>
                  <a:pt x="4681" y="1856"/>
                </a:lnTo>
                <a:lnTo>
                  <a:pt x="4681" y="1856"/>
                </a:lnTo>
                <a:close/>
                <a:moveTo>
                  <a:pt x="4264" y="2094"/>
                </a:move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close/>
                <a:moveTo>
                  <a:pt x="4257" y="2090"/>
                </a:moveTo>
                <a:lnTo>
                  <a:pt x="4257" y="2094"/>
                </a:lnTo>
                <a:lnTo>
                  <a:pt x="4259" y="2090"/>
                </a:lnTo>
                <a:lnTo>
                  <a:pt x="4257" y="2090"/>
                </a:lnTo>
                <a:close/>
                <a:moveTo>
                  <a:pt x="4427" y="1917"/>
                </a:moveTo>
                <a:lnTo>
                  <a:pt x="4428" y="1918"/>
                </a:lnTo>
                <a:lnTo>
                  <a:pt x="4429" y="1917"/>
                </a:lnTo>
                <a:lnTo>
                  <a:pt x="4427" y="1917"/>
                </a:lnTo>
                <a:close/>
                <a:moveTo>
                  <a:pt x="4257" y="2095"/>
                </a:moveTo>
                <a:lnTo>
                  <a:pt x="4257" y="2095"/>
                </a:lnTo>
                <a:lnTo>
                  <a:pt x="4257" y="2095"/>
                </a:lnTo>
                <a:lnTo>
                  <a:pt x="4257" y="2095"/>
                </a:lnTo>
                <a:close/>
                <a:moveTo>
                  <a:pt x="4264" y="2094"/>
                </a:move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close/>
                <a:moveTo>
                  <a:pt x="4257" y="2094"/>
                </a:moveTo>
                <a:lnTo>
                  <a:pt x="4257" y="2095"/>
                </a:lnTo>
                <a:lnTo>
                  <a:pt x="4257" y="2094"/>
                </a:lnTo>
                <a:lnTo>
                  <a:pt x="4257" y="2094"/>
                </a:lnTo>
                <a:close/>
                <a:moveTo>
                  <a:pt x="4419" y="1933"/>
                </a:moveTo>
                <a:lnTo>
                  <a:pt x="4419" y="1933"/>
                </a:lnTo>
                <a:lnTo>
                  <a:pt x="4419" y="1933"/>
                </a:lnTo>
                <a:lnTo>
                  <a:pt x="4419" y="1933"/>
                </a:lnTo>
                <a:lnTo>
                  <a:pt x="4419" y="1933"/>
                </a:lnTo>
                <a:close/>
                <a:moveTo>
                  <a:pt x="4264" y="2094"/>
                </a:move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close/>
                <a:moveTo>
                  <a:pt x="4281" y="2213"/>
                </a:moveTo>
                <a:lnTo>
                  <a:pt x="4281" y="2213"/>
                </a:lnTo>
                <a:lnTo>
                  <a:pt x="4281" y="2213"/>
                </a:lnTo>
                <a:lnTo>
                  <a:pt x="4281" y="2213"/>
                </a:lnTo>
                <a:lnTo>
                  <a:pt x="4281" y="2213"/>
                </a:lnTo>
                <a:close/>
                <a:moveTo>
                  <a:pt x="4719" y="2300"/>
                </a:moveTo>
                <a:lnTo>
                  <a:pt x="4720" y="2300"/>
                </a:lnTo>
                <a:lnTo>
                  <a:pt x="4718" y="2298"/>
                </a:lnTo>
                <a:lnTo>
                  <a:pt x="4718" y="2299"/>
                </a:lnTo>
                <a:lnTo>
                  <a:pt x="4719" y="2300"/>
                </a:lnTo>
                <a:close/>
                <a:moveTo>
                  <a:pt x="4315" y="1587"/>
                </a:moveTo>
                <a:lnTo>
                  <a:pt x="4316" y="1585"/>
                </a:lnTo>
                <a:lnTo>
                  <a:pt x="4318" y="1584"/>
                </a:lnTo>
                <a:lnTo>
                  <a:pt x="4318" y="1583"/>
                </a:lnTo>
                <a:lnTo>
                  <a:pt x="4317" y="1583"/>
                </a:lnTo>
                <a:lnTo>
                  <a:pt x="4316" y="1585"/>
                </a:lnTo>
                <a:lnTo>
                  <a:pt x="4315" y="1587"/>
                </a:lnTo>
                <a:close/>
                <a:moveTo>
                  <a:pt x="4322" y="1592"/>
                </a:moveTo>
                <a:lnTo>
                  <a:pt x="4322" y="1592"/>
                </a:lnTo>
                <a:lnTo>
                  <a:pt x="4320" y="1592"/>
                </a:lnTo>
                <a:lnTo>
                  <a:pt x="4319" y="1592"/>
                </a:lnTo>
                <a:lnTo>
                  <a:pt x="4322" y="1592"/>
                </a:lnTo>
                <a:close/>
                <a:moveTo>
                  <a:pt x="4311" y="1338"/>
                </a:moveTo>
                <a:lnTo>
                  <a:pt x="4314" y="1338"/>
                </a:lnTo>
                <a:lnTo>
                  <a:pt x="4314" y="1337"/>
                </a:lnTo>
                <a:lnTo>
                  <a:pt x="4313" y="1338"/>
                </a:lnTo>
                <a:lnTo>
                  <a:pt x="4311" y="1338"/>
                </a:lnTo>
                <a:close/>
                <a:moveTo>
                  <a:pt x="4320" y="1645"/>
                </a:moveTo>
                <a:lnTo>
                  <a:pt x="4320" y="1645"/>
                </a:lnTo>
                <a:lnTo>
                  <a:pt x="4321" y="1643"/>
                </a:lnTo>
                <a:lnTo>
                  <a:pt x="4320" y="1641"/>
                </a:lnTo>
                <a:lnTo>
                  <a:pt x="4320" y="1641"/>
                </a:lnTo>
                <a:lnTo>
                  <a:pt x="4320" y="1645"/>
                </a:lnTo>
                <a:close/>
                <a:moveTo>
                  <a:pt x="4325" y="1634"/>
                </a:moveTo>
                <a:lnTo>
                  <a:pt x="4325" y="1632"/>
                </a:lnTo>
                <a:lnTo>
                  <a:pt x="4321" y="1632"/>
                </a:lnTo>
                <a:lnTo>
                  <a:pt x="4325" y="1634"/>
                </a:lnTo>
                <a:close/>
                <a:moveTo>
                  <a:pt x="4379" y="1702"/>
                </a:moveTo>
                <a:lnTo>
                  <a:pt x="4380" y="1701"/>
                </a:lnTo>
                <a:lnTo>
                  <a:pt x="4381" y="1699"/>
                </a:lnTo>
                <a:lnTo>
                  <a:pt x="4381" y="1699"/>
                </a:lnTo>
                <a:lnTo>
                  <a:pt x="4380" y="1698"/>
                </a:lnTo>
                <a:lnTo>
                  <a:pt x="4379" y="1702"/>
                </a:lnTo>
                <a:close/>
                <a:moveTo>
                  <a:pt x="4309" y="1570"/>
                </a:moveTo>
                <a:lnTo>
                  <a:pt x="4308" y="1570"/>
                </a:lnTo>
                <a:lnTo>
                  <a:pt x="4308" y="1572"/>
                </a:lnTo>
                <a:lnTo>
                  <a:pt x="4309" y="1574"/>
                </a:lnTo>
                <a:lnTo>
                  <a:pt x="4310" y="1574"/>
                </a:lnTo>
                <a:lnTo>
                  <a:pt x="4312" y="1573"/>
                </a:lnTo>
                <a:lnTo>
                  <a:pt x="4310" y="1572"/>
                </a:lnTo>
                <a:lnTo>
                  <a:pt x="4309" y="1570"/>
                </a:lnTo>
                <a:close/>
                <a:moveTo>
                  <a:pt x="4326" y="1631"/>
                </a:moveTo>
                <a:lnTo>
                  <a:pt x="4324" y="1631"/>
                </a:lnTo>
                <a:lnTo>
                  <a:pt x="4324" y="1631"/>
                </a:lnTo>
                <a:lnTo>
                  <a:pt x="4328" y="1631"/>
                </a:lnTo>
                <a:lnTo>
                  <a:pt x="4326" y="1631"/>
                </a:lnTo>
                <a:close/>
                <a:moveTo>
                  <a:pt x="4333" y="1587"/>
                </a:moveTo>
                <a:lnTo>
                  <a:pt x="4333" y="1586"/>
                </a:lnTo>
                <a:lnTo>
                  <a:pt x="4332" y="1586"/>
                </a:lnTo>
                <a:lnTo>
                  <a:pt x="4331" y="1587"/>
                </a:lnTo>
                <a:lnTo>
                  <a:pt x="4333" y="1587"/>
                </a:lnTo>
                <a:close/>
                <a:moveTo>
                  <a:pt x="2825" y="488"/>
                </a:moveTo>
                <a:lnTo>
                  <a:pt x="2828" y="487"/>
                </a:lnTo>
                <a:lnTo>
                  <a:pt x="2825" y="487"/>
                </a:lnTo>
                <a:lnTo>
                  <a:pt x="2825" y="488"/>
                </a:lnTo>
                <a:close/>
                <a:moveTo>
                  <a:pt x="4401" y="1708"/>
                </a:moveTo>
                <a:lnTo>
                  <a:pt x="4401" y="1708"/>
                </a:lnTo>
                <a:lnTo>
                  <a:pt x="4401" y="1708"/>
                </a:lnTo>
                <a:lnTo>
                  <a:pt x="4402" y="1706"/>
                </a:lnTo>
                <a:lnTo>
                  <a:pt x="4403" y="1705"/>
                </a:lnTo>
                <a:lnTo>
                  <a:pt x="4403" y="1704"/>
                </a:lnTo>
                <a:lnTo>
                  <a:pt x="4402" y="1704"/>
                </a:lnTo>
                <a:lnTo>
                  <a:pt x="4399" y="1704"/>
                </a:lnTo>
                <a:lnTo>
                  <a:pt x="4397" y="1704"/>
                </a:lnTo>
                <a:lnTo>
                  <a:pt x="4396" y="1708"/>
                </a:lnTo>
                <a:lnTo>
                  <a:pt x="4400" y="1708"/>
                </a:lnTo>
                <a:lnTo>
                  <a:pt x="4401" y="1708"/>
                </a:lnTo>
                <a:close/>
                <a:moveTo>
                  <a:pt x="4429" y="1676"/>
                </a:moveTo>
                <a:lnTo>
                  <a:pt x="4429" y="1676"/>
                </a:lnTo>
                <a:lnTo>
                  <a:pt x="4429" y="1676"/>
                </a:lnTo>
                <a:lnTo>
                  <a:pt x="4429" y="1676"/>
                </a:lnTo>
                <a:close/>
                <a:moveTo>
                  <a:pt x="4393" y="1752"/>
                </a:moveTo>
                <a:lnTo>
                  <a:pt x="4393" y="1752"/>
                </a:lnTo>
                <a:lnTo>
                  <a:pt x="4393" y="1753"/>
                </a:lnTo>
                <a:lnTo>
                  <a:pt x="4393" y="1752"/>
                </a:lnTo>
                <a:lnTo>
                  <a:pt x="4393" y="1752"/>
                </a:lnTo>
                <a:close/>
                <a:moveTo>
                  <a:pt x="4393" y="1753"/>
                </a:moveTo>
                <a:lnTo>
                  <a:pt x="4394" y="1754"/>
                </a:lnTo>
                <a:lnTo>
                  <a:pt x="4394" y="1756"/>
                </a:lnTo>
                <a:lnTo>
                  <a:pt x="4396" y="1756"/>
                </a:lnTo>
                <a:lnTo>
                  <a:pt x="4393" y="1753"/>
                </a:lnTo>
                <a:close/>
                <a:moveTo>
                  <a:pt x="4349" y="1694"/>
                </a:moveTo>
                <a:lnTo>
                  <a:pt x="4349" y="1696"/>
                </a:lnTo>
                <a:lnTo>
                  <a:pt x="4349" y="1696"/>
                </a:lnTo>
                <a:lnTo>
                  <a:pt x="4349" y="1699"/>
                </a:lnTo>
                <a:lnTo>
                  <a:pt x="4351" y="1702"/>
                </a:lnTo>
                <a:lnTo>
                  <a:pt x="4352" y="1705"/>
                </a:lnTo>
                <a:lnTo>
                  <a:pt x="4349" y="1703"/>
                </a:lnTo>
                <a:lnTo>
                  <a:pt x="4348" y="1704"/>
                </a:lnTo>
                <a:lnTo>
                  <a:pt x="4348" y="1706"/>
                </a:lnTo>
                <a:lnTo>
                  <a:pt x="4347" y="1708"/>
                </a:lnTo>
                <a:lnTo>
                  <a:pt x="4345" y="1711"/>
                </a:lnTo>
                <a:lnTo>
                  <a:pt x="4345" y="1721"/>
                </a:lnTo>
                <a:lnTo>
                  <a:pt x="4345" y="1722"/>
                </a:lnTo>
                <a:lnTo>
                  <a:pt x="4344" y="1722"/>
                </a:lnTo>
                <a:lnTo>
                  <a:pt x="4343" y="1725"/>
                </a:lnTo>
                <a:lnTo>
                  <a:pt x="4341" y="1729"/>
                </a:lnTo>
                <a:lnTo>
                  <a:pt x="4340" y="1731"/>
                </a:lnTo>
                <a:lnTo>
                  <a:pt x="4339" y="1733"/>
                </a:lnTo>
                <a:lnTo>
                  <a:pt x="4337" y="1732"/>
                </a:lnTo>
                <a:lnTo>
                  <a:pt x="4336" y="1732"/>
                </a:lnTo>
                <a:lnTo>
                  <a:pt x="4333" y="1732"/>
                </a:lnTo>
                <a:lnTo>
                  <a:pt x="4333" y="1733"/>
                </a:lnTo>
                <a:lnTo>
                  <a:pt x="4333" y="1740"/>
                </a:lnTo>
                <a:lnTo>
                  <a:pt x="4339" y="1740"/>
                </a:lnTo>
                <a:lnTo>
                  <a:pt x="4337" y="1743"/>
                </a:lnTo>
                <a:lnTo>
                  <a:pt x="4339" y="1745"/>
                </a:lnTo>
                <a:lnTo>
                  <a:pt x="4342" y="1744"/>
                </a:lnTo>
                <a:lnTo>
                  <a:pt x="4345" y="1744"/>
                </a:lnTo>
                <a:lnTo>
                  <a:pt x="4347" y="1744"/>
                </a:lnTo>
                <a:lnTo>
                  <a:pt x="4348" y="1745"/>
                </a:lnTo>
                <a:lnTo>
                  <a:pt x="4348" y="1746"/>
                </a:lnTo>
                <a:lnTo>
                  <a:pt x="4347" y="1747"/>
                </a:lnTo>
                <a:lnTo>
                  <a:pt x="4346" y="1749"/>
                </a:lnTo>
                <a:lnTo>
                  <a:pt x="4345" y="1751"/>
                </a:lnTo>
                <a:lnTo>
                  <a:pt x="4345" y="1756"/>
                </a:lnTo>
                <a:lnTo>
                  <a:pt x="4345" y="1765"/>
                </a:lnTo>
                <a:lnTo>
                  <a:pt x="4344" y="1774"/>
                </a:lnTo>
                <a:lnTo>
                  <a:pt x="4349" y="1780"/>
                </a:lnTo>
                <a:lnTo>
                  <a:pt x="4352" y="1780"/>
                </a:lnTo>
                <a:lnTo>
                  <a:pt x="4352" y="1777"/>
                </a:lnTo>
                <a:lnTo>
                  <a:pt x="4353" y="1775"/>
                </a:lnTo>
                <a:lnTo>
                  <a:pt x="4354" y="1775"/>
                </a:lnTo>
                <a:lnTo>
                  <a:pt x="4356" y="1775"/>
                </a:lnTo>
                <a:lnTo>
                  <a:pt x="4360" y="1774"/>
                </a:lnTo>
                <a:lnTo>
                  <a:pt x="4360" y="1775"/>
                </a:lnTo>
                <a:lnTo>
                  <a:pt x="4360" y="1775"/>
                </a:lnTo>
                <a:lnTo>
                  <a:pt x="4359" y="1768"/>
                </a:lnTo>
                <a:lnTo>
                  <a:pt x="4361" y="1762"/>
                </a:lnTo>
                <a:lnTo>
                  <a:pt x="4360" y="1757"/>
                </a:lnTo>
                <a:lnTo>
                  <a:pt x="4360" y="1752"/>
                </a:lnTo>
                <a:lnTo>
                  <a:pt x="4358" y="1750"/>
                </a:lnTo>
                <a:lnTo>
                  <a:pt x="4357" y="1747"/>
                </a:lnTo>
                <a:lnTo>
                  <a:pt x="4357" y="1740"/>
                </a:lnTo>
                <a:lnTo>
                  <a:pt x="4357" y="1737"/>
                </a:lnTo>
                <a:lnTo>
                  <a:pt x="4365" y="1731"/>
                </a:lnTo>
                <a:lnTo>
                  <a:pt x="4367" y="1732"/>
                </a:lnTo>
                <a:lnTo>
                  <a:pt x="4369" y="1732"/>
                </a:lnTo>
                <a:lnTo>
                  <a:pt x="4369" y="1733"/>
                </a:lnTo>
                <a:lnTo>
                  <a:pt x="4369" y="1733"/>
                </a:lnTo>
                <a:lnTo>
                  <a:pt x="4369" y="1740"/>
                </a:lnTo>
                <a:lnTo>
                  <a:pt x="4367" y="1741"/>
                </a:lnTo>
                <a:lnTo>
                  <a:pt x="4365" y="1741"/>
                </a:lnTo>
                <a:lnTo>
                  <a:pt x="4365" y="1745"/>
                </a:lnTo>
                <a:lnTo>
                  <a:pt x="4369" y="1748"/>
                </a:lnTo>
                <a:lnTo>
                  <a:pt x="4373" y="1751"/>
                </a:lnTo>
                <a:lnTo>
                  <a:pt x="4376" y="1752"/>
                </a:lnTo>
                <a:lnTo>
                  <a:pt x="4378" y="1752"/>
                </a:lnTo>
                <a:lnTo>
                  <a:pt x="4375" y="1762"/>
                </a:lnTo>
                <a:lnTo>
                  <a:pt x="4379" y="1764"/>
                </a:lnTo>
                <a:lnTo>
                  <a:pt x="4382" y="1764"/>
                </a:lnTo>
                <a:lnTo>
                  <a:pt x="4384" y="1763"/>
                </a:lnTo>
                <a:lnTo>
                  <a:pt x="4385" y="1763"/>
                </a:lnTo>
                <a:lnTo>
                  <a:pt x="4384" y="1762"/>
                </a:lnTo>
                <a:lnTo>
                  <a:pt x="4382" y="1762"/>
                </a:lnTo>
                <a:lnTo>
                  <a:pt x="4384" y="1761"/>
                </a:lnTo>
                <a:lnTo>
                  <a:pt x="4385" y="1761"/>
                </a:lnTo>
                <a:lnTo>
                  <a:pt x="4391" y="1760"/>
                </a:lnTo>
                <a:lnTo>
                  <a:pt x="4393" y="1760"/>
                </a:lnTo>
                <a:lnTo>
                  <a:pt x="4393" y="1756"/>
                </a:lnTo>
                <a:lnTo>
                  <a:pt x="4389" y="1756"/>
                </a:lnTo>
                <a:lnTo>
                  <a:pt x="4389" y="1751"/>
                </a:lnTo>
                <a:lnTo>
                  <a:pt x="4387" y="1749"/>
                </a:lnTo>
                <a:lnTo>
                  <a:pt x="4385" y="1747"/>
                </a:lnTo>
                <a:lnTo>
                  <a:pt x="4385" y="1741"/>
                </a:lnTo>
                <a:lnTo>
                  <a:pt x="4387" y="1740"/>
                </a:lnTo>
                <a:lnTo>
                  <a:pt x="4389" y="1739"/>
                </a:lnTo>
                <a:lnTo>
                  <a:pt x="4387" y="1738"/>
                </a:lnTo>
                <a:lnTo>
                  <a:pt x="4385" y="1737"/>
                </a:lnTo>
                <a:lnTo>
                  <a:pt x="4385" y="1736"/>
                </a:lnTo>
                <a:lnTo>
                  <a:pt x="4381" y="1732"/>
                </a:lnTo>
                <a:lnTo>
                  <a:pt x="4381" y="1730"/>
                </a:lnTo>
                <a:lnTo>
                  <a:pt x="4381" y="1728"/>
                </a:lnTo>
                <a:lnTo>
                  <a:pt x="4379" y="1726"/>
                </a:lnTo>
                <a:lnTo>
                  <a:pt x="4377" y="1726"/>
                </a:lnTo>
                <a:lnTo>
                  <a:pt x="4375" y="1724"/>
                </a:lnTo>
                <a:lnTo>
                  <a:pt x="4373" y="1724"/>
                </a:lnTo>
                <a:lnTo>
                  <a:pt x="4373" y="1719"/>
                </a:lnTo>
                <a:lnTo>
                  <a:pt x="4376" y="1720"/>
                </a:lnTo>
                <a:lnTo>
                  <a:pt x="4378" y="1721"/>
                </a:lnTo>
                <a:lnTo>
                  <a:pt x="4380" y="1719"/>
                </a:lnTo>
                <a:lnTo>
                  <a:pt x="4381" y="1717"/>
                </a:lnTo>
                <a:lnTo>
                  <a:pt x="4389" y="1715"/>
                </a:lnTo>
                <a:lnTo>
                  <a:pt x="4396" y="1708"/>
                </a:lnTo>
                <a:lnTo>
                  <a:pt x="4386" y="1708"/>
                </a:lnTo>
                <a:lnTo>
                  <a:pt x="4386" y="1708"/>
                </a:lnTo>
                <a:lnTo>
                  <a:pt x="4385" y="1708"/>
                </a:lnTo>
                <a:lnTo>
                  <a:pt x="4381" y="1708"/>
                </a:lnTo>
                <a:lnTo>
                  <a:pt x="4377" y="1708"/>
                </a:lnTo>
                <a:lnTo>
                  <a:pt x="4377" y="1705"/>
                </a:lnTo>
                <a:lnTo>
                  <a:pt x="4374" y="1706"/>
                </a:lnTo>
                <a:lnTo>
                  <a:pt x="4372" y="1710"/>
                </a:lnTo>
                <a:lnTo>
                  <a:pt x="4370" y="1716"/>
                </a:lnTo>
                <a:lnTo>
                  <a:pt x="4366" y="1716"/>
                </a:lnTo>
                <a:lnTo>
                  <a:pt x="4363" y="1716"/>
                </a:lnTo>
                <a:lnTo>
                  <a:pt x="4363" y="1712"/>
                </a:lnTo>
                <a:lnTo>
                  <a:pt x="4362" y="1708"/>
                </a:lnTo>
                <a:lnTo>
                  <a:pt x="4359" y="1706"/>
                </a:lnTo>
                <a:lnTo>
                  <a:pt x="4357" y="1704"/>
                </a:lnTo>
                <a:lnTo>
                  <a:pt x="4356" y="1702"/>
                </a:lnTo>
                <a:lnTo>
                  <a:pt x="4355" y="1699"/>
                </a:lnTo>
                <a:lnTo>
                  <a:pt x="4355" y="1695"/>
                </a:lnTo>
                <a:lnTo>
                  <a:pt x="4355" y="1693"/>
                </a:lnTo>
                <a:lnTo>
                  <a:pt x="4356" y="1692"/>
                </a:lnTo>
                <a:lnTo>
                  <a:pt x="4360" y="1688"/>
                </a:lnTo>
                <a:lnTo>
                  <a:pt x="4362" y="1688"/>
                </a:lnTo>
                <a:lnTo>
                  <a:pt x="4370" y="1688"/>
                </a:lnTo>
                <a:lnTo>
                  <a:pt x="4373" y="1687"/>
                </a:lnTo>
                <a:lnTo>
                  <a:pt x="4377" y="1685"/>
                </a:lnTo>
                <a:lnTo>
                  <a:pt x="4380" y="1687"/>
                </a:lnTo>
                <a:lnTo>
                  <a:pt x="4390" y="1686"/>
                </a:lnTo>
                <a:lnTo>
                  <a:pt x="4399" y="1685"/>
                </a:lnTo>
                <a:lnTo>
                  <a:pt x="4401" y="1686"/>
                </a:lnTo>
                <a:lnTo>
                  <a:pt x="4402" y="1688"/>
                </a:lnTo>
                <a:lnTo>
                  <a:pt x="4407" y="1688"/>
                </a:lnTo>
                <a:lnTo>
                  <a:pt x="4411" y="1687"/>
                </a:lnTo>
                <a:lnTo>
                  <a:pt x="4416" y="1687"/>
                </a:lnTo>
                <a:lnTo>
                  <a:pt x="4420" y="1683"/>
                </a:lnTo>
                <a:lnTo>
                  <a:pt x="4424" y="1679"/>
                </a:lnTo>
                <a:lnTo>
                  <a:pt x="4426" y="1676"/>
                </a:lnTo>
                <a:lnTo>
                  <a:pt x="4427" y="1673"/>
                </a:lnTo>
                <a:lnTo>
                  <a:pt x="4429" y="1671"/>
                </a:lnTo>
                <a:lnTo>
                  <a:pt x="4429" y="1671"/>
                </a:lnTo>
                <a:lnTo>
                  <a:pt x="4429" y="1668"/>
                </a:lnTo>
                <a:lnTo>
                  <a:pt x="4429" y="1668"/>
                </a:lnTo>
                <a:lnTo>
                  <a:pt x="4425" y="1668"/>
                </a:lnTo>
                <a:lnTo>
                  <a:pt x="4423" y="1668"/>
                </a:lnTo>
                <a:lnTo>
                  <a:pt x="4421" y="1669"/>
                </a:lnTo>
                <a:lnTo>
                  <a:pt x="4421" y="1670"/>
                </a:lnTo>
                <a:lnTo>
                  <a:pt x="4420" y="1671"/>
                </a:lnTo>
                <a:lnTo>
                  <a:pt x="4419" y="1673"/>
                </a:lnTo>
                <a:lnTo>
                  <a:pt x="4421" y="1676"/>
                </a:lnTo>
                <a:lnTo>
                  <a:pt x="4418" y="1676"/>
                </a:lnTo>
                <a:lnTo>
                  <a:pt x="4416" y="1677"/>
                </a:lnTo>
                <a:lnTo>
                  <a:pt x="4413" y="1678"/>
                </a:lnTo>
                <a:lnTo>
                  <a:pt x="4411" y="1680"/>
                </a:lnTo>
                <a:lnTo>
                  <a:pt x="4406" y="1680"/>
                </a:lnTo>
                <a:lnTo>
                  <a:pt x="4400" y="1680"/>
                </a:lnTo>
                <a:lnTo>
                  <a:pt x="4397" y="1680"/>
                </a:lnTo>
                <a:lnTo>
                  <a:pt x="4396" y="1681"/>
                </a:lnTo>
                <a:lnTo>
                  <a:pt x="4389" y="1679"/>
                </a:lnTo>
                <a:lnTo>
                  <a:pt x="4386" y="1680"/>
                </a:lnTo>
                <a:lnTo>
                  <a:pt x="4382" y="1680"/>
                </a:lnTo>
                <a:lnTo>
                  <a:pt x="4381" y="1680"/>
                </a:lnTo>
                <a:lnTo>
                  <a:pt x="4377" y="1680"/>
                </a:lnTo>
                <a:lnTo>
                  <a:pt x="4375" y="1676"/>
                </a:lnTo>
                <a:lnTo>
                  <a:pt x="4365" y="1676"/>
                </a:lnTo>
                <a:lnTo>
                  <a:pt x="4365" y="1676"/>
                </a:lnTo>
                <a:lnTo>
                  <a:pt x="4362" y="1682"/>
                </a:lnTo>
                <a:lnTo>
                  <a:pt x="4359" y="1681"/>
                </a:lnTo>
                <a:lnTo>
                  <a:pt x="4358" y="1680"/>
                </a:lnTo>
                <a:lnTo>
                  <a:pt x="4353" y="1682"/>
                </a:lnTo>
                <a:lnTo>
                  <a:pt x="4353" y="1688"/>
                </a:lnTo>
                <a:lnTo>
                  <a:pt x="4353" y="1688"/>
                </a:lnTo>
                <a:lnTo>
                  <a:pt x="4352" y="1689"/>
                </a:lnTo>
                <a:lnTo>
                  <a:pt x="4352" y="1691"/>
                </a:lnTo>
                <a:lnTo>
                  <a:pt x="4352" y="1691"/>
                </a:lnTo>
                <a:lnTo>
                  <a:pt x="4353" y="1692"/>
                </a:lnTo>
                <a:lnTo>
                  <a:pt x="4352" y="1694"/>
                </a:lnTo>
                <a:lnTo>
                  <a:pt x="4352" y="1695"/>
                </a:lnTo>
                <a:lnTo>
                  <a:pt x="4349" y="1693"/>
                </a:lnTo>
                <a:lnTo>
                  <a:pt x="4349" y="1692"/>
                </a:lnTo>
                <a:lnTo>
                  <a:pt x="4349" y="1692"/>
                </a:lnTo>
                <a:lnTo>
                  <a:pt x="4349" y="1694"/>
                </a:lnTo>
                <a:close/>
                <a:moveTo>
                  <a:pt x="4361" y="1776"/>
                </a:moveTo>
                <a:lnTo>
                  <a:pt x="4361" y="1775"/>
                </a:lnTo>
                <a:lnTo>
                  <a:pt x="4360" y="1775"/>
                </a:lnTo>
                <a:lnTo>
                  <a:pt x="4361" y="1776"/>
                </a:lnTo>
                <a:lnTo>
                  <a:pt x="4361" y="1776"/>
                </a:lnTo>
                <a:close/>
                <a:moveTo>
                  <a:pt x="4382" y="1697"/>
                </a:moveTo>
                <a:lnTo>
                  <a:pt x="4381" y="1698"/>
                </a:lnTo>
                <a:lnTo>
                  <a:pt x="4385" y="1698"/>
                </a:lnTo>
                <a:lnTo>
                  <a:pt x="4384" y="1697"/>
                </a:lnTo>
                <a:lnTo>
                  <a:pt x="4382" y="1696"/>
                </a:lnTo>
                <a:lnTo>
                  <a:pt x="4382" y="1697"/>
                </a:lnTo>
                <a:close/>
                <a:moveTo>
                  <a:pt x="4202" y="1711"/>
                </a:moveTo>
                <a:lnTo>
                  <a:pt x="4205" y="1710"/>
                </a:lnTo>
                <a:lnTo>
                  <a:pt x="4207" y="1710"/>
                </a:lnTo>
                <a:lnTo>
                  <a:pt x="4207" y="1708"/>
                </a:lnTo>
                <a:lnTo>
                  <a:pt x="4202" y="1708"/>
                </a:lnTo>
                <a:lnTo>
                  <a:pt x="4202" y="1711"/>
                </a:lnTo>
                <a:close/>
                <a:moveTo>
                  <a:pt x="4285" y="1821"/>
                </a:moveTo>
                <a:lnTo>
                  <a:pt x="4285" y="1823"/>
                </a:lnTo>
                <a:lnTo>
                  <a:pt x="4286" y="1823"/>
                </a:lnTo>
                <a:lnTo>
                  <a:pt x="4285" y="1821"/>
                </a:lnTo>
                <a:lnTo>
                  <a:pt x="4285" y="1821"/>
                </a:lnTo>
                <a:close/>
                <a:moveTo>
                  <a:pt x="4261" y="2093"/>
                </a:moveTo>
                <a:lnTo>
                  <a:pt x="4261" y="2092"/>
                </a:lnTo>
                <a:lnTo>
                  <a:pt x="4261" y="2094"/>
                </a:lnTo>
                <a:lnTo>
                  <a:pt x="4261" y="2093"/>
                </a:lnTo>
                <a:close/>
                <a:moveTo>
                  <a:pt x="4260" y="2082"/>
                </a:moveTo>
                <a:lnTo>
                  <a:pt x="4260" y="2082"/>
                </a:lnTo>
                <a:lnTo>
                  <a:pt x="4260" y="2083"/>
                </a:lnTo>
                <a:lnTo>
                  <a:pt x="4260" y="2082"/>
                </a:lnTo>
                <a:lnTo>
                  <a:pt x="4260" y="2082"/>
                </a:lnTo>
                <a:close/>
                <a:moveTo>
                  <a:pt x="4293" y="1824"/>
                </a:moveTo>
                <a:lnTo>
                  <a:pt x="4297" y="1824"/>
                </a:lnTo>
                <a:lnTo>
                  <a:pt x="4293" y="1823"/>
                </a:lnTo>
                <a:lnTo>
                  <a:pt x="4293" y="1824"/>
                </a:lnTo>
                <a:close/>
                <a:moveTo>
                  <a:pt x="4292" y="1823"/>
                </a:moveTo>
                <a:lnTo>
                  <a:pt x="4292" y="1821"/>
                </a:lnTo>
                <a:lnTo>
                  <a:pt x="4290" y="1821"/>
                </a:lnTo>
                <a:lnTo>
                  <a:pt x="4292" y="1823"/>
                </a:lnTo>
                <a:lnTo>
                  <a:pt x="4292" y="1823"/>
                </a:lnTo>
                <a:close/>
                <a:moveTo>
                  <a:pt x="4609" y="2251"/>
                </a:moveTo>
                <a:lnTo>
                  <a:pt x="4608" y="2250"/>
                </a:lnTo>
                <a:lnTo>
                  <a:pt x="4608" y="2249"/>
                </a:lnTo>
                <a:lnTo>
                  <a:pt x="4605" y="2247"/>
                </a:lnTo>
                <a:lnTo>
                  <a:pt x="4600" y="2249"/>
                </a:lnTo>
                <a:lnTo>
                  <a:pt x="4594" y="2250"/>
                </a:lnTo>
                <a:lnTo>
                  <a:pt x="4594" y="2252"/>
                </a:lnTo>
                <a:lnTo>
                  <a:pt x="4594" y="2254"/>
                </a:lnTo>
                <a:lnTo>
                  <a:pt x="4595" y="2254"/>
                </a:lnTo>
                <a:lnTo>
                  <a:pt x="4597" y="2255"/>
                </a:lnTo>
                <a:lnTo>
                  <a:pt x="4601" y="2254"/>
                </a:lnTo>
                <a:lnTo>
                  <a:pt x="4605" y="2254"/>
                </a:lnTo>
                <a:lnTo>
                  <a:pt x="4608" y="2258"/>
                </a:lnTo>
                <a:lnTo>
                  <a:pt x="4611" y="2253"/>
                </a:lnTo>
                <a:lnTo>
                  <a:pt x="4611" y="2252"/>
                </a:lnTo>
                <a:lnTo>
                  <a:pt x="4609" y="2251"/>
                </a:lnTo>
                <a:close/>
                <a:moveTo>
                  <a:pt x="4259" y="2086"/>
                </a:moveTo>
                <a:lnTo>
                  <a:pt x="4260" y="2089"/>
                </a:lnTo>
                <a:lnTo>
                  <a:pt x="4260" y="2091"/>
                </a:lnTo>
                <a:lnTo>
                  <a:pt x="4261" y="2092"/>
                </a:lnTo>
                <a:lnTo>
                  <a:pt x="4261" y="2089"/>
                </a:lnTo>
                <a:lnTo>
                  <a:pt x="4261" y="2086"/>
                </a:lnTo>
                <a:lnTo>
                  <a:pt x="4260" y="2083"/>
                </a:lnTo>
                <a:lnTo>
                  <a:pt x="4260" y="2084"/>
                </a:lnTo>
                <a:lnTo>
                  <a:pt x="4259" y="2086"/>
                </a:lnTo>
                <a:close/>
                <a:moveTo>
                  <a:pt x="4253" y="2082"/>
                </a:moveTo>
                <a:lnTo>
                  <a:pt x="4252" y="2082"/>
                </a:lnTo>
                <a:lnTo>
                  <a:pt x="4249" y="2082"/>
                </a:lnTo>
                <a:lnTo>
                  <a:pt x="4249" y="2086"/>
                </a:lnTo>
                <a:lnTo>
                  <a:pt x="4253" y="2090"/>
                </a:lnTo>
                <a:lnTo>
                  <a:pt x="4257" y="2094"/>
                </a:lnTo>
                <a:lnTo>
                  <a:pt x="4255" y="2088"/>
                </a:lnTo>
                <a:lnTo>
                  <a:pt x="4253" y="2082"/>
                </a:lnTo>
                <a:close/>
                <a:moveTo>
                  <a:pt x="4290" y="2005"/>
                </a:moveTo>
                <a:lnTo>
                  <a:pt x="4288" y="2007"/>
                </a:lnTo>
                <a:lnTo>
                  <a:pt x="4286" y="2009"/>
                </a:lnTo>
                <a:lnTo>
                  <a:pt x="4288" y="2009"/>
                </a:lnTo>
                <a:lnTo>
                  <a:pt x="4290" y="2005"/>
                </a:lnTo>
                <a:close/>
                <a:moveTo>
                  <a:pt x="4286" y="1796"/>
                </a:moveTo>
                <a:lnTo>
                  <a:pt x="4288" y="1796"/>
                </a:lnTo>
                <a:lnTo>
                  <a:pt x="4292" y="1796"/>
                </a:lnTo>
                <a:lnTo>
                  <a:pt x="4286" y="1793"/>
                </a:lnTo>
                <a:lnTo>
                  <a:pt x="4285" y="1796"/>
                </a:lnTo>
                <a:lnTo>
                  <a:pt x="4286" y="1796"/>
                </a:lnTo>
                <a:close/>
                <a:moveTo>
                  <a:pt x="4305" y="1829"/>
                </a:moveTo>
                <a:lnTo>
                  <a:pt x="4305" y="1823"/>
                </a:lnTo>
                <a:lnTo>
                  <a:pt x="4307" y="1816"/>
                </a:lnTo>
                <a:lnTo>
                  <a:pt x="4303" y="1813"/>
                </a:lnTo>
                <a:lnTo>
                  <a:pt x="4297" y="1816"/>
                </a:lnTo>
                <a:lnTo>
                  <a:pt x="4297" y="1824"/>
                </a:lnTo>
                <a:lnTo>
                  <a:pt x="4297" y="1824"/>
                </a:lnTo>
                <a:lnTo>
                  <a:pt x="4299" y="1826"/>
                </a:lnTo>
                <a:lnTo>
                  <a:pt x="4300" y="1824"/>
                </a:lnTo>
                <a:lnTo>
                  <a:pt x="4301" y="1823"/>
                </a:lnTo>
                <a:lnTo>
                  <a:pt x="4301" y="1829"/>
                </a:lnTo>
                <a:lnTo>
                  <a:pt x="4305" y="1829"/>
                </a:lnTo>
                <a:close/>
                <a:moveTo>
                  <a:pt x="4272" y="1798"/>
                </a:moveTo>
                <a:lnTo>
                  <a:pt x="4274" y="1798"/>
                </a:lnTo>
                <a:lnTo>
                  <a:pt x="4272" y="1797"/>
                </a:lnTo>
                <a:lnTo>
                  <a:pt x="4272" y="1798"/>
                </a:lnTo>
                <a:close/>
                <a:moveTo>
                  <a:pt x="4250" y="1779"/>
                </a:moveTo>
                <a:lnTo>
                  <a:pt x="4250" y="1778"/>
                </a:lnTo>
                <a:lnTo>
                  <a:pt x="4250" y="1778"/>
                </a:lnTo>
                <a:lnTo>
                  <a:pt x="4250" y="1779"/>
                </a:lnTo>
                <a:lnTo>
                  <a:pt x="4249" y="1779"/>
                </a:lnTo>
                <a:lnTo>
                  <a:pt x="4250" y="1779"/>
                </a:lnTo>
                <a:close/>
                <a:moveTo>
                  <a:pt x="4194" y="1717"/>
                </a:moveTo>
                <a:lnTo>
                  <a:pt x="4196" y="1716"/>
                </a:lnTo>
                <a:lnTo>
                  <a:pt x="4192" y="1716"/>
                </a:lnTo>
                <a:lnTo>
                  <a:pt x="4194" y="1717"/>
                </a:lnTo>
                <a:close/>
                <a:moveTo>
                  <a:pt x="4194" y="1650"/>
                </a:moveTo>
                <a:lnTo>
                  <a:pt x="4194" y="1647"/>
                </a:lnTo>
                <a:lnTo>
                  <a:pt x="4194" y="1647"/>
                </a:lnTo>
                <a:lnTo>
                  <a:pt x="4192" y="1650"/>
                </a:lnTo>
                <a:lnTo>
                  <a:pt x="4194" y="1650"/>
                </a:lnTo>
                <a:close/>
                <a:moveTo>
                  <a:pt x="4615" y="2254"/>
                </a:moveTo>
                <a:lnTo>
                  <a:pt x="4614" y="2253"/>
                </a:lnTo>
                <a:lnTo>
                  <a:pt x="4612" y="2252"/>
                </a:lnTo>
                <a:lnTo>
                  <a:pt x="4611" y="2253"/>
                </a:lnTo>
                <a:lnTo>
                  <a:pt x="4613" y="2254"/>
                </a:lnTo>
                <a:lnTo>
                  <a:pt x="4614" y="2254"/>
                </a:lnTo>
                <a:lnTo>
                  <a:pt x="4615" y="2254"/>
                </a:lnTo>
                <a:lnTo>
                  <a:pt x="4616" y="2253"/>
                </a:lnTo>
                <a:lnTo>
                  <a:pt x="4616" y="2253"/>
                </a:lnTo>
                <a:lnTo>
                  <a:pt x="4616" y="2253"/>
                </a:lnTo>
                <a:lnTo>
                  <a:pt x="4615" y="2254"/>
                </a:lnTo>
                <a:close/>
                <a:moveTo>
                  <a:pt x="5032" y="1915"/>
                </a:moveTo>
                <a:lnTo>
                  <a:pt x="5030" y="1914"/>
                </a:lnTo>
                <a:lnTo>
                  <a:pt x="5032" y="1925"/>
                </a:lnTo>
                <a:lnTo>
                  <a:pt x="5033" y="1929"/>
                </a:lnTo>
                <a:lnTo>
                  <a:pt x="5037" y="1928"/>
                </a:lnTo>
                <a:lnTo>
                  <a:pt x="5039" y="1927"/>
                </a:lnTo>
                <a:lnTo>
                  <a:pt x="5040" y="1928"/>
                </a:lnTo>
                <a:lnTo>
                  <a:pt x="5040" y="1926"/>
                </a:lnTo>
                <a:lnTo>
                  <a:pt x="5038" y="1921"/>
                </a:lnTo>
                <a:lnTo>
                  <a:pt x="5037" y="1919"/>
                </a:lnTo>
                <a:lnTo>
                  <a:pt x="5037" y="1917"/>
                </a:lnTo>
                <a:lnTo>
                  <a:pt x="5036" y="1917"/>
                </a:lnTo>
                <a:lnTo>
                  <a:pt x="5036" y="1921"/>
                </a:lnTo>
                <a:lnTo>
                  <a:pt x="5032" y="1921"/>
                </a:lnTo>
                <a:lnTo>
                  <a:pt x="5032" y="1915"/>
                </a:lnTo>
                <a:close/>
                <a:moveTo>
                  <a:pt x="4949" y="1823"/>
                </a:moveTo>
                <a:lnTo>
                  <a:pt x="4947" y="1827"/>
                </a:lnTo>
                <a:lnTo>
                  <a:pt x="4948" y="1827"/>
                </a:lnTo>
                <a:lnTo>
                  <a:pt x="4950" y="1828"/>
                </a:lnTo>
                <a:lnTo>
                  <a:pt x="4952" y="1831"/>
                </a:lnTo>
                <a:lnTo>
                  <a:pt x="4952" y="1833"/>
                </a:lnTo>
                <a:lnTo>
                  <a:pt x="4953" y="1833"/>
                </a:lnTo>
                <a:lnTo>
                  <a:pt x="4953" y="1833"/>
                </a:lnTo>
                <a:lnTo>
                  <a:pt x="4954" y="1836"/>
                </a:lnTo>
                <a:lnTo>
                  <a:pt x="4955" y="1838"/>
                </a:lnTo>
                <a:lnTo>
                  <a:pt x="4955" y="1840"/>
                </a:lnTo>
                <a:lnTo>
                  <a:pt x="4954" y="1840"/>
                </a:lnTo>
                <a:lnTo>
                  <a:pt x="4951" y="1839"/>
                </a:lnTo>
                <a:lnTo>
                  <a:pt x="4951" y="1838"/>
                </a:lnTo>
                <a:lnTo>
                  <a:pt x="4951" y="1837"/>
                </a:lnTo>
                <a:lnTo>
                  <a:pt x="4951" y="1835"/>
                </a:lnTo>
                <a:lnTo>
                  <a:pt x="4945" y="1830"/>
                </a:lnTo>
                <a:lnTo>
                  <a:pt x="4943" y="1823"/>
                </a:lnTo>
                <a:lnTo>
                  <a:pt x="4943" y="1821"/>
                </a:lnTo>
                <a:lnTo>
                  <a:pt x="4943" y="1820"/>
                </a:lnTo>
                <a:lnTo>
                  <a:pt x="4943" y="1820"/>
                </a:lnTo>
                <a:lnTo>
                  <a:pt x="4946" y="1820"/>
                </a:lnTo>
                <a:lnTo>
                  <a:pt x="4949" y="1823"/>
                </a:lnTo>
                <a:close/>
                <a:moveTo>
                  <a:pt x="4951" y="1837"/>
                </a:moveTo>
                <a:lnTo>
                  <a:pt x="4953" y="1837"/>
                </a:lnTo>
                <a:lnTo>
                  <a:pt x="4954" y="1837"/>
                </a:lnTo>
                <a:lnTo>
                  <a:pt x="4952" y="1835"/>
                </a:lnTo>
                <a:lnTo>
                  <a:pt x="4951" y="1837"/>
                </a:lnTo>
                <a:close/>
                <a:moveTo>
                  <a:pt x="4939" y="1831"/>
                </a:moveTo>
                <a:lnTo>
                  <a:pt x="4939" y="1831"/>
                </a:lnTo>
                <a:lnTo>
                  <a:pt x="4938" y="1830"/>
                </a:lnTo>
                <a:lnTo>
                  <a:pt x="4934" y="1830"/>
                </a:lnTo>
                <a:lnTo>
                  <a:pt x="4936" y="1831"/>
                </a:lnTo>
                <a:lnTo>
                  <a:pt x="4938" y="1831"/>
                </a:lnTo>
                <a:lnTo>
                  <a:pt x="4939" y="1831"/>
                </a:lnTo>
                <a:close/>
                <a:moveTo>
                  <a:pt x="4957" y="1841"/>
                </a:moveTo>
                <a:lnTo>
                  <a:pt x="4957" y="1841"/>
                </a:lnTo>
                <a:lnTo>
                  <a:pt x="4955" y="1840"/>
                </a:lnTo>
                <a:lnTo>
                  <a:pt x="4955" y="1841"/>
                </a:lnTo>
                <a:lnTo>
                  <a:pt x="4957" y="1841"/>
                </a:lnTo>
                <a:close/>
                <a:moveTo>
                  <a:pt x="4932" y="1837"/>
                </a:moveTo>
                <a:lnTo>
                  <a:pt x="4930" y="1834"/>
                </a:lnTo>
                <a:lnTo>
                  <a:pt x="4927" y="1834"/>
                </a:lnTo>
                <a:lnTo>
                  <a:pt x="4927" y="1838"/>
                </a:lnTo>
                <a:lnTo>
                  <a:pt x="4929" y="1840"/>
                </a:lnTo>
                <a:lnTo>
                  <a:pt x="4931" y="1841"/>
                </a:lnTo>
                <a:lnTo>
                  <a:pt x="4938" y="1841"/>
                </a:lnTo>
                <a:lnTo>
                  <a:pt x="4941" y="1842"/>
                </a:lnTo>
                <a:lnTo>
                  <a:pt x="4944" y="1843"/>
                </a:lnTo>
                <a:lnTo>
                  <a:pt x="4946" y="1842"/>
                </a:lnTo>
                <a:lnTo>
                  <a:pt x="4939" y="1837"/>
                </a:lnTo>
                <a:lnTo>
                  <a:pt x="4932" y="1837"/>
                </a:lnTo>
                <a:close/>
                <a:moveTo>
                  <a:pt x="4932" y="1868"/>
                </a:moveTo>
                <a:lnTo>
                  <a:pt x="4936" y="1870"/>
                </a:lnTo>
                <a:lnTo>
                  <a:pt x="4939" y="1871"/>
                </a:lnTo>
                <a:lnTo>
                  <a:pt x="4939" y="1869"/>
                </a:lnTo>
                <a:lnTo>
                  <a:pt x="4936" y="1868"/>
                </a:lnTo>
                <a:lnTo>
                  <a:pt x="4932" y="1868"/>
                </a:lnTo>
                <a:close/>
                <a:moveTo>
                  <a:pt x="4979" y="1615"/>
                </a:moveTo>
                <a:lnTo>
                  <a:pt x="4980" y="1616"/>
                </a:lnTo>
                <a:lnTo>
                  <a:pt x="4980" y="1616"/>
                </a:lnTo>
                <a:lnTo>
                  <a:pt x="4980" y="1613"/>
                </a:lnTo>
                <a:lnTo>
                  <a:pt x="4978" y="1613"/>
                </a:lnTo>
                <a:lnTo>
                  <a:pt x="4979" y="1615"/>
                </a:lnTo>
                <a:close/>
                <a:moveTo>
                  <a:pt x="4960" y="1853"/>
                </a:moveTo>
                <a:lnTo>
                  <a:pt x="4952" y="1848"/>
                </a:lnTo>
                <a:lnTo>
                  <a:pt x="4952" y="1847"/>
                </a:lnTo>
                <a:lnTo>
                  <a:pt x="4951" y="1847"/>
                </a:lnTo>
                <a:lnTo>
                  <a:pt x="4951" y="1853"/>
                </a:lnTo>
                <a:lnTo>
                  <a:pt x="4954" y="1853"/>
                </a:lnTo>
                <a:lnTo>
                  <a:pt x="4956" y="1853"/>
                </a:lnTo>
                <a:lnTo>
                  <a:pt x="4957" y="1853"/>
                </a:lnTo>
                <a:lnTo>
                  <a:pt x="4960" y="1854"/>
                </a:lnTo>
                <a:lnTo>
                  <a:pt x="4966" y="1857"/>
                </a:lnTo>
                <a:lnTo>
                  <a:pt x="4965" y="1853"/>
                </a:lnTo>
                <a:lnTo>
                  <a:pt x="4960" y="1853"/>
                </a:lnTo>
                <a:close/>
                <a:moveTo>
                  <a:pt x="4966" y="1856"/>
                </a:moveTo>
                <a:lnTo>
                  <a:pt x="4966" y="1856"/>
                </a:lnTo>
                <a:lnTo>
                  <a:pt x="4967" y="1857"/>
                </a:lnTo>
                <a:lnTo>
                  <a:pt x="4968" y="1857"/>
                </a:lnTo>
                <a:lnTo>
                  <a:pt x="4966" y="1856"/>
                </a:lnTo>
                <a:lnTo>
                  <a:pt x="4966" y="1856"/>
                </a:lnTo>
                <a:close/>
                <a:moveTo>
                  <a:pt x="4916" y="2603"/>
                </a:moveTo>
                <a:lnTo>
                  <a:pt x="4916" y="2604"/>
                </a:lnTo>
                <a:lnTo>
                  <a:pt x="4916" y="2604"/>
                </a:lnTo>
                <a:lnTo>
                  <a:pt x="4918" y="2602"/>
                </a:lnTo>
                <a:lnTo>
                  <a:pt x="4919" y="2599"/>
                </a:lnTo>
                <a:lnTo>
                  <a:pt x="4918" y="2601"/>
                </a:lnTo>
                <a:lnTo>
                  <a:pt x="4916" y="2603"/>
                </a:lnTo>
                <a:close/>
                <a:moveTo>
                  <a:pt x="5000" y="696"/>
                </a:moveTo>
                <a:lnTo>
                  <a:pt x="5004" y="695"/>
                </a:lnTo>
                <a:lnTo>
                  <a:pt x="5004" y="691"/>
                </a:lnTo>
                <a:lnTo>
                  <a:pt x="5003" y="690"/>
                </a:lnTo>
                <a:lnTo>
                  <a:pt x="5001" y="689"/>
                </a:lnTo>
                <a:lnTo>
                  <a:pt x="4995" y="690"/>
                </a:lnTo>
                <a:lnTo>
                  <a:pt x="4989" y="691"/>
                </a:lnTo>
                <a:lnTo>
                  <a:pt x="4991" y="693"/>
                </a:lnTo>
                <a:lnTo>
                  <a:pt x="4993" y="694"/>
                </a:lnTo>
                <a:lnTo>
                  <a:pt x="4991" y="696"/>
                </a:lnTo>
                <a:lnTo>
                  <a:pt x="4989" y="699"/>
                </a:lnTo>
                <a:lnTo>
                  <a:pt x="4984" y="703"/>
                </a:lnTo>
                <a:lnTo>
                  <a:pt x="4985" y="705"/>
                </a:lnTo>
                <a:lnTo>
                  <a:pt x="4991" y="701"/>
                </a:lnTo>
                <a:lnTo>
                  <a:pt x="4995" y="697"/>
                </a:lnTo>
                <a:lnTo>
                  <a:pt x="5000" y="696"/>
                </a:lnTo>
                <a:close/>
                <a:moveTo>
                  <a:pt x="4911" y="1590"/>
                </a:moveTo>
                <a:lnTo>
                  <a:pt x="4909" y="1590"/>
                </a:lnTo>
                <a:lnTo>
                  <a:pt x="4908" y="1591"/>
                </a:lnTo>
                <a:lnTo>
                  <a:pt x="4909" y="1592"/>
                </a:lnTo>
                <a:lnTo>
                  <a:pt x="4911" y="1593"/>
                </a:lnTo>
                <a:lnTo>
                  <a:pt x="4911" y="1592"/>
                </a:lnTo>
                <a:lnTo>
                  <a:pt x="4912" y="1591"/>
                </a:lnTo>
                <a:lnTo>
                  <a:pt x="4911" y="1590"/>
                </a:lnTo>
                <a:lnTo>
                  <a:pt x="4911" y="1590"/>
                </a:lnTo>
                <a:close/>
                <a:moveTo>
                  <a:pt x="4908" y="1824"/>
                </a:moveTo>
                <a:lnTo>
                  <a:pt x="4908" y="1827"/>
                </a:lnTo>
                <a:lnTo>
                  <a:pt x="4909" y="1827"/>
                </a:lnTo>
                <a:lnTo>
                  <a:pt x="4908" y="1824"/>
                </a:lnTo>
                <a:lnTo>
                  <a:pt x="4908" y="1824"/>
                </a:lnTo>
                <a:close/>
                <a:moveTo>
                  <a:pt x="4920" y="1831"/>
                </a:moveTo>
                <a:lnTo>
                  <a:pt x="4920" y="1831"/>
                </a:lnTo>
                <a:lnTo>
                  <a:pt x="4921" y="1830"/>
                </a:lnTo>
                <a:lnTo>
                  <a:pt x="4920" y="1830"/>
                </a:lnTo>
                <a:lnTo>
                  <a:pt x="4920" y="1831"/>
                </a:lnTo>
                <a:close/>
                <a:moveTo>
                  <a:pt x="4912" y="1807"/>
                </a:moveTo>
                <a:lnTo>
                  <a:pt x="4915" y="1809"/>
                </a:lnTo>
                <a:lnTo>
                  <a:pt x="4917" y="1812"/>
                </a:lnTo>
                <a:lnTo>
                  <a:pt x="4918" y="1812"/>
                </a:lnTo>
                <a:lnTo>
                  <a:pt x="4915" y="1809"/>
                </a:lnTo>
                <a:lnTo>
                  <a:pt x="4912" y="1807"/>
                </a:lnTo>
                <a:close/>
                <a:moveTo>
                  <a:pt x="4932" y="1822"/>
                </a:moveTo>
                <a:lnTo>
                  <a:pt x="4932" y="1823"/>
                </a:lnTo>
                <a:lnTo>
                  <a:pt x="4932" y="1821"/>
                </a:lnTo>
                <a:lnTo>
                  <a:pt x="4931" y="1819"/>
                </a:lnTo>
                <a:lnTo>
                  <a:pt x="4928" y="1817"/>
                </a:lnTo>
                <a:lnTo>
                  <a:pt x="4925" y="1816"/>
                </a:lnTo>
                <a:lnTo>
                  <a:pt x="4923" y="1816"/>
                </a:lnTo>
                <a:lnTo>
                  <a:pt x="4931" y="1821"/>
                </a:lnTo>
                <a:lnTo>
                  <a:pt x="4932" y="1822"/>
                </a:lnTo>
                <a:close/>
                <a:moveTo>
                  <a:pt x="4920" y="1816"/>
                </a:moveTo>
                <a:lnTo>
                  <a:pt x="4923" y="1816"/>
                </a:lnTo>
                <a:lnTo>
                  <a:pt x="4918" y="1812"/>
                </a:lnTo>
                <a:lnTo>
                  <a:pt x="4920" y="1816"/>
                </a:lnTo>
                <a:close/>
                <a:moveTo>
                  <a:pt x="4931" y="1823"/>
                </a:moveTo>
                <a:lnTo>
                  <a:pt x="4928" y="1819"/>
                </a:lnTo>
                <a:lnTo>
                  <a:pt x="4927" y="1820"/>
                </a:lnTo>
                <a:lnTo>
                  <a:pt x="4927" y="1821"/>
                </a:lnTo>
                <a:lnTo>
                  <a:pt x="4929" y="1822"/>
                </a:lnTo>
                <a:lnTo>
                  <a:pt x="4931" y="1823"/>
                </a:lnTo>
                <a:close/>
                <a:moveTo>
                  <a:pt x="5053" y="1929"/>
                </a:moveTo>
                <a:lnTo>
                  <a:pt x="5054" y="1931"/>
                </a:lnTo>
                <a:lnTo>
                  <a:pt x="5055" y="1933"/>
                </a:lnTo>
                <a:lnTo>
                  <a:pt x="5056" y="1933"/>
                </a:lnTo>
                <a:lnTo>
                  <a:pt x="5056" y="1932"/>
                </a:lnTo>
                <a:lnTo>
                  <a:pt x="5056" y="1929"/>
                </a:lnTo>
                <a:lnTo>
                  <a:pt x="5055" y="1926"/>
                </a:lnTo>
                <a:lnTo>
                  <a:pt x="5054" y="1928"/>
                </a:lnTo>
                <a:lnTo>
                  <a:pt x="5053" y="1929"/>
                </a:lnTo>
                <a:close/>
                <a:moveTo>
                  <a:pt x="5053" y="1917"/>
                </a:moveTo>
                <a:lnTo>
                  <a:pt x="5053" y="1917"/>
                </a:lnTo>
                <a:lnTo>
                  <a:pt x="5053" y="1917"/>
                </a:lnTo>
                <a:lnTo>
                  <a:pt x="5053" y="1919"/>
                </a:lnTo>
                <a:lnTo>
                  <a:pt x="5052" y="1922"/>
                </a:lnTo>
                <a:lnTo>
                  <a:pt x="5052" y="1925"/>
                </a:lnTo>
                <a:lnTo>
                  <a:pt x="5055" y="1925"/>
                </a:lnTo>
                <a:lnTo>
                  <a:pt x="5055" y="1925"/>
                </a:lnTo>
                <a:lnTo>
                  <a:pt x="5054" y="1921"/>
                </a:lnTo>
                <a:lnTo>
                  <a:pt x="5053" y="1917"/>
                </a:lnTo>
                <a:close/>
                <a:moveTo>
                  <a:pt x="4905" y="1820"/>
                </a:moveTo>
                <a:lnTo>
                  <a:pt x="4903" y="1820"/>
                </a:lnTo>
                <a:lnTo>
                  <a:pt x="4903" y="1820"/>
                </a:lnTo>
                <a:lnTo>
                  <a:pt x="4905" y="1821"/>
                </a:lnTo>
                <a:lnTo>
                  <a:pt x="4906" y="1820"/>
                </a:lnTo>
                <a:lnTo>
                  <a:pt x="4905" y="1820"/>
                </a:lnTo>
                <a:close/>
                <a:moveTo>
                  <a:pt x="5053" y="1939"/>
                </a:moveTo>
                <a:lnTo>
                  <a:pt x="5055" y="1941"/>
                </a:lnTo>
                <a:lnTo>
                  <a:pt x="5056" y="1939"/>
                </a:lnTo>
                <a:lnTo>
                  <a:pt x="5056" y="1938"/>
                </a:lnTo>
                <a:lnTo>
                  <a:pt x="5056" y="1937"/>
                </a:lnTo>
                <a:lnTo>
                  <a:pt x="5055" y="1936"/>
                </a:lnTo>
                <a:lnTo>
                  <a:pt x="5053" y="1936"/>
                </a:lnTo>
                <a:lnTo>
                  <a:pt x="5051" y="1937"/>
                </a:lnTo>
                <a:lnTo>
                  <a:pt x="5053" y="1939"/>
                </a:lnTo>
                <a:close/>
                <a:moveTo>
                  <a:pt x="5056" y="1959"/>
                </a:moveTo>
                <a:lnTo>
                  <a:pt x="5056" y="1959"/>
                </a:lnTo>
                <a:lnTo>
                  <a:pt x="5055" y="1960"/>
                </a:lnTo>
                <a:lnTo>
                  <a:pt x="5056" y="1960"/>
                </a:lnTo>
                <a:lnTo>
                  <a:pt x="5057" y="1960"/>
                </a:lnTo>
                <a:lnTo>
                  <a:pt x="5057" y="1961"/>
                </a:lnTo>
                <a:lnTo>
                  <a:pt x="5060" y="1961"/>
                </a:lnTo>
                <a:lnTo>
                  <a:pt x="5061" y="1960"/>
                </a:lnTo>
                <a:lnTo>
                  <a:pt x="5059" y="1959"/>
                </a:lnTo>
                <a:lnTo>
                  <a:pt x="5057" y="1959"/>
                </a:lnTo>
                <a:lnTo>
                  <a:pt x="5056" y="1959"/>
                </a:lnTo>
                <a:close/>
                <a:moveTo>
                  <a:pt x="5048" y="1925"/>
                </a:moveTo>
                <a:lnTo>
                  <a:pt x="5046" y="1925"/>
                </a:lnTo>
                <a:lnTo>
                  <a:pt x="5048" y="1926"/>
                </a:lnTo>
                <a:lnTo>
                  <a:pt x="5049" y="1926"/>
                </a:lnTo>
                <a:lnTo>
                  <a:pt x="5051" y="1925"/>
                </a:lnTo>
                <a:lnTo>
                  <a:pt x="5049" y="1925"/>
                </a:lnTo>
                <a:lnTo>
                  <a:pt x="5048" y="1925"/>
                </a:lnTo>
                <a:close/>
                <a:moveTo>
                  <a:pt x="5049" y="2018"/>
                </a:moveTo>
                <a:lnTo>
                  <a:pt x="5052" y="2023"/>
                </a:lnTo>
                <a:lnTo>
                  <a:pt x="5052" y="2022"/>
                </a:lnTo>
                <a:lnTo>
                  <a:pt x="5053" y="2022"/>
                </a:lnTo>
                <a:lnTo>
                  <a:pt x="5053" y="2021"/>
                </a:lnTo>
                <a:lnTo>
                  <a:pt x="5051" y="2019"/>
                </a:lnTo>
                <a:lnTo>
                  <a:pt x="5049" y="2018"/>
                </a:lnTo>
                <a:close/>
                <a:moveTo>
                  <a:pt x="5040" y="1933"/>
                </a:moveTo>
                <a:lnTo>
                  <a:pt x="5040" y="1936"/>
                </a:lnTo>
                <a:lnTo>
                  <a:pt x="5040" y="1936"/>
                </a:lnTo>
                <a:lnTo>
                  <a:pt x="5040" y="1937"/>
                </a:lnTo>
                <a:lnTo>
                  <a:pt x="5040" y="1942"/>
                </a:lnTo>
                <a:lnTo>
                  <a:pt x="5043" y="1944"/>
                </a:lnTo>
                <a:lnTo>
                  <a:pt x="5049" y="1942"/>
                </a:lnTo>
                <a:lnTo>
                  <a:pt x="5045" y="1937"/>
                </a:lnTo>
                <a:lnTo>
                  <a:pt x="5041" y="1933"/>
                </a:lnTo>
                <a:lnTo>
                  <a:pt x="5040" y="1933"/>
                </a:lnTo>
                <a:close/>
                <a:moveTo>
                  <a:pt x="5055" y="1944"/>
                </a:moveTo>
                <a:lnTo>
                  <a:pt x="5055" y="1944"/>
                </a:lnTo>
                <a:lnTo>
                  <a:pt x="5055" y="1947"/>
                </a:lnTo>
                <a:lnTo>
                  <a:pt x="5060" y="1947"/>
                </a:lnTo>
                <a:lnTo>
                  <a:pt x="5058" y="1945"/>
                </a:lnTo>
                <a:lnTo>
                  <a:pt x="5055" y="1944"/>
                </a:lnTo>
                <a:close/>
                <a:moveTo>
                  <a:pt x="5044" y="1905"/>
                </a:moveTo>
                <a:lnTo>
                  <a:pt x="5044" y="1909"/>
                </a:lnTo>
                <a:lnTo>
                  <a:pt x="5045" y="1909"/>
                </a:lnTo>
                <a:lnTo>
                  <a:pt x="5045" y="1908"/>
                </a:lnTo>
                <a:lnTo>
                  <a:pt x="5046" y="1907"/>
                </a:lnTo>
                <a:lnTo>
                  <a:pt x="5045" y="1906"/>
                </a:lnTo>
                <a:lnTo>
                  <a:pt x="5044" y="1905"/>
                </a:lnTo>
                <a:lnTo>
                  <a:pt x="5044" y="1905"/>
                </a:lnTo>
                <a:close/>
                <a:moveTo>
                  <a:pt x="5041" y="1929"/>
                </a:moveTo>
                <a:lnTo>
                  <a:pt x="5040" y="1928"/>
                </a:lnTo>
                <a:lnTo>
                  <a:pt x="5040" y="1929"/>
                </a:lnTo>
                <a:lnTo>
                  <a:pt x="5041" y="1929"/>
                </a:lnTo>
                <a:close/>
                <a:moveTo>
                  <a:pt x="5028" y="2032"/>
                </a:moveTo>
                <a:lnTo>
                  <a:pt x="5028" y="2033"/>
                </a:lnTo>
                <a:lnTo>
                  <a:pt x="5029" y="2033"/>
                </a:lnTo>
                <a:lnTo>
                  <a:pt x="5029" y="2033"/>
                </a:lnTo>
                <a:lnTo>
                  <a:pt x="5030" y="2032"/>
                </a:lnTo>
                <a:lnTo>
                  <a:pt x="5032" y="2035"/>
                </a:lnTo>
                <a:lnTo>
                  <a:pt x="5032" y="2035"/>
                </a:lnTo>
                <a:lnTo>
                  <a:pt x="5032" y="2033"/>
                </a:lnTo>
                <a:lnTo>
                  <a:pt x="5034" y="2033"/>
                </a:lnTo>
                <a:lnTo>
                  <a:pt x="5035" y="2033"/>
                </a:lnTo>
                <a:lnTo>
                  <a:pt x="5036" y="2033"/>
                </a:lnTo>
                <a:lnTo>
                  <a:pt x="5036" y="2029"/>
                </a:lnTo>
                <a:lnTo>
                  <a:pt x="5029" y="2024"/>
                </a:lnTo>
                <a:lnTo>
                  <a:pt x="5022" y="2018"/>
                </a:lnTo>
                <a:lnTo>
                  <a:pt x="5017" y="2017"/>
                </a:lnTo>
                <a:lnTo>
                  <a:pt x="5013" y="2013"/>
                </a:lnTo>
                <a:lnTo>
                  <a:pt x="5010" y="2009"/>
                </a:lnTo>
                <a:lnTo>
                  <a:pt x="5008" y="2008"/>
                </a:lnTo>
                <a:lnTo>
                  <a:pt x="5006" y="2006"/>
                </a:lnTo>
                <a:lnTo>
                  <a:pt x="5003" y="2004"/>
                </a:lnTo>
                <a:lnTo>
                  <a:pt x="5000" y="2002"/>
                </a:lnTo>
                <a:lnTo>
                  <a:pt x="4997" y="2001"/>
                </a:lnTo>
                <a:lnTo>
                  <a:pt x="4996" y="2001"/>
                </a:lnTo>
                <a:lnTo>
                  <a:pt x="4996" y="2002"/>
                </a:lnTo>
                <a:lnTo>
                  <a:pt x="4992" y="1997"/>
                </a:lnTo>
                <a:lnTo>
                  <a:pt x="4992" y="1997"/>
                </a:lnTo>
                <a:lnTo>
                  <a:pt x="4992" y="1997"/>
                </a:lnTo>
                <a:lnTo>
                  <a:pt x="4997" y="2008"/>
                </a:lnTo>
                <a:lnTo>
                  <a:pt x="5008" y="2021"/>
                </a:lnTo>
                <a:lnTo>
                  <a:pt x="5020" y="2027"/>
                </a:lnTo>
                <a:lnTo>
                  <a:pt x="5020" y="2029"/>
                </a:lnTo>
                <a:lnTo>
                  <a:pt x="5028" y="2032"/>
                </a:lnTo>
                <a:close/>
                <a:moveTo>
                  <a:pt x="5034" y="2037"/>
                </a:moveTo>
                <a:lnTo>
                  <a:pt x="5032" y="2035"/>
                </a:lnTo>
                <a:lnTo>
                  <a:pt x="5032" y="2037"/>
                </a:lnTo>
                <a:lnTo>
                  <a:pt x="5034" y="2037"/>
                </a:lnTo>
                <a:close/>
                <a:moveTo>
                  <a:pt x="4995" y="672"/>
                </a:moveTo>
                <a:lnTo>
                  <a:pt x="4995" y="672"/>
                </a:lnTo>
                <a:lnTo>
                  <a:pt x="4993" y="673"/>
                </a:lnTo>
                <a:lnTo>
                  <a:pt x="4995" y="673"/>
                </a:lnTo>
                <a:lnTo>
                  <a:pt x="4995" y="672"/>
                </a:lnTo>
                <a:close/>
                <a:moveTo>
                  <a:pt x="5045" y="1899"/>
                </a:moveTo>
                <a:lnTo>
                  <a:pt x="5045" y="1899"/>
                </a:lnTo>
                <a:lnTo>
                  <a:pt x="5044" y="1902"/>
                </a:lnTo>
                <a:lnTo>
                  <a:pt x="5044" y="1903"/>
                </a:lnTo>
                <a:lnTo>
                  <a:pt x="5044" y="1903"/>
                </a:lnTo>
                <a:lnTo>
                  <a:pt x="5045" y="1902"/>
                </a:lnTo>
                <a:lnTo>
                  <a:pt x="5045" y="1899"/>
                </a:lnTo>
                <a:close/>
                <a:moveTo>
                  <a:pt x="5043" y="2015"/>
                </a:moveTo>
                <a:lnTo>
                  <a:pt x="5043" y="2015"/>
                </a:lnTo>
                <a:lnTo>
                  <a:pt x="5043" y="2013"/>
                </a:lnTo>
                <a:lnTo>
                  <a:pt x="5041" y="2010"/>
                </a:lnTo>
                <a:lnTo>
                  <a:pt x="5041" y="2009"/>
                </a:lnTo>
                <a:lnTo>
                  <a:pt x="5037" y="2009"/>
                </a:lnTo>
                <a:lnTo>
                  <a:pt x="5040" y="2010"/>
                </a:lnTo>
                <a:lnTo>
                  <a:pt x="5037" y="2011"/>
                </a:lnTo>
                <a:lnTo>
                  <a:pt x="5043" y="2015"/>
                </a:lnTo>
                <a:close/>
                <a:moveTo>
                  <a:pt x="5036" y="1869"/>
                </a:moveTo>
                <a:lnTo>
                  <a:pt x="5034" y="1868"/>
                </a:lnTo>
                <a:lnTo>
                  <a:pt x="5032" y="1868"/>
                </a:lnTo>
                <a:lnTo>
                  <a:pt x="5033" y="1868"/>
                </a:lnTo>
                <a:lnTo>
                  <a:pt x="5033" y="1869"/>
                </a:lnTo>
                <a:lnTo>
                  <a:pt x="5036" y="1869"/>
                </a:lnTo>
                <a:close/>
                <a:moveTo>
                  <a:pt x="4878" y="865"/>
                </a:moveTo>
                <a:lnTo>
                  <a:pt x="4878" y="865"/>
                </a:lnTo>
                <a:lnTo>
                  <a:pt x="4879" y="865"/>
                </a:lnTo>
                <a:lnTo>
                  <a:pt x="4878" y="865"/>
                </a:lnTo>
                <a:close/>
                <a:moveTo>
                  <a:pt x="4835" y="1862"/>
                </a:moveTo>
                <a:lnTo>
                  <a:pt x="4838" y="1866"/>
                </a:lnTo>
                <a:lnTo>
                  <a:pt x="4841" y="1869"/>
                </a:lnTo>
                <a:lnTo>
                  <a:pt x="4844" y="1869"/>
                </a:lnTo>
                <a:lnTo>
                  <a:pt x="4840" y="1865"/>
                </a:lnTo>
                <a:lnTo>
                  <a:pt x="4835" y="1862"/>
                </a:lnTo>
                <a:close/>
                <a:moveTo>
                  <a:pt x="4837" y="917"/>
                </a:moveTo>
                <a:lnTo>
                  <a:pt x="4836" y="917"/>
                </a:lnTo>
                <a:lnTo>
                  <a:pt x="4837" y="918"/>
                </a:lnTo>
                <a:lnTo>
                  <a:pt x="4837" y="918"/>
                </a:lnTo>
                <a:lnTo>
                  <a:pt x="4837" y="917"/>
                </a:lnTo>
                <a:close/>
                <a:moveTo>
                  <a:pt x="4842" y="1753"/>
                </a:moveTo>
                <a:lnTo>
                  <a:pt x="4842" y="1754"/>
                </a:lnTo>
                <a:lnTo>
                  <a:pt x="4841" y="1755"/>
                </a:lnTo>
                <a:lnTo>
                  <a:pt x="4842" y="1755"/>
                </a:lnTo>
                <a:lnTo>
                  <a:pt x="4842" y="1753"/>
                </a:lnTo>
                <a:lnTo>
                  <a:pt x="4842" y="1753"/>
                </a:lnTo>
                <a:close/>
                <a:moveTo>
                  <a:pt x="4903" y="1822"/>
                </a:moveTo>
                <a:lnTo>
                  <a:pt x="4904" y="1821"/>
                </a:lnTo>
                <a:lnTo>
                  <a:pt x="4904" y="1821"/>
                </a:lnTo>
                <a:lnTo>
                  <a:pt x="4903" y="1822"/>
                </a:lnTo>
                <a:lnTo>
                  <a:pt x="4903" y="1822"/>
                </a:lnTo>
                <a:close/>
                <a:moveTo>
                  <a:pt x="4839" y="2106"/>
                </a:moveTo>
                <a:lnTo>
                  <a:pt x="4839" y="2106"/>
                </a:lnTo>
                <a:lnTo>
                  <a:pt x="4837" y="2108"/>
                </a:lnTo>
                <a:lnTo>
                  <a:pt x="4839" y="2113"/>
                </a:lnTo>
                <a:lnTo>
                  <a:pt x="4839" y="2113"/>
                </a:lnTo>
                <a:lnTo>
                  <a:pt x="4839" y="2106"/>
                </a:lnTo>
                <a:close/>
                <a:moveTo>
                  <a:pt x="4855" y="898"/>
                </a:moveTo>
                <a:lnTo>
                  <a:pt x="4855" y="896"/>
                </a:lnTo>
                <a:lnTo>
                  <a:pt x="4854" y="896"/>
                </a:lnTo>
                <a:lnTo>
                  <a:pt x="4855" y="898"/>
                </a:lnTo>
                <a:lnTo>
                  <a:pt x="4855" y="898"/>
                </a:lnTo>
                <a:close/>
                <a:moveTo>
                  <a:pt x="4847" y="1862"/>
                </a:moveTo>
                <a:lnTo>
                  <a:pt x="4849" y="1863"/>
                </a:lnTo>
                <a:lnTo>
                  <a:pt x="4853" y="1863"/>
                </a:lnTo>
                <a:lnTo>
                  <a:pt x="4851" y="1862"/>
                </a:lnTo>
                <a:lnTo>
                  <a:pt x="4847" y="1862"/>
                </a:lnTo>
                <a:close/>
                <a:moveTo>
                  <a:pt x="4849" y="902"/>
                </a:moveTo>
                <a:lnTo>
                  <a:pt x="4848" y="905"/>
                </a:lnTo>
                <a:lnTo>
                  <a:pt x="4851" y="902"/>
                </a:lnTo>
                <a:lnTo>
                  <a:pt x="4849" y="902"/>
                </a:lnTo>
                <a:close/>
                <a:moveTo>
                  <a:pt x="4587" y="1901"/>
                </a:moveTo>
                <a:lnTo>
                  <a:pt x="4589" y="1901"/>
                </a:lnTo>
                <a:lnTo>
                  <a:pt x="4590" y="1900"/>
                </a:lnTo>
                <a:lnTo>
                  <a:pt x="4591" y="1899"/>
                </a:lnTo>
                <a:lnTo>
                  <a:pt x="4589" y="1899"/>
                </a:lnTo>
                <a:lnTo>
                  <a:pt x="4587" y="1901"/>
                </a:lnTo>
                <a:close/>
                <a:moveTo>
                  <a:pt x="4630" y="2250"/>
                </a:moveTo>
                <a:lnTo>
                  <a:pt x="4638" y="2259"/>
                </a:lnTo>
                <a:lnTo>
                  <a:pt x="4638" y="2258"/>
                </a:lnTo>
                <a:lnTo>
                  <a:pt x="4638" y="2258"/>
                </a:lnTo>
                <a:lnTo>
                  <a:pt x="4639" y="2258"/>
                </a:lnTo>
                <a:lnTo>
                  <a:pt x="4634" y="2252"/>
                </a:lnTo>
                <a:lnTo>
                  <a:pt x="4630" y="2250"/>
                </a:lnTo>
                <a:close/>
                <a:moveTo>
                  <a:pt x="4512" y="1879"/>
                </a:moveTo>
                <a:lnTo>
                  <a:pt x="4512" y="1879"/>
                </a:lnTo>
                <a:lnTo>
                  <a:pt x="4512" y="1880"/>
                </a:lnTo>
                <a:lnTo>
                  <a:pt x="4512" y="1879"/>
                </a:lnTo>
                <a:lnTo>
                  <a:pt x="4512" y="1879"/>
                </a:lnTo>
                <a:close/>
                <a:moveTo>
                  <a:pt x="4639" y="2258"/>
                </a:moveTo>
                <a:lnTo>
                  <a:pt x="4639" y="2258"/>
                </a:lnTo>
                <a:lnTo>
                  <a:pt x="4639" y="2258"/>
                </a:lnTo>
                <a:lnTo>
                  <a:pt x="4639" y="2258"/>
                </a:lnTo>
                <a:close/>
                <a:moveTo>
                  <a:pt x="4538" y="1869"/>
                </a:moveTo>
                <a:lnTo>
                  <a:pt x="4538" y="1869"/>
                </a:lnTo>
                <a:lnTo>
                  <a:pt x="4538" y="1869"/>
                </a:lnTo>
                <a:lnTo>
                  <a:pt x="4538" y="1869"/>
                </a:lnTo>
                <a:lnTo>
                  <a:pt x="4538" y="1869"/>
                </a:lnTo>
                <a:close/>
                <a:moveTo>
                  <a:pt x="4839" y="2118"/>
                </a:moveTo>
                <a:lnTo>
                  <a:pt x="4839" y="2118"/>
                </a:lnTo>
                <a:lnTo>
                  <a:pt x="4840" y="2115"/>
                </a:lnTo>
                <a:lnTo>
                  <a:pt x="4841" y="2113"/>
                </a:lnTo>
                <a:lnTo>
                  <a:pt x="4839" y="2113"/>
                </a:lnTo>
                <a:lnTo>
                  <a:pt x="4839" y="2118"/>
                </a:lnTo>
                <a:close/>
                <a:moveTo>
                  <a:pt x="4722" y="2296"/>
                </a:moveTo>
                <a:lnTo>
                  <a:pt x="4718" y="2297"/>
                </a:lnTo>
                <a:lnTo>
                  <a:pt x="4716" y="2298"/>
                </a:lnTo>
                <a:lnTo>
                  <a:pt x="4717" y="2298"/>
                </a:lnTo>
                <a:lnTo>
                  <a:pt x="4718" y="2298"/>
                </a:lnTo>
                <a:lnTo>
                  <a:pt x="4718" y="2298"/>
                </a:lnTo>
                <a:lnTo>
                  <a:pt x="4722" y="2298"/>
                </a:lnTo>
                <a:lnTo>
                  <a:pt x="4721" y="2298"/>
                </a:lnTo>
                <a:lnTo>
                  <a:pt x="4722" y="2296"/>
                </a:lnTo>
                <a:close/>
                <a:moveTo>
                  <a:pt x="4857" y="1773"/>
                </a:moveTo>
                <a:lnTo>
                  <a:pt x="4858" y="1772"/>
                </a:lnTo>
                <a:lnTo>
                  <a:pt x="4857" y="1770"/>
                </a:lnTo>
                <a:lnTo>
                  <a:pt x="4856" y="1769"/>
                </a:lnTo>
                <a:lnTo>
                  <a:pt x="4854" y="1770"/>
                </a:lnTo>
                <a:lnTo>
                  <a:pt x="4856" y="1775"/>
                </a:lnTo>
                <a:lnTo>
                  <a:pt x="4857" y="1773"/>
                </a:lnTo>
                <a:close/>
                <a:moveTo>
                  <a:pt x="4834" y="2114"/>
                </a:moveTo>
                <a:lnTo>
                  <a:pt x="4839" y="2128"/>
                </a:lnTo>
                <a:lnTo>
                  <a:pt x="4839" y="2136"/>
                </a:lnTo>
                <a:lnTo>
                  <a:pt x="4838" y="2140"/>
                </a:lnTo>
                <a:lnTo>
                  <a:pt x="4837" y="2143"/>
                </a:lnTo>
                <a:lnTo>
                  <a:pt x="4836" y="2149"/>
                </a:lnTo>
                <a:lnTo>
                  <a:pt x="4835" y="2154"/>
                </a:lnTo>
                <a:lnTo>
                  <a:pt x="4834" y="2159"/>
                </a:lnTo>
                <a:lnTo>
                  <a:pt x="4832" y="2163"/>
                </a:lnTo>
                <a:lnTo>
                  <a:pt x="4834" y="2170"/>
                </a:lnTo>
                <a:lnTo>
                  <a:pt x="4830" y="2181"/>
                </a:lnTo>
                <a:lnTo>
                  <a:pt x="4827" y="2186"/>
                </a:lnTo>
                <a:lnTo>
                  <a:pt x="4823" y="2190"/>
                </a:lnTo>
                <a:lnTo>
                  <a:pt x="4823" y="2195"/>
                </a:lnTo>
                <a:lnTo>
                  <a:pt x="4819" y="2201"/>
                </a:lnTo>
                <a:lnTo>
                  <a:pt x="4819" y="2201"/>
                </a:lnTo>
                <a:lnTo>
                  <a:pt x="4815" y="2204"/>
                </a:lnTo>
                <a:lnTo>
                  <a:pt x="4812" y="2210"/>
                </a:lnTo>
                <a:lnTo>
                  <a:pt x="4807" y="2210"/>
                </a:lnTo>
                <a:lnTo>
                  <a:pt x="4807" y="2211"/>
                </a:lnTo>
                <a:lnTo>
                  <a:pt x="4808" y="2213"/>
                </a:lnTo>
                <a:lnTo>
                  <a:pt x="4809" y="2216"/>
                </a:lnTo>
                <a:lnTo>
                  <a:pt x="4808" y="2222"/>
                </a:lnTo>
                <a:lnTo>
                  <a:pt x="4806" y="2222"/>
                </a:lnTo>
                <a:lnTo>
                  <a:pt x="4808" y="2224"/>
                </a:lnTo>
                <a:lnTo>
                  <a:pt x="4805" y="2225"/>
                </a:lnTo>
                <a:lnTo>
                  <a:pt x="4802" y="2226"/>
                </a:lnTo>
                <a:lnTo>
                  <a:pt x="4802" y="2231"/>
                </a:lnTo>
                <a:lnTo>
                  <a:pt x="4801" y="2236"/>
                </a:lnTo>
                <a:lnTo>
                  <a:pt x="4799" y="2237"/>
                </a:lnTo>
                <a:lnTo>
                  <a:pt x="4801" y="2242"/>
                </a:lnTo>
                <a:lnTo>
                  <a:pt x="4799" y="2242"/>
                </a:lnTo>
                <a:lnTo>
                  <a:pt x="4799" y="2240"/>
                </a:lnTo>
                <a:lnTo>
                  <a:pt x="4798" y="2241"/>
                </a:lnTo>
                <a:lnTo>
                  <a:pt x="4797" y="2242"/>
                </a:lnTo>
                <a:lnTo>
                  <a:pt x="4794" y="2248"/>
                </a:lnTo>
                <a:lnTo>
                  <a:pt x="4791" y="2254"/>
                </a:lnTo>
                <a:lnTo>
                  <a:pt x="4791" y="2260"/>
                </a:lnTo>
                <a:lnTo>
                  <a:pt x="4787" y="2270"/>
                </a:lnTo>
                <a:lnTo>
                  <a:pt x="4789" y="2275"/>
                </a:lnTo>
                <a:lnTo>
                  <a:pt x="4787" y="2277"/>
                </a:lnTo>
                <a:lnTo>
                  <a:pt x="4787" y="2280"/>
                </a:lnTo>
                <a:lnTo>
                  <a:pt x="4782" y="2285"/>
                </a:lnTo>
                <a:lnTo>
                  <a:pt x="4764" y="2286"/>
                </a:lnTo>
                <a:lnTo>
                  <a:pt x="4760" y="2287"/>
                </a:lnTo>
                <a:lnTo>
                  <a:pt x="4756" y="2288"/>
                </a:lnTo>
                <a:lnTo>
                  <a:pt x="4750" y="2294"/>
                </a:lnTo>
                <a:lnTo>
                  <a:pt x="4743" y="2299"/>
                </a:lnTo>
                <a:lnTo>
                  <a:pt x="4734" y="2300"/>
                </a:lnTo>
                <a:lnTo>
                  <a:pt x="4735" y="2302"/>
                </a:lnTo>
                <a:lnTo>
                  <a:pt x="4735" y="2304"/>
                </a:lnTo>
                <a:lnTo>
                  <a:pt x="4739" y="2303"/>
                </a:lnTo>
                <a:lnTo>
                  <a:pt x="4739" y="2308"/>
                </a:lnTo>
                <a:lnTo>
                  <a:pt x="4737" y="2309"/>
                </a:lnTo>
                <a:lnTo>
                  <a:pt x="4735" y="2306"/>
                </a:lnTo>
                <a:lnTo>
                  <a:pt x="4734" y="2303"/>
                </a:lnTo>
                <a:lnTo>
                  <a:pt x="4726" y="2304"/>
                </a:lnTo>
                <a:lnTo>
                  <a:pt x="4726" y="2299"/>
                </a:lnTo>
                <a:lnTo>
                  <a:pt x="4725" y="2300"/>
                </a:lnTo>
                <a:lnTo>
                  <a:pt x="4724" y="2299"/>
                </a:lnTo>
                <a:lnTo>
                  <a:pt x="4722" y="2298"/>
                </a:lnTo>
                <a:lnTo>
                  <a:pt x="4723" y="2298"/>
                </a:lnTo>
                <a:lnTo>
                  <a:pt x="4722" y="2294"/>
                </a:lnTo>
                <a:lnTo>
                  <a:pt x="4720" y="2294"/>
                </a:lnTo>
                <a:lnTo>
                  <a:pt x="4716" y="2298"/>
                </a:lnTo>
                <a:lnTo>
                  <a:pt x="4715" y="2298"/>
                </a:lnTo>
                <a:lnTo>
                  <a:pt x="4717" y="2294"/>
                </a:lnTo>
                <a:lnTo>
                  <a:pt x="4715" y="2287"/>
                </a:lnTo>
                <a:lnTo>
                  <a:pt x="4706" y="2294"/>
                </a:lnTo>
                <a:lnTo>
                  <a:pt x="4710" y="2294"/>
                </a:lnTo>
                <a:lnTo>
                  <a:pt x="4710" y="2298"/>
                </a:lnTo>
                <a:lnTo>
                  <a:pt x="4706" y="2298"/>
                </a:lnTo>
                <a:lnTo>
                  <a:pt x="4694" y="2305"/>
                </a:lnTo>
                <a:lnTo>
                  <a:pt x="4678" y="2296"/>
                </a:lnTo>
                <a:lnTo>
                  <a:pt x="4676" y="2296"/>
                </a:lnTo>
                <a:lnTo>
                  <a:pt x="4674" y="2297"/>
                </a:lnTo>
                <a:lnTo>
                  <a:pt x="4671" y="2293"/>
                </a:lnTo>
                <a:lnTo>
                  <a:pt x="4669" y="2295"/>
                </a:lnTo>
                <a:lnTo>
                  <a:pt x="4667" y="2297"/>
                </a:lnTo>
                <a:lnTo>
                  <a:pt x="4660" y="2292"/>
                </a:lnTo>
                <a:lnTo>
                  <a:pt x="4652" y="2289"/>
                </a:lnTo>
                <a:lnTo>
                  <a:pt x="4638" y="2275"/>
                </a:lnTo>
                <a:lnTo>
                  <a:pt x="4638" y="2270"/>
                </a:lnTo>
                <a:lnTo>
                  <a:pt x="4638" y="2269"/>
                </a:lnTo>
                <a:lnTo>
                  <a:pt x="4638" y="2263"/>
                </a:lnTo>
                <a:lnTo>
                  <a:pt x="4639" y="2258"/>
                </a:lnTo>
                <a:lnTo>
                  <a:pt x="4639" y="2259"/>
                </a:lnTo>
                <a:lnTo>
                  <a:pt x="4639" y="2257"/>
                </a:lnTo>
                <a:lnTo>
                  <a:pt x="4638" y="2255"/>
                </a:lnTo>
                <a:lnTo>
                  <a:pt x="4634" y="2252"/>
                </a:lnTo>
                <a:lnTo>
                  <a:pt x="4630" y="2249"/>
                </a:lnTo>
                <a:lnTo>
                  <a:pt x="4630" y="2247"/>
                </a:lnTo>
                <a:lnTo>
                  <a:pt x="4628" y="2249"/>
                </a:lnTo>
                <a:lnTo>
                  <a:pt x="4630" y="2250"/>
                </a:lnTo>
                <a:lnTo>
                  <a:pt x="4630" y="2250"/>
                </a:lnTo>
                <a:lnTo>
                  <a:pt x="4630" y="2250"/>
                </a:lnTo>
                <a:lnTo>
                  <a:pt x="4630" y="2250"/>
                </a:lnTo>
                <a:lnTo>
                  <a:pt x="4626" y="2250"/>
                </a:lnTo>
                <a:lnTo>
                  <a:pt x="4622" y="2250"/>
                </a:lnTo>
                <a:lnTo>
                  <a:pt x="4615" y="2250"/>
                </a:lnTo>
                <a:lnTo>
                  <a:pt x="4619" y="2247"/>
                </a:lnTo>
                <a:lnTo>
                  <a:pt x="4622" y="2243"/>
                </a:lnTo>
                <a:lnTo>
                  <a:pt x="4622" y="2239"/>
                </a:lnTo>
                <a:lnTo>
                  <a:pt x="4622" y="2232"/>
                </a:lnTo>
                <a:lnTo>
                  <a:pt x="4619" y="2228"/>
                </a:lnTo>
                <a:lnTo>
                  <a:pt x="4615" y="2223"/>
                </a:lnTo>
                <a:lnTo>
                  <a:pt x="4615" y="2226"/>
                </a:lnTo>
                <a:lnTo>
                  <a:pt x="4614" y="2229"/>
                </a:lnTo>
                <a:lnTo>
                  <a:pt x="4612" y="2240"/>
                </a:lnTo>
                <a:lnTo>
                  <a:pt x="4608" y="2239"/>
                </a:lnTo>
                <a:lnTo>
                  <a:pt x="4598" y="2242"/>
                </a:lnTo>
                <a:lnTo>
                  <a:pt x="4601" y="2236"/>
                </a:lnTo>
                <a:lnTo>
                  <a:pt x="4603" y="2237"/>
                </a:lnTo>
                <a:lnTo>
                  <a:pt x="4605" y="2238"/>
                </a:lnTo>
                <a:lnTo>
                  <a:pt x="4606" y="2235"/>
                </a:lnTo>
                <a:lnTo>
                  <a:pt x="4606" y="2232"/>
                </a:lnTo>
                <a:lnTo>
                  <a:pt x="4606" y="2224"/>
                </a:lnTo>
                <a:lnTo>
                  <a:pt x="4607" y="2222"/>
                </a:lnTo>
                <a:lnTo>
                  <a:pt x="4609" y="2220"/>
                </a:lnTo>
                <a:lnTo>
                  <a:pt x="4612" y="2217"/>
                </a:lnTo>
                <a:lnTo>
                  <a:pt x="4614" y="2215"/>
                </a:lnTo>
                <a:lnTo>
                  <a:pt x="4613" y="2209"/>
                </a:lnTo>
                <a:lnTo>
                  <a:pt x="4614" y="2207"/>
                </a:lnTo>
                <a:lnTo>
                  <a:pt x="4615" y="2205"/>
                </a:lnTo>
                <a:lnTo>
                  <a:pt x="4614" y="2201"/>
                </a:lnTo>
                <a:lnTo>
                  <a:pt x="4612" y="2197"/>
                </a:lnTo>
                <a:lnTo>
                  <a:pt x="4613" y="2205"/>
                </a:lnTo>
                <a:lnTo>
                  <a:pt x="4608" y="2206"/>
                </a:lnTo>
                <a:lnTo>
                  <a:pt x="4603" y="2218"/>
                </a:lnTo>
                <a:lnTo>
                  <a:pt x="4600" y="2218"/>
                </a:lnTo>
                <a:lnTo>
                  <a:pt x="4598" y="2219"/>
                </a:lnTo>
                <a:lnTo>
                  <a:pt x="4595" y="2219"/>
                </a:lnTo>
                <a:lnTo>
                  <a:pt x="4593" y="2221"/>
                </a:lnTo>
                <a:lnTo>
                  <a:pt x="4586" y="2232"/>
                </a:lnTo>
                <a:lnTo>
                  <a:pt x="4585" y="2234"/>
                </a:lnTo>
                <a:lnTo>
                  <a:pt x="4584" y="2237"/>
                </a:lnTo>
                <a:lnTo>
                  <a:pt x="4584" y="2237"/>
                </a:lnTo>
                <a:lnTo>
                  <a:pt x="4582" y="2236"/>
                </a:lnTo>
                <a:lnTo>
                  <a:pt x="4582" y="2237"/>
                </a:lnTo>
                <a:lnTo>
                  <a:pt x="4582" y="2238"/>
                </a:lnTo>
                <a:lnTo>
                  <a:pt x="4582" y="2238"/>
                </a:lnTo>
                <a:lnTo>
                  <a:pt x="4582" y="2238"/>
                </a:lnTo>
                <a:lnTo>
                  <a:pt x="4579" y="2236"/>
                </a:lnTo>
                <a:lnTo>
                  <a:pt x="4575" y="2234"/>
                </a:lnTo>
                <a:lnTo>
                  <a:pt x="4573" y="2234"/>
                </a:lnTo>
                <a:lnTo>
                  <a:pt x="4574" y="2228"/>
                </a:lnTo>
                <a:lnTo>
                  <a:pt x="4574" y="2227"/>
                </a:lnTo>
                <a:lnTo>
                  <a:pt x="4576" y="2230"/>
                </a:lnTo>
                <a:lnTo>
                  <a:pt x="4578" y="2232"/>
                </a:lnTo>
                <a:lnTo>
                  <a:pt x="4577" y="2227"/>
                </a:lnTo>
                <a:lnTo>
                  <a:pt x="4575" y="2221"/>
                </a:lnTo>
                <a:lnTo>
                  <a:pt x="4570" y="2215"/>
                </a:lnTo>
                <a:lnTo>
                  <a:pt x="4570" y="2213"/>
                </a:lnTo>
                <a:lnTo>
                  <a:pt x="4567" y="2208"/>
                </a:lnTo>
                <a:lnTo>
                  <a:pt x="4561" y="2206"/>
                </a:lnTo>
                <a:lnTo>
                  <a:pt x="4559" y="2202"/>
                </a:lnTo>
                <a:lnTo>
                  <a:pt x="4558" y="2202"/>
                </a:lnTo>
                <a:lnTo>
                  <a:pt x="4558" y="2201"/>
                </a:lnTo>
                <a:lnTo>
                  <a:pt x="4559" y="2201"/>
                </a:lnTo>
                <a:lnTo>
                  <a:pt x="4560" y="2202"/>
                </a:lnTo>
                <a:lnTo>
                  <a:pt x="4561" y="2201"/>
                </a:lnTo>
                <a:lnTo>
                  <a:pt x="4561" y="2201"/>
                </a:lnTo>
                <a:lnTo>
                  <a:pt x="4561" y="2199"/>
                </a:lnTo>
                <a:lnTo>
                  <a:pt x="4560" y="2198"/>
                </a:lnTo>
                <a:lnTo>
                  <a:pt x="4555" y="2198"/>
                </a:lnTo>
                <a:lnTo>
                  <a:pt x="4556" y="2197"/>
                </a:lnTo>
                <a:lnTo>
                  <a:pt x="4556" y="2195"/>
                </a:lnTo>
                <a:lnTo>
                  <a:pt x="4555" y="2193"/>
                </a:lnTo>
                <a:lnTo>
                  <a:pt x="4553" y="2191"/>
                </a:lnTo>
                <a:lnTo>
                  <a:pt x="4549" y="2194"/>
                </a:lnTo>
                <a:lnTo>
                  <a:pt x="4545" y="2194"/>
                </a:lnTo>
                <a:lnTo>
                  <a:pt x="4542" y="2190"/>
                </a:lnTo>
                <a:lnTo>
                  <a:pt x="4539" y="2186"/>
                </a:lnTo>
                <a:lnTo>
                  <a:pt x="4532" y="2188"/>
                </a:lnTo>
                <a:lnTo>
                  <a:pt x="4529" y="2185"/>
                </a:lnTo>
                <a:lnTo>
                  <a:pt x="4526" y="2183"/>
                </a:lnTo>
                <a:lnTo>
                  <a:pt x="4521" y="2181"/>
                </a:lnTo>
                <a:lnTo>
                  <a:pt x="4515" y="2179"/>
                </a:lnTo>
                <a:lnTo>
                  <a:pt x="4512" y="2182"/>
                </a:lnTo>
                <a:lnTo>
                  <a:pt x="4501" y="2182"/>
                </a:lnTo>
                <a:lnTo>
                  <a:pt x="4494" y="2182"/>
                </a:lnTo>
                <a:lnTo>
                  <a:pt x="4486" y="2182"/>
                </a:lnTo>
                <a:lnTo>
                  <a:pt x="4471" y="2190"/>
                </a:lnTo>
                <a:lnTo>
                  <a:pt x="4459" y="2193"/>
                </a:lnTo>
                <a:lnTo>
                  <a:pt x="4440" y="2192"/>
                </a:lnTo>
                <a:lnTo>
                  <a:pt x="4432" y="2198"/>
                </a:lnTo>
                <a:lnTo>
                  <a:pt x="4423" y="2203"/>
                </a:lnTo>
                <a:lnTo>
                  <a:pt x="4416" y="2204"/>
                </a:lnTo>
                <a:lnTo>
                  <a:pt x="4414" y="2205"/>
                </a:lnTo>
                <a:lnTo>
                  <a:pt x="4412" y="2215"/>
                </a:lnTo>
                <a:lnTo>
                  <a:pt x="4410" y="2216"/>
                </a:lnTo>
                <a:lnTo>
                  <a:pt x="4408" y="2218"/>
                </a:lnTo>
                <a:lnTo>
                  <a:pt x="4404" y="2220"/>
                </a:lnTo>
                <a:lnTo>
                  <a:pt x="4400" y="2222"/>
                </a:lnTo>
                <a:lnTo>
                  <a:pt x="4397" y="2222"/>
                </a:lnTo>
                <a:lnTo>
                  <a:pt x="4388" y="2222"/>
                </a:lnTo>
                <a:lnTo>
                  <a:pt x="4386" y="2221"/>
                </a:lnTo>
                <a:lnTo>
                  <a:pt x="4385" y="2221"/>
                </a:lnTo>
                <a:lnTo>
                  <a:pt x="4383" y="2218"/>
                </a:lnTo>
                <a:lnTo>
                  <a:pt x="4380" y="2220"/>
                </a:lnTo>
                <a:lnTo>
                  <a:pt x="4377" y="2219"/>
                </a:lnTo>
                <a:lnTo>
                  <a:pt x="4375" y="2218"/>
                </a:lnTo>
                <a:lnTo>
                  <a:pt x="4371" y="2219"/>
                </a:lnTo>
                <a:lnTo>
                  <a:pt x="4367" y="2220"/>
                </a:lnTo>
                <a:lnTo>
                  <a:pt x="4364" y="2220"/>
                </a:lnTo>
                <a:lnTo>
                  <a:pt x="4360" y="2221"/>
                </a:lnTo>
                <a:lnTo>
                  <a:pt x="4357" y="2220"/>
                </a:lnTo>
                <a:lnTo>
                  <a:pt x="4355" y="2220"/>
                </a:lnTo>
                <a:lnTo>
                  <a:pt x="4348" y="2224"/>
                </a:lnTo>
                <a:lnTo>
                  <a:pt x="4345" y="2230"/>
                </a:lnTo>
                <a:lnTo>
                  <a:pt x="4344" y="2230"/>
                </a:lnTo>
                <a:lnTo>
                  <a:pt x="4338" y="2230"/>
                </a:lnTo>
                <a:lnTo>
                  <a:pt x="4330" y="2237"/>
                </a:lnTo>
                <a:lnTo>
                  <a:pt x="4327" y="2239"/>
                </a:lnTo>
                <a:lnTo>
                  <a:pt x="4325" y="2240"/>
                </a:lnTo>
                <a:lnTo>
                  <a:pt x="4322" y="2239"/>
                </a:lnTo>
                <a:lnTo>
                  <a:pt x="4321" y="2240"/>
                </a:lnTo>
                <a:lnTo>
                  <a:pt x="4319" y="2240"/>
                </a:lnTo>
                <a:lnTo>
                  <a:pt x="4317" y="2238"/>
                </a:lnTo>
                <a:lnTo>
                  <a:pt x="4305" y="2239"/>
                </a:lnTo>
                <a:lnTo>
                  <a:pt x="4301" y="2237"/>
                </a:lnTo>
                <a:lnTo>
                  <a:pt x="4297" y="2235"/>
                </a:lnTo>
                <a:lnTo>
                  <a:pt x="4292" y="2229"/>
                </a:lnTo>
                <a:lnTo>
                  <a:pt x="4289" y="2228"/>
                </a:lnTo>
                <a:lnTo>
                  <a:pt x="4286" y="2226"/>
                </a:lnTo>
                <a:lnTo>
                  <a:pt x="4286" y="2227"/>
                </a:lnTo>
                <a:lnTo>
                  <a:pt x="4285" y="2227"/>
                </a:lnTo>
                <a:lnTo>
                  <a:pt x="4283" y="2226"/>
                </a:lnTo>
                <a:lnTo>
                  <a:pt x="4282" y="2220"/>
                </a:lnTo>
                <a:lnTo>
                  <a:pt x="4281" y="2213"/>
                </a:lnTo>
                <a:lnTo>
                  <a:pt x="4283" y="2215"/>
                </a:lnTo>
                <a:lnTo>
                  <a:pt x="4285" y="2218"/>
                </a:lnTo>
                <a:lnTo>
                  <a:pt x="4288" y="2218"/>
                </a:lnTo>
                <a:lnTo>
                  <a:pt x="4293" y="2211"/>
                </a:lnTo>
                <a:lnTo>
                  <a:pt x="4292" y="2201"/>
                </a:lnTo>
                <a:lnTo>
                  <a:pt x="4292" y="2199"/>
                </a:lnTo>
                <a:lnTo>
                  <a:pt x="4291" y="2199"/>
                </a:lnTo>
                <a:lnTo>
                  <a:pt x="4290" y="2200"/>
                </a:lnTo>
                <a:lnTo>
                  <a:pt x="4289" y="2201"/>
                </a:lnTo>
                <a:lnTo>
                  <a:pt x="4289" y="2198"/>
                </a:lnTo>
                <a:lnTo>
                  <a:pt x="4289" y="2197"/>
                </a:lnTo>
                <a:lnTo>
                  <a:pt x="4289" y="2185"/>
                </a:lnTo>
                <a:lnTo>
                  <a:pt x="4281" y="2163"/>
                </a:lnTo>
                <a:lnTo>
                  <a:pt x="4282" y="2160"/>
                </a:lnTo>
                <a:lnTo>
                  <a:pt x="4281" y="2156"/>
                </a:lnTo>
                <a:lnTo>
                  <a:pt x="4281" y="2147"/>
                </a:lnTo>
                <a:lnTo>
                  <a:pt x="4281" y="2145"/>
                </a:lnTo>
                <a:lnTo>
                  <a:pt x="4280" y="2142"/>
                </a:lnTo>
                <a:lnTo>
                  <a:pt x="4279" y="2139"/>
                </a:lnTo>
                <a:lnTo>
                  <a:pt x="4277" y="2136"/>
                </a:lnTo>
                <a:lnTo>
                  <a:pt x="4274" y="2131"/>
                </a:lnTo>
                <a:lnTo>
                  <a:pt x="4272" y="2128"/>
                </a:lnTo>
                <a:lnTo>
                  <a:pt x="4269" y="2124"/>
                </a:lnTo>
                <a:lnTo>
                  <a:pt x="4269" y="2117"/>
                </a:lnTo>
                <a:lnTo>
                  <a:pt x="4266" y="2109"/>
                </a:lnTo>
                <a:lnTo>
                  <a:pt x="4262" y="2102"/>
                </a:lnTo>
                <a:lnTo>
                  <a:pt x="4257" y="2095"/>
                </a:lnTo>
                <a:lnTo>
                  <a:pt x="4258" y="2094"/>
                </a:lnTo>
                <a:lnTo>
                  <a:pt x="4259" y="2094"/>
                </a:lnTo>
                <a:lnTo>
                  <a:pt x="4260" y="2094"/>
                </a:lnTo>
                <a:lnTo>
                  <a:pt x="4260" y="2095"/>
                </a:lnTo>
                <a:lnTo>
                  <a:pt x="4263" y="2102"/>
                </a:lnTo>
                <a:lnTo>
                  <a:pt x="4265" y="2098"/>
                </a:lnTo>
                <a:lnTo>
                  <a:pt x="4265" y="2095"/>
                </a:ln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lnTo>
                  <a:pt x="4264" y="2094"/>
                </a:lnTo>
                <a:lnTo>
                  <a:pt x="4264" y="2093"/>
                </a:lnTo>
                <a:lnTo>
                  <a:pt x="4266" y="2090"/>
                </a:lnTo>
                <a:lnTo>
                  <a:pt x="4266" y="2090"/>
                </a:lnTo>
                <a:lnTo>
                  <a:pt x="4266" y="2090"/>
                </a:lnTo>
                <a:lnTo>
                  <a:pt x="4269" y="2097"/>
                </a:lnTo>
                <a:lnTo>
                  <a:pt x="4269" y="2096"/>
                </a:lnTo>
                <a:lnTo>
                  <a:pt x="4269" y="2095"/>
                </a:lnTo>
                <a:lnTo>
                  <a:pt x="4269" y="2094"/>
                </a:lnTo>
                <a:lnTo>
                  <a:pt x="4271" y="2089"/>
                </a:lnTo>
                <a:lnTo>
                  <a:pt x="4264" y="2078"/>
                </a:lnTo>
                <a:lnTo>
                  <a:pt x="4264" y="2074"/>
                </a:lnTo>
                <a:lnTo>
                  <a:pt x="4263" y="2070"/>
                </a:lnTo>
                <a:lnTo>
                  <a:pt x="4261" y="2067"/>
                </a:lnTo>
                <a:lnTo>
                  <a:pt x="4259" y="2065"/>
                </a:lnTo>
                <a:lnTo>
                  <a:pt x="4260" y="2060"/>
                </a:lnTo>
                <a:lnTo>
                  <a:pt x="4260" y="2055"/>
                </a:lnTo>
                <a:lnTo>
                  <a:pt x="4262" y="2053"/>
                </a:lnTo>
                <a:lnTo>
                  <a:pt x="4264" y="2050"/>
                </a:lnTo>
                <a:lnTo>
                  <a:pt x="4265" y="2046"/>
                </a:lnTo>
                <a:lnTo>
                  <a:pt x="4266" y="2042"/>
                </a:lnTo>
                <a:lnTo>
                  <a:pt x="4263" y="2036"/>
                </a:lnTo>
                <a:lnTo>
                  <a:pt x="4265" y="2032"/>
                </a:lnTo>
                <a:lnTo>
                  <a:pt x="4267" y="2027"/>
                </a:lnTo>
                <a:lnTo>
                  <a:pt x="4271" y="2023"/>
                </a:lnTo>
                <a:lnTo>
                  <a:pt x="4270" y="2026"/>
                </a:lnTo>
                <a:lnTo>
                  <a:pt x="4270" y="2028"/>
                </a:lnTo>
                <a:lnTo>
                  <a:pt x="4270" y="2032"/>
                </a:lnTo>
                <a:lnTo>
                  <a:pt x="4271" y="2035"/>
                </a:lnTo>
                <a:lnTo>
                  <a:pt x="4274" y="2033"/>
                </a:lnTo>
                <a:lnTo>
                  <a:pt x="4276" y="2028"/>
                </a:lnTo>
                <a:lnTo>
                  <a:pt x="4278" y="2023"/>
                </a:lnTo>
                <a:lnTo>
                  <a:pt x="4284" y="2021"/>
                </a:lnTo>
                <a:lnTo>
                  <a:pt x="4290" y="2019"/>
                </a:lnTo>
                <a:lnTo>
                  <a:pt x="4297" y="2012"/>
                </a:lnTo>
                <a:lnTo>
                  <a:pt x="4302" y="2009"/>
                </a:lnTo>
                <a:lnTo>
                  <a:pt x="4307" y="2005"/>
                </a:lnTo>
                <a:lnTo>
                  <a:pt x="4308" y="2006"/>
                </a:lnTo>
                <a:lnTo>
                  <a:pt x="4309" y="2007"/>
                </a:lnTo>
                <a:lnTo>
                  <a:pt x="4310" y="2006"/>
                </a:lnTo>
                <a:lnTo>
                  <a:pt x="4312" y="2005"/>
                </a:lnTo>
                <a:lnTo>
                  <a:pt x="4317" y="2007"/>
                </a:lnTo>
                <a:lnTo>
                  <a:pt x="4319" y="2006"/>
                </a:lnTo>
                <a:lnTo>
                  <a:pt x="4322" y="2006"/>
                </a:lnTo>
                <a:lnTo>
                  <a:pt x="4327" y="2001"/>
                </a:lnTo>
                <a:lnTo>
                  <a:pt x="4337" y="2001"/>
                </a:lnTo>
                <a:lnTo>
                  <a:pt x="4339" y="1998"/>
                </a:lnTo>
                <a:lnTo>
                  <a:pt x="4341" y="1995"/>
                </a:lnTo>
                <a:lnTo>
                  <a:pt x="4348" y="1998"/>
                </a:lnTo>
                <a:lnTo>
                  <a:pt x="4359" y="1994"/>
                </a:lnTo>
                <a:lnTo>
                  <a:pt x="4365" y="1992"/>
                </a:lnTo>
                <a:lnTo>
                  <a:pt x="4370" y="1989"/>
                </a:lnTo>
                <a:lnTo>
                  <a:pt x="4375" y="1983"/>
                </a:lnTo>
                <a:lnTo>
                  <a:pt x="4377" y="1978"/>
                </a:lnTo>
                <a:lnTo>
                  <a:pt x="4380" y="1973"/>
                </a:lnTo>
                <a:lnTo>
                  <a:pt x="4383" y="1973"/>
                </a:lnTo>
                <a:lnTo>
                  <a:pt x="4384" y="1970"/>
                </a:lnTo>
                <a:lnTo>
                  <a:pt x="4385" y="1966"/>
                </a:lnTo>
                <a:lnTo>
                  <a:pt x="4385" y="1964"/>
                </a:lnTo>
                <a:lnTo>
                  <a:pt x="4385" y="1963"/>
                </a:lnTo>
                <a:lnTo>
                  <a:pt x="4385" y="1953"/>
                </a:lnTo>
                <a:lnTo>
                  <a:pt x="4387" y="1951"/>
                </a:lnTo>
                <a:lnTo>
                  <a:pt x="4388" y="1949"/>
                </a:lnTo>
                <a:lnTo>
                  <a:pt x="4389" y="1948"/>
                </a:lnTo>
                <a:lnTo>
                  <a:pt x="4389" y="1947"/>
                </a:lnTo>
                <a:lnTo>
                  <a:pt x="4391" y="1946"/>
                </a:lnTo>
                <a:lnTo>
                  <a:pt x="4393" y="1945"/>
                </a:lnTo>
                <a:lnTo>
                  <a:pt x="4393" y="1944"/>
                </a:lnTo>
                <a:lnTo>
                  <a:pt x="4395" y="1942"/>
                </a:lnTo>
                <a:lnTo>
                  <a:pt x="4396" y="1941"/>
                </a:lnTo>
                <a:lnTo>
                  <a:pt x="4399" y="1941"/>
                </a:lnTo>
                <a:lnTo>
                  <a:pt x="4398" y="1942"/>
                </a:lnTo>
                <a:lnTo>
                  <a:pt x="4397" y="1944"/>
                </a:lnTo>
                <a:lnTo>
                  <a:pt x="4404" y="1959"/>
                </a:lnTo>
                <a:lnTo>
                  <a:pt x="4405" y="1949"/>
                </a:lnTo>
                <a:lnTo>
                  <a:pt x="4405" y="1949"/>
                </a:lnTo>
                <a:lnTo>
                  <a:pt x="4405" y="1949"/>
                </a:lnTo>
                <a:lnTo>
                  <a:pt x="4411" y="1953"/>
                </a:lnTo>
                <a:lnTo>
                  <a:pt x="4410" y="1951"/>
                </a:lnTo>
                <a:lnTo>
                  <a:pt x="4408" y="1950"/>
                </a:lnTo>
                <a:lnTo>
                  <a:pt x="4411" y="1949"/>
                </a:lnTo>
                <a:lnTo>
                  <a:pt x="4408" y="1949"/>
                </a:lnTo>
                <a:lnTo>
                  <a:pt x="4407" y="1946"/>
                </a:lnTo>
                <a:lnTo>
                  <a:pt x="4407" y="1944"/>
                </a:lnTo>
                <a:lnTo>
                  <a:pt x="4406" y="1942"/>
                </a:lnTo>
                <a:lnTo>
                  <a:pt x="4404" y="1941"/>
                </a:lnTo>
                <a:lnTo>
                  <a:pt x="4407" y="1941"/>
                </a:lnTo>
                <a:lnTo>
                  <a:pt x="4406" y="1940"/>
                </a:lnTo>
                <a:lnTo>
                  <a:pt x="4405" y="1940"/>
                </a:lnTo>
                <a:lnTo>
                  <a:pt x="4405" y="1938"/>
                </a:lnTo>
                <a:lnTo>
                  <a:pt x="4406" y="1938"/>
                </a:lnTo>
                <a:lnTo>
                  <a:pt x="4408" y="1938"/>
                </a:lnTo>
                <a:lnTo>
                  <a:pt x="4411" y="1941"/>
                </a:lnTo>
                <a:lnTo>
                  <a:pt x="4411" y="1940"/>
                </a:lnTo>
                <a:lnTo>
                  <a:pt x="4412" y="1941"/>
                </a:lnTo>
                <a:lnTo>
                  <a:pt x="4415" y="1941"/>
                </a:lnTo>
                <a:lnTo>
                  <a:pt x="4418" y="1941"/>
                </a:lnTo>
                <a:lnTo>
                  <a:pt x="4425" y="1941"/>
                </a:lnTo>
                <a:lnTo>
                  <a:pt x="4417" y="1938"/>
                </a:lnTo>
                <a:lnTo>
                  <a:pt x="4417" y="1933"/>
                </a:lnTo>
                <a:lnTo>
                  <a:pt x="4418" y="1933"/>
                </a:lnTo>
                <a:lnTo>
                  <a:pt x="4419" y="1935"/>
                </a:lnTo>
                <a:lnTo>
                  <a:pt x="4419" y="1937"/>
                </a:lnTo>
                <a:lnTo>
                  <a:pt x="4420" y="1936"/>
                </a:lnTo>
                <a:lnTo>
                  <a:pt x="4421" y="1935"/>
                </a:lnTo>
                <a:lnTo>
                  <a:pt x="4421" y="1933"/>
                </a:lnTo>
                <a:lnTo>
                  <a:pt x="4423" y="1932"/>
                </a:lnTo>
                <a:lnTo>
                  <a:pt x="4421" y="1930"/>
                </a:lnTo>
                <a:lnTo>
                  <a:pt x="4420" y="1932"/>
                </a:lnTo>
                <a:lnTo>
                  <a:pt x="4419" y="1933"/>
                </a:lnTo>
                <a:lnTo>
                  <a:pt x="4418" y="1933"/>
                </a:lnTo>
                <a:lnTo>
                  <a:pt x="4417" y="1932"/>
                </a:lnTo>
                <a:lnTo>
                  <a:pt x="4417" y="1926"/>
                </a:lnTo>
                <a:lnTo>
                  <a:pt x="4419" y="1928"/>
                </a:lnTo>
                <a:lnTo>
                  <a:pt x="4419" y="1927"/>
                </a:lnTo>
                <a:lnTo>
                  <a:pt x="4418" y="1925"/>
                </a:lnTo>
                <a:lnTo>
                  <a:pt x="4420" y="1923"/>
                </a:lnTo>
                <a:lnTo>
                  <a:pt x="4421" y="1922"/>
                </a:lnTo>
                <a:lnTo>
                  <a:pt x="4421" y="1922"/>
                </a:lnTo>
                <a:lnTo>
                  <a:pt x="4421" y="1922"/>
                </a:lnTo>
                <a:lnTo>
                  <a:pt x="4421" y="1923"/>
                </a:lnTo>
                <a:lnTo>
                  <a:pt x="4422" y="1925"/>
                </a:lnTo>
                <a:lnTo>
                  <a:pt x="4423" y="1921"/>
                </a:lnTo>
                <a:lnTo>
                  <a:pt x="4423" y="1921"/>
                </a:lnTo>
                <a:lnTo>
                  <a:pt x="4423" y="1921"/>
                </a:lnTo>
                <a:lnTo>
                  <a:pt x="4425" y="1922"/>
                </a:lnTo>
                <a:lnTo>
                  <a:pt x="4426" y="1923"/>
                </a:lnTo>
                <a:lnTo>
                  <a:pt x="4427" y="1921"/>
                </a:lnTo>
                <a:lnTo>
                  <a:pt x="4426" y="1921"/>
                </a:lnTo>
                <a:lnTo>
                  <a:pt x="4425" y="1922"/>
                </a:lnTo>
                <a:lnTo>
                  <a:pt x="4425" y="1921"/>
                </a:lnTo>
                <a:lnTo>
                  <a:pt x="4425" y="1919"/>
                </a:lnTo>
                <a:lnTo>
                  <a:pt x="4428" y="1918"/>
                </a:lnTo>
                <a:lnTo>
                  <a:pt x="4428" y="1919"/>
                </a:lnTo>
                <a:lnTo>
                  <a:pt x="4429" y="1922"/>
                </a:lnTo>
                <a:lnTo>
                  <a:pt x="4429" y="1918"/>
                </a:lnTo>
                <a:lnTo>
                  <a:pt x="4429" y="1918"/>
                </a:lnTo>
                <a:lnTo>
                  <a:pt x="4429" y="1918"/>
                </a:lnTo>
                <a:lnTo>
                  <a:pt x="4429" y="1918"/>
                </a:lnTo>
                <a:lnTo>
                  <a:pt x="4430" y="1917"/>
                </a:lnTo>
                <a:lnTo>
                  <a:pt x="4430" y="1915"/>
                </a:lnTo>
                <a:lnTo>
                  <a:pt x="4431" y="1913"/>
                </a:lnTo>
                <a:lnTo>
                  <a:pt x="4433" y="1913"/>
                </a:lnTo>
                <a:lnTo>
                  <a:pt x="4433" y="1909"/>
                </a:lnTo>
                <a:lnTo>
                  <a:pt x="4437" y="1909"/>
                </a:lnTo>
                <a:lnTo>
                  <a:pt x="4437" y="1909"/>
                </a:lnTo>
                <a:lnTo>
                  <a:pt x="4437" y="1909"/>
                </a:lnTo>
                <a:lnTo>
                  <a:pt x="4437" y="1909"/>
                </a:lnTo>
                <a:lnTo>
                  <a:pt x="4437" y="1909"/>
                </a:lnTo>
                <a:lnTo>
                  <a:pt x="4437" y="1910"/>
                </a:lnTo>
                <a:lnTo>
                  <a:pt x="4438" y="1910"/>
                </a:lnTo>
                <a:lnTo>
                  <a:pt x="4438" y="1910"/>
                </a:lnTo>
                <a:lnTo>
                  <a:pt x="4440" y="1914"/>
                </a:lnTo>
                <a:lnTo>
                  <a:pt x="4441" y="1912"/>
                </a:lnTo>
                <a:lnTo>
                  <a:pt x="4443" y="1909"/>
                </a:lnTo>
                <a:lnTo>
                  <a:pt x="4444" y="1906"/>
                </a:lnTo>
                <a:lnTo>
                  <a:pt x="4443" y="1905"/>
                </a:lnTo>
                <a:lnTo>
                  <a:pt x="4441" y="1905"/>
                </a:lnTo>
                <a:lnTo>
                  <a:pt x="4441" y="1905"/>
                </a:lnTo>
                <a:lnTo>
                  <a:pt x="4441" y="1904"/>
                </a:lnTo>
                <a:lnTo>
                  <a:pt x="4443" y="1905"/>
                </a:lnTo>
                <a:lnTo>
                  <a:pt x="4445" y="1906"/>
                </a:lnTo>
                <a:lnTo>
                  <a:pt x="4446" y="1905"/>
                </a:lnTo>
                <a:lnTo>
                  <a:pt x="4446" y="1905"/>
                </a:lnTo>
                <a:lnTo>
                  <a:pt x="4448" y="1906"/>
                </a:lnTo>
                <a:lnTo>
                  <a:pt x="4453" y="1903"/>
                </a:lnTo>
                <a:lnTo>
                  <a:pt x="4452" y="1902"/>
                </a:lnTo>
                <a:lnTo>
                  <a:pt x="4452" y="1901"/>
                </a:lnTo>
                <a:lnTo>
                  <a:pt x="4452" y="1900"/>
                </a:lnTo>
                <a:lnTo>
                  <a:pt x="4453" y="1899"/>
                </a:lnTo>
                <a:lnTo>
                  <a:pt x="4456" y="1901"/>
                </a:lnTo>
                <a:lnTo>
                  <a:pt x="4457" y="1903"/>
                </a:lnTo>
                <a:lnTo>
                  <a:pt x="4458" y="1905"/>
                </a:lnTo>
                <a:lnTo>
                  <a:pt x="4460" y="1905"/>
                </a:lnTo>
                <a:lnTo>
                  <a:pt x="4470" y="1913"/>
                </a:lnTo>
                <a:lnTo>
                  <a:pt x="4472" y="1914"/>
                </a:lnTo>
                <a:lnTo>
                  <a:pt x="4471" y="1920"/>
                </a:lnTo>
                <a:lnTo>
                  <a:pt x="4471" y="1926"/>
                </a:lnTo>
                <a:lnTo>
                  <a:pt x="4471" y="1924"/>
                </a:lnTo>
                <a:lnTo>
                  <a:pt x="4472" y="1922"/>
                </a:lnTo>
                <a:lnTo>
                  <a:pt x="4472" y="1922"/>
                </a:lnTo>
                <a:lnTo>
                  <a:pt x="4472" y="1922"/>
                </a:lnTo>
                <a:lnTo>
                  <a:pt x="4473" y="1924"/>
                </a:lnTo>
                <a:lnTo>
                  <a:pt x="4474" y="1925"/>
                </a:lnTo>
                <a:lnTo>
                  <a:pt x="4473" y="1923"/>
                </a:lnTo>
                <a:lnTo>
                  <a:pt x="4472" y="1921"/>
                </a:lnTo>
                <a:lnTo>
                  <a:pt x="4473" y="1919"/>
                </a:lnTo>
                <a:lnTo>
                  <a:pt x="4473" y="1921"/>
                </a:lnTo>
                <a:lnTo>
                  <a:pt x="4478" y="1921"/>
                </a:lnTo>
                <a:lnTo>
                  <a:pt x="4477" y="1919"/>
                </a:lnTo>
                <a:lnTo>
                  <a:pt x="4475" y="1917"/>
                </a:lnTo>
                <a:lnTo>
                  <a:pt x="4475" y="1917"/>
                </a:lnTo>
                <a:lnTo>
                  <a:pt x="4475" y="1917"/>
                </a:lnTo>
                <a:lnTo>
                  <a:pt x="4479" y="1917"/>
                </a:lnTo>
                <a:lnTo>
                  <a:pt x="4483" y="1917"/>
                </a:lnTo>
                <a:lnTo>
                  <a:pt x="4486" y="1917"/>
                </a:lnTo>
                <a:lnTo>
                  <a:pt x="4486" y="1917"/>
                </a:lnTo>
                <a:lnTo>
                  <a:pt x="4491" y="1917"/>
                </a:lnTo>
                <a:lnTo>
                  <a:pt x="4495" y="1922"/>
                </a:lnTo>
                <a:lnTo>
                  <a:pt x="4494" y="1920"/>
                </a:lnTo>
                <a:lnTo>
                  <a:pt x="4494" y="1918"/>
                </a:lnTo>
                <a:lnTo>
                  <a:pt x="4494" y="1916"/>
                </a:lnTo>
                <a:lnTo>
                  <a:pt x="4494" y="1915"/>
                </a:lnTo>
                <a:lnTo>
                  <a:pt x="4494" y="1915"/>
                </a:lnTo>
                <a:lnTo>
                  <a:pt x="4494" y="1915"/>
                </a:lnTo>
                <a:lnTo>
                  <a:pt x="4494" y="1915"/>
                </a:lnTo>
                <a:lnTo>
                  <a:pt x="4493" y="1912"/>
                </a:lnTo>
                <a:lnTo>
                  <a:pt x="4492" y="1911"/>
                </a:lnTo>
                <a:lnTo>
                  <a:pt x="4490" y="1910"/>
                </a:lnTo>
                <a:lnTo>
                  <a:pt x="4490" y="1909"/>
                </a:lnTo>
                <a:lnTo>
                  <a:pt x="4492" y="1906"/>
                </a:lnTo>
                <a:lnTo>
                  <a:pt x="4495" y="1904"/>
                </a:lnTo>
                <a:lnTo>
                  <a:pt x="4496" y="1900"/>
                </a:lnTo>
                <a:lnTo>
                  <a:pt x="4498" y="1897"/>
                </a:lnTo>
                <a:lnTo>
                  <a:pt x="4500" y="1897"/>
                </a:lnTo>
                <a:lnTo>
                  <a:pt x="4502" y="1895"/>
                </a:lnTo>
                <a:lnTo>
                  <a:pt x="4503" y="1892"/>
                </a:lnTo>
                <a:lnTo>
                  <a:pt x="4501" y="1892"/>
                </a:lnTo>
                <a:lnTo>
                  <a:pt x="4498" y="1891"/>
                </a:lnTo>
                <a:lnTo>
                  <a:pt x="4498" y="1889"/>
                </a:lnTo>
                <a:lnTo>
                  <a:pt x="4502" y="1889"/>
                </a:lnTo>
                <a:lnTo>
                  <a:pt x="4502" y="1885"/>
                </a:lnTo>
                <a:lnTo>
                  <a:pt x="4506" y="1885"/>
                </a:lnTo>
                <a:lnTo>
                  <a:pt x="4507" y="1884"/>
                </a:lnTo>
                <a:lnTo>
                  <a:pt x="4508" y="1884"/>
                </a:lnTo>
                <a:lnTo>
                  <a:pt x="4507" y="1883"/>
                </a:lnTo>
                <a:lnTo>
                  <a:pt x="4506" y="1883"/>
                </a:lnTo>
                <a:lnTo>
                  <a:pt x="4506" y="1881"/>
                </a:lnTo>
                <a:lnTo>
                  <a:pt x="4512" y="1881"/>
                </a:lnTo>
                <a:lnTo>
                  <a:pt x="4512" y="1880"/>
                </a:lnTo>
                <a:lnTo>
                  <a:pt x="4512" y="1881"/>
                </a:lnTo>
                <a:lnTo>
                  <a:pt x="4513" y="1883"/>
                </a:lnTo>
                <a:lnTo>
                  <a:pt x="4515" y="1881"/>
                </a:lnTo>
                <a:lnTo>
                  <a:pt x="4513" y="1880"/>
                </a:lnTo>
                <a:lnTo>
                  <a:pt x="4512" y="1879"/>
                </a:lnTo>
                <a:lnTo>
                  <a:pt x="4512" y="1878"/>
                </a:lnTo>
                <a:lnTo>
                  <a:pt x="4514" y="1879"/>
                </a:lnTo>
                <a:lnTo>
                  <a:pt x="4514" y="1876"/>
                </a:lnTo>
                <a:lnTo>
                  <a:pt x="4517" y="1878"/>
                </a:lnTo>
                <a:lnTo>
                  <a:pt x="4520" y="1881"/>
                </a:lnTo>
                <a:lnTo>
                  <a:pt x="4531" y="1881"/>
                </a:lnTo>
                <a:lnTo>
                  <a:pt x="4534" y="1878"/>
                </a:lnTo>
                <a:lnTo>
                  <a:pt x="4534" y="1877"/>
                </a:lnTo>
                <a:lnTo>
                  <a:pt x="4534" y="1877"/>
                </a:lnTo>
                <a:lnTo>
                  <a:pt x="4534" y="1878"/>
                </a:lnTo>
                <a:lnTo>
                  <a:pt x="4534" y="1879"/>
                </a:lnTo>
                <a:lnTo>
                  <a:pt x="4534" y="1876"/>
                </a:lnTo>
                <a:lnTo>
                  <a:pt x="4538" y="1877"/>
                </a:lnTo>
                <a:lnTo>
                  <a:pt x="4538" y="1869"/>
                </a:lnTo>
                <a:lnTo>
                  <a:pt x="4538" y="1869"/>
                </a:lnTo>
                <a:lnTo>
                  <a:pt x="4538" y="1869"/>
                </a:lnTo>
                <a:lnTo>
                  <a:pt x="4538" y="1867"/>
                </a:lnTo>
                <a:lnTo>
                  <a:pt x="4538" y="1869"/>
                </a:lnTo>
                <a:lnTo>
                  <a:pt x="4536" y="1867"/>
                </a:lnTo>
                <a:lnTo>
                  <a:pt x="4535" y="1865"/>
                </a:lnTo>
                <a:lnTo>
                  <a:pt x="4533" y="1866"/>
                </a:lnTo>
                <a:lnTo>
                  <a:pt x="4531" y="1867"/>
                </a:lnTo>
                <a:lnTo>
                  <a:pt x="4529" y="1866"/>
                </a:lnTo>
                <a:lnTo>
                  <a:pt x="4528" y="1865"/>
                </a:lnTo>
                <a:lnTo>
                  <a:pt x="4526" y="1865"/>
                </a:lnTo>
                <a:lnTo>
                  <a:pt x="4527" y="1863"/>
                </a:lnTo>
                <a:lnTo>
                  <a:pt x="4528" y="1861"/>
                </a:lnTo>
                <a:lnTo>
                  <a:pt x="4528" y="1861"/>
                </a:lnTo>
                <a:lnTo>
                  <a:pt x="4528" y="1861"/>
                </a:lnTo>
                <a:lnTo>
                  <a:pt x="4530" y="1865"/>
                </a:lnTo>
                <a:lnTo>
                  <a:pt x="4530" y="1864"/>
                </a:lnTo>
                <a:lnTo>
                  <a:pt x="4530" y="1862"/>
                </a:lnTo>
                <a:lnTo>
                  <a:pt x="4531" y="1861"/>
                </a:lnTo>
                <a:lnTo>
                  <a:pt x="4534" y="1861"/>
                </a:lnTo>
                <a:lnTo>
                  <a:pt x="4538" y="1867"/>
                </a:lnTo>
                <a:lnTo>
                  <a:pt x="4540" y="1865"/>
                </a:lnTo>
                <a:lnTo>
                  <a:pt x="4541" y="1864"/>
                </a:lnTo>
                <a:lnTo>
                  <a:pt x="4541" y="1864"/>
                </a:lnTo>
                <a:lnTo>
                  <a:pt x="4541" y="1864"/>
                </a:lnTo>
                <a:lnTo>
                  <a:pt x="4546" y="1869"/>
                </a:lnTo>
                <a:lnTo>
                  <a:pt x="4547" y="1868"/>
                </a:lnTo>
                <a:lnTo>
                  <a:pt x="4548" y="1867"/>
                </a:lnTo>
                <a:lnTo>
                  <a:pt x="4550" y="1869"/>
                </a:lnTo>
                <a:lnTo>
                  <a:pt x="4553" y="1871"/>
                </a:lnTo>
                <a:lnTo>
                  <a:pt x="4554" y="1870"/>
                </a:lnTo>
                <a:lnTo>
                  <a:pt x="4554" y="1873"/>
                </a:lnTo>
                <a:lnTo>
                  <a:pt x="4556" y="1873"/>
                </a:lnTo>
                <a:lnTo>
                  <a:pt x="4559" y="1873"/>
                </a:lnTo>
                <a:lnTo>
                  <a:pt x="4560" y="1874"/>
                </a:lnTo>
                <a:lnTo>
                  <a:pt x="4560" y="1875"/>
                </a:lnTo>
                <a:lnTo>
                  <a:pt x="4564" y="1874"/>
                </a:lnTo>
                <a:lnTo>
                  <a:pt x="4568" y="1872"/>
                </a:lnTo>
                <a:lnTo>
                  <a:pt x="4571" y="1876"/>
                </a:lnTo>
                <a:lnTo>
                  <a:pt x="4574" y="1879"/>
                </a:lnTo>
                <a:lnTo>
                  <a:pt x="4575" y="1877"/>
                </a:lnTo>
                <a:lnTo>
                  <a:pt x="4578" y="1877"/>
                </a:lnTo>
                <a:lnTo>
                  <a:pt x="4578" y="1873"/>
                </a:lnTo>
                <a:lnTo>
                  <a:pt x="4582" y="1873"/>
                </a:lnTo>
                <a:lnTo>
                  <a:pt x="4582" y="1875"/>
                </a:lnTo>
                <a:lnTo>
                  <a:pt x="4582" y="1876"/>
                </a:lnTo>
                <a:lnTo>
                  <a:pt x="4581" y="1876"/>
                </a:lnTo>
                <a:lnTo>
                  <a:pt x="4581" y="1877"/>
                </a:lnTo>
                <a:lnTo>
                  <a:pt x="4582" y="1878"/>
                </a:lnTo>
                <a:lnTo>
                  <a:pt x="4586" y="1875"/>
                </a:lnTo>
                <a:lnTo>
                  <a:pt x="4586" y="1876"/>
                </a:lnTo>
                <a:lnTo>
                  <a:pt x="4586" y="1877"/>
                </a:lnTo>
                <a:lnTo>
                  <a:pt x="4587" y="1877"/>
                </a:lnTo>
                <a:lnTo>
                  <a:pt x="4586" y="1878"/>
                </a:lnTo>
                <a:lnTo>
                  <a:pt x="4586" y="1879"/>
                </a:lnTo>
                <a:lnTo>
                  <a:pt x="4586" y="1880"/>
                </a:lnTo>
                <a:lnTo>
                  <a:pt x="4587" y="1881"/>
                </a:lnTo>
                <a:lnTo>
                  <a:pt x="4589" y="1880"/>
                </a:lnTo>
                <a:lnTo>
                  <a:pt x="4591" y="1879"/>
                </a:lnTo>
                <a:lnTo>
                  <a:pt x="4593" y="1877"/>
                </a:lnTo>
                <a:lnTo>
                  <a:pt x="4589" y="1877"/>
                </a:lnTo>
                <a:lnTo>
                  <a:pt x="4592" y="1875"/>
                </a:lnTo>
                <a:lnTo>
                  <a:pt x="4594" y="1874"/>
                </a:lnTo>
                <a:lnTo>
                  <a:pt x="4594" y="1878"/>
                </a:lnTo>
                <a:lnTo>
                  <a:pt x="4596" y="1877"/>
                </a:lnTo>
                <a:lnTo>
                  <a:pt x="4598" y="1876"/>
                </a:lnTo>
                <a:lnTo>
                  <a:pt x="4600" y="1879"/>
                </a:lnTo>
                <a:lnTo>
                  <a:pt x="4599" y="1879"/>
                </a:lnTo>
                <a:lnTo>
                  <a:pt x="4597" y="1880"/>
                </a:lnTo>
                <a:lnTo>
                  <a:pt x="4594" y="1885"/>
                </a:lnTo>
                <a:lnTo>
                  <a:pt x="4594" y="1885"/>
                </a:lnTo>
                <a:lnTo>
                  <a:pt x="4594" y="1885"/>
                </a:lnTo>
                <a:lnTo>
                  <a:pt x="4592" y="1884"/>
                </a:lnTo>
                <a:lnTo>
                  <a:pt x="4590" y="1884"/>
                </a:lnTo>
                <a:lnTo>
                  <a:pt x="4590" y="1889"/>
                </a:lnTo>
                <a:lnTo>
                  <a:pt x="4590" y="1889"/>
                </a:lnTo>
                <a:lnTo>
                  <a:pt x="4589" y="1891"/>
                </a:lnTo>
                <a:lnTo>
                  <a:pt x="4589" y="1892"/>
                </a:lnTo>
                <a:lnTo>
                  <a:pt x="4587" y="1891"/>
                </a:lnTo>
                <a:lnTo>
                  <a:pt x="4586" y="1892"/>
                </a:lnTo>
                <a:lnTo>
                  <a:pt x="4585" y="1892"/>
                </a:lnTo>
                <a:lnTo>
                  <a:pt x="4584" y="1895"/>
                </a:lnTo>
                <a:lnTo>
                  <a:pt x="4582" y="1898"/>
                </a:lnTo>
                <a:lnTo>
                  <a:pt x="4582" y="1901"/>
                </a:lnTo>
                <a:lnTo>
                  <a:pt x="4587" y="1901"/>
                </a:lnTo>
                <a:lnTo>
                  <a:pt x="4584" y="1908"/>
                </a:lnTo>
                <a:lnTo>
                  <a:pt x="4583" y="1909"/>
                </a:lnTo>
                <a:lnTo>
                  <a:pt x="4581" y="1911"/>
                </a:lnTo>
                <a:lnTo>
                  <a:pt x="4580" y="1914"/>
                </a:lnTo>
                <a:lnTo>
                  <a:pt x="4579" y="1917"/>
                </a:lnTo>
                <a:lnTo>
                  <a:pt x="4578" y="1917"/>
                </a:lnTo>
                <a:lnTo>
                  <a:pt x="4583" y="1921"/>
                </a:lnTo>
                <a:lnTo>
                  <a:pt x="4589" y="1926"/>
                </a:lnTo>
                <a:lnTo>
                  <a:pt x="4590" y="1926"/>
                </a:lnTo>
                <a:lnTo>
                  <a:pt x="4591" y="1927"/>
                </a:lnTo>
                <a:lnTo>
                  <a:pt x="4597" y="1933"/>
                </a:lnTo>
                <a:lnTo>
                  <a:pt x="4601" y="1933"/>
                </a:lnTo>
                <a:lnTo>
                  <a:pt x="4612" y="1938"/>
                </a:lnTo>
                <a:lnTo>
                  <a:pt x="4616" y="1945"/>
                </a:lnTo>
                <a:lnTo>
                  <a:pt x="4623" y="1946"/>
                </a:lnTo>
                <a:lnTo>
                  <a:pt x="4630" y="1948"/>
                </a:lnTo>
                <a:lnTo>
                  <a:pt x="4632" y="1952"/>
                </a:lnTo>
                <a:lnTo>
                  <a:pt x="4634" y="1956"/>
                </a:lnTo>
                <a:lnTo>
                  <a:pt x="4645" y="1961"/>
                </a:lnTo>
                <a:lnTo>
                  <a:pt x="4651" y="1961"/>
                </a:lnTo>
                <a:lnTo>
                  <a:pt x="4655" y="1957"/>
                </a:lnTo>
                <a:lnTo>
                  <a:pt x="4657" y="1949"/>
                </a:lnTo>
                <a:lnTo>
                  <a:pt x="4659" y="1946"/>
                </a:lnTo>
                <a:lnTo>
                  <a:pt x="4660" y="1944"/>
                </a:lnTo>
                <a:lnTo>
                  <a:pt x="4662" y="1939"/>
                </a:lnTo>
                <a:lnTo>
                  <a:pt x="4662" y="1935"/>
                </a:lnTo>
                <a:lnTo>
                  <a:pt x="4662" y="1926"/>
                </a:lnTo>
                <a:lnTo>
                  <a:pt x="4665" y="1922"/>
                </a:lnTo>
                <a:lnTo>
                  <a:pt x="4668" y="1918"/>
                </a:lnTo>
                <a:lnTo>
                  <a:pt x="4667" y="1914"/>
                </a:lnTo>
                <a:lnTo>
                  <a:pt x="4666" y="1910"/>
                </a:lnTo>
                <a:lnTo>
                  <a:pt x="4666" y="1905"/>
                </a:lnTo>
                <a:lnTo>
                  <a:pt x="4665" y="1901"/>
                </a:lnTo>
                <a:lnTo>
                  <a:pt x="4666" y="1896"/>
                </a:lnTo>
                <a:lnTo>
                  <a:pt x="4668" y="1892"/>
                </a:lnTo>
                <a:lnTo>
                  <a:pt x="4667" y="1890"/>
                </a:lnTo>
                <a:lnTo>
                  <a:pt x="4667" y="1887"/>
                </a:lnTo>
                <a:lnTo>
                  <a:pt x="4669" y="1886"/>
                </a:lnTo>
                <a:lnTo>
                  <a:pt x="4671" y="1884"/>
                </a:lnTo>
                <a:lnTo>
                  <a:pt x="4671" y="1884"/>
                </a:lnTo>
                <a:lnTo>
                  <a:pt x="4671" y="1884"/>
                </a:lnTo>
                <a:lnTo>
                  <a:pt x="4671" y="1885"/>
                </a:lnTo>
                <a:lnTo>
                  <a:pt x="4672" y="1886"/>
                </a:lnTo>
                <a:lnTo>
                  <a:pt x="4671" y="1884"/>
                </a:lnTo>
                <a:lnTo>
                  <a:pt x="4671" y="1881"/>
                </a:lnTo>
                <a:lnTo>
                  <a:pt x="4669" y="1880"/>
                </a:lnTo>
                <a:lnTo>
                  <a:pt x="4668" y="1879"/>
                </a:lnTo>
                <a:lnTo>
                  <a:pt x="4668" y="1880"/>
                </a:lnTo>
                <a:lnTo>
                  <a:pt x="4668" y="1881"/>
                </a:lnTo>
                <a:lnTo>
                  <a:pt x="4666" y="1881"/>
                </a:lnTo>
                <a:lnTo>
                  <a:pt x="4666" y="1877"/>
                </a:lnTo>
                <a:lnTo>
                  <a:pt x="4668" y="1877"/>
                </a:lnTo>
                <a:lnTo>
                  <a:pt x="4667" y="1878"/>
                </a:lnTo>
                <a:lnTo>
                  <a:pt x="4667" y="1879"/>
                </a:lnTo>
                <a:lnTo>
                  <a:pt x="4670" y="1873"/>
                </a:lnTo>
                <a:lnTo>
                  <a:pt x="4670" y="1877"/>
                </a:lnTo>
                <a:lnTo>
                  <a:pt x="4673" y="1877"/>
                </a:lnTo>
                <a:lnTo>
                  <a:pt x="4672" y="1875"/>
                </a:lnTo>
                <a:lnTo>
                  <a:pt x="4672" y="1873"/>
                </a:lnTo>
                <a:lnTo>
                  <a:pt x="4672" y="1873"/>
                </a:lnTo>
                <a:lnTo>
                  <a:pt x="4673" y="1868"/>
                </a:lnTo>
                <a:lnTo>
                  <a:pt x="4674" y="1864"/>
                </a:lnTo>
                <a:lnTo>
                  <a:pt x="4674" y="1858"/>
                </a:lnTo>
                <a:lnTo>
                  <a:pt x="4676" y="1857"/>
                </a:lnTo>
                <a:lnTo>
                  <a:pt x="4678" y="1856"/>
                </a:lnTo>
                <a:lnTo>
                  <a:pt x="4679" y="1855"/>
                </a:lnTo>
                <a:lnTo>
                  <a:pt x="4679" y="1853"/>
                </a:lnTo>
                <a:lnTo>
                  <a:pt x="4680" y="1854"/>
                </a:lnTo>
                <a:lnTo>
                  <a:pt x="4681" y="1855"/>
                </a:lnTo>
                <a:lnTo>
                  <a:pt x="4680" y="1856"/>
                </a:lnTo>
                <a:lnTo>
                  <a:pt x="4679" y="1858"/>
                </a:lnTo>
                <a:lnTo>
                  <a:pt x="4680" y="1857"/>
                </a:lnTo>
                <a:lnTo>
                  <a:pt x="4681" y="1856"/>
                </a:lnTo>
                <a:lnTo>
                  <a:pt x="4683" y="1858"/>
                </a:lnTo>
                <a:lnTo>
                  <a:pt x="4684" y="1860"/>
                </a:lnTo>
                <a:lnTo>
                  <a:pt x="4686" y="1871"/>
                </a:lnTo>
                <a:lnTo>
                  <a:pt x="4688" y="1872"/>
                </a:lnTo>
                <a:lnTo>
                  <a:pt x="4690" y="1872"/>
                </a:lnTo>
                <a:lnTo>
                  <a:pt x="4689" y="1875"/>
                </a:lnTo>
                <a:lnTo>
                  <a:pt x="4688" y="1878"/>
                </a:lnTo>
                <a:lnTo>
                  <a:pt x="4689" y="1878"/>
                </a:lnTo>
                <a:lnTo>
                  <a:pt x="4690" y="1879"/>
                </a:lnTo>
                <a:lnTo>
                  <a:pt x="4690" y="1881"/>
                </a:lnTo>
                <a:lnTo>
                  <a:pt x="4692" y="1882"/>
                </a:lnTo>
                <a:lnTo>
                  <a:pt x="4693" y="1883"/>
                </a:lnTo>
                <a:lnTo>
                  <a:pt x="4693" y="1886"/>
                </a:lnTo>
                <a:lnTo>
                  <a:pt x="4693" y="1889"/>
                </a:lnTo>
                <a:lnTo>
                  <a:pt x="4694" y="1889"/>
                </a:lnTo>
                <a:lnTo>
                  <a:pt x="4694" y="1895"/>
                </a:lnTo>
                <a:lnTo>
                  <a:pt x="4694" y="1899"/>
                </a:lnTo>
                <a:lnTo>
                  <a:pt x="4696" y="1906"/>
                </a:lnTo>
                <a:lnTo>
                  <a:pt x="4698" y="1913"/>
                </a:lnTo>
                <a:lnTo>
                  <a:pt x="4701" y="1913"/>
                </a:lnTo>
                <a:lnTo>
                  <a:pt x="4709" y="1907"/>
                </a:lnTo>
                <a:lnTo>
                  <a:pt x="4710" y="1909"/>
                </a:lnTo>
                <a:lnTo>
                  <a:pt x="4712" y="1913"/>
                </a:lnTo>
                <a:lnTo>
                  <a:pt x="4714" y="1913"/>
                </a:lnTo>
                <a:lnTo>
                  <a:pt x="4715" y="1914"/>
                </a:lnTo>
                <a:lnTo>
                  <a:pt x="4715" y="1915"/>
                </a:lnTo>
                <a:lnTo>
                  <a:pt x="4720" y="1917"/>
                </a:lnTo>
                <a:lnTo>
                  <a:pt x="4719" y="1919"/>
                </a:lnTo>
                <a:lnTo>
                  <a:pt x="4718" y="1921"/>
                </a:lnTo>
                <a:lnTo>
                  <a:pt x="4718" y="1925"/>
                </a:lnTo>
                <a:lnTo>
                  <a:pt x="4720" y="1930"/>
                </a:lnTo>
                <a:lnTo>
                  <a:pt x="4722" y="1935"/>
                </a:lnTo>
                <a:lnTo>
                  <a:pt x="4722" y="1941"/>
                </a:lnTo>
                <a:lnTo>
                  <a:pt x="4725" y="1945"/>
                </a:lnTo>
                <a:lnTo>
                  <a:pt x="4728" y="1949"/>
                </a:lnTo>
                <a:lnTo>
                  <a:pt x="4731" y="1949"/>
                </a:lnTo>
                <a:lnTo>
                  <a:pt x="4728" y="1950"/>
                </a:lnTo>
                <a:lnTo>
                  <a:pt x="4730" y="1955"/>
                </a:lnTo>
                <a:lnTo>
                  <a:pt x="4733" y="1960"/>
                </a:lnTo>
                <a:lnTo>
                  <a:pt x="4731" y="1964"/>
                </a:lnTo>
                <a:lnTo>
                  <a:pt x="4731" y="1968"/>
                </a:lnTo>
                <a:lnTo>
                  <a:pt x="4733" y="1969"/>
                </a:lnTo>
                <a:lnTo>
                  <a:pt x="4733" y="1969"/>
                </a:lnTo>
                <a:lnTo>
                  <a:pt x="4735" y="1971"/>
                </a:lnTo>
                <a:lnTo>
                  <a:pt x="4737" y="1971"/>
                </a:lnTo>
                <a:lnTo>
                  <a:pt x="4735" y="1972"/>
                </a:lnTo>
                <a:lnTo>
                  <a:pt x="4735" y="1972"/>
                </a:lnTo>
                <a:lnTo>
                  <a:pt x="4735" y="1973"/>
                </a:lnTo>
                <a:lnTo>
                  <a:pt x="4735" y="1972"/>
                </a:lnTo>
                <a:lnTo>
                  <a:pt x="4735" y="1978"/>
                </a:lnTo>
                <a:lnTo>
                  <a:pt x="4739" y="1984"/>
                </a:lnTo>
                <a:lnTo>
                  <a:pt x="4747" y="1988"/>
                </a:lnTo>
                <a:lnTo>
                  <a:pt x="4747" y="1984"/>
                </a:lnTo>
                <a:lnTo>
                  <a:pt x="4749" y="1985"/>
                </a:lnTo>
                <a:lnTo>
                  <a:pt x="4751" y="1986"/>
                </a:lnTo>
                <a:lnTo>
                  <a:pt x="4754" y="1997"/>
                </a:lnTo>
                <a:lnTo>
                  <a:pt x="4755" y="1997"/>
                </a:lnTo>
                <a:lnTo>
                  <a:pt x="4762" y="1997"/>
                </a:lnTo>
                <a:lnTo>
                  <a:pt x="4766" y="2000"/>
                </a:lnTo>
                <a:lnTo>
                  <a:pt x="4766" y="1997"/>
                </a:lnTo>
                <a:lnTo>
                  <a:pt x="4767" y="1995"/>
                </a:lnTo>
                <a:lnTo>
                  <a:pt x="4767" y="1995"/>
                </a:lnTo>
                <a:lnTo>
                  <a:pt x="4767" y="1995"/>
                </a:lnTo>
                <a:lnTo>
                  <a:pt x="4772" y="1999"/>
                </a:lnTo>
                <a:lnTo>
                  <a:pt x="4774" y="2002"/>
                </a:lnTo>
                <a:lnTo>
                  <a:pt x="4775" y="2005"/>
                </a:lnTo>
                <a:lnTo>
                  <a:pt x="4775" y="2005"/>
                </a:lnTo>
                <a:lnTo>
                  <a:pt x="4773" y="2005"/>
                </a:lnTo>
                <a:lnTo>
                  <a:pt x="4773" y="2003"/>
                </a:lnTo>
                <a:lnTo>
                  <a:pt x="4773" y="2002"/>
                </a:lnTo>
                <a:lnTo>
                  <a:pt x="4772" y="2004"/>
                </a:lnTo>
                <a:lnTo>
                  <a:pt x="4771" y="2005"/>
                </a:lnTo>
                <a:lnTo>
                  <a:pt x="4772" y="2007"/>
                </a:lnTo>
                <a:lnTo>
                  <a:pt x="4772" y="2009"/>
                </a:lnTo>
                <a:lnTo>
                  <a:pt x="4779" y="2012"/>
                </a:lnTo>
                <a:lnTo>
                  <a:pt x="4779" y="2016"/>
                </a:lnTo>
                <a:lnTo>
                  <a:pt x="4779" y="2018"/>
                </a:lnTo>
                <a:lnTo>
                  <a:pt x="4779" y="2021"/>
                </a:lnTo>
                <a:lnTo>
                  <a:pt x="4779" y="2028"/>
                </a:lnTo>
                <a:lnTo>
                  <a:pt x="4781" y="2030"/>
                </a:lnTo>
                <a:lnTo>
                  <a:pt x="4783" y="2032"/>
                </a:lnTo>
                <a:lnTo>
                  <a:pt x="4783" y="2035"/>
                </a:lnTo>
                <a:lnTo>
                  <a:pt x="4785" y="2033"/>
                </a:lnTo>
                <a:lnTo>
                  <a:pt x="4787" y="2032"/>
                </a:lnTo>
                <a:lnTo>
                  <a:pt x="4787" y="2032"/>
                </a:lnTo>
                <a:lnTo>
                  <a:pt x="4787" y="2032"/>
                </a:lnTo>
                <a:lnTo>
                  <a:pt x="4790" y="2036"/>
                </a:lnTo>
                <a:lnTo>
                  <a:pt x="4788" y="2032"/>
                </a:lnTo>
                <a:lnTo>
                  <a:pt x="4790" y="2029"/>
                </a:lnTo>
                <a:lnTo>
                  <a:pt x="4791" y="2033"/>
                </a:lnTo>
                <a:lnTo>
                  <a:pt x="4793" y="2034"/>
                </a:lnTo>
                <a:lnTo>
                  <a:pt x="4795" y="2035"/>
                </a:lnTo>
                <a:lnTo>
                  <a:pt x="4795" y="2033"/>
                </a:lnTo>
                <a:lnTo>
                  <a:pt x="4797" y="2033"/>
                </a:lnTo>
                <a:lnTo>
                  <a:pt x="4797" y="2033"/>
                </a:lnTo>
                <a:lnTo>
                  <a:pt x="4798" y="2036"/>
                </a:lnTo>
                <a:lnTo>
                  <a:pt x="4799" y="2039"/>
                </a:lnTo>
                <a:lnTo>
                  <a:pt x="4799" y="2044"/>
                </a:lnTo>
                <a:lnTo>
                  <a:pt x="4801" y="2047"/>
                </a:lnTo>
                <a:lnTo>
                  <a:pt x="4802" y="2050"/>
                </a:lnTo>
                <a:lnTo>
                  <a:pt x="4805" y="2051"/>
                </a:lnTo>
                <a:lnTo>
                  <a:pt x="4805" y="2053"/>
                </a:lnTo>
                <a:lnTo>
                  <a:pt x="4806" y="2055"/>
                </a:lnTo>
                <a:lnTo>
                  <a:pt x="4812" y="2060"/>
                </a:lnTo>
                <a:lnTo>
                  <a:pt x="4814" y="2059"/>
                </a:lnTo>
                <a:lnTo>
                  <a:pt x="4814" y="2058"/>
                </a:lnTo>
                <a:lnTo>
                  <a:pt x="4816" y="2061"/>
                </a:lnTo>
                <a:lnTo>
                  <a:pt x="4818" y="2064"/>
                </a:lnTo>
                <a:lnTo>
                  <a:pt x="4820" y="2067"/>
                </a:lnTo>
                <a:lnTo>
                  <a:pt x="4823" y="2072"/>
                </a:lnTo>
                <a:lnTo>
                  <a:pt x="4825" y="2075"/>
                </a:lnTo>
                <a:lnTo>
                  <a:pt x="4826" y="2079"/>
                </a:lnTo>
                <a:lnTo>
                  <a:pt x="4827" y="2080"/>
                </a:lnTo>
                <a:lnTo>
                  <a:pt x="4827" y="2083"/>
                </a:lnTo>
                <a:lnTo>
                  <a:pt x="4831" y="2079"/>
                </a:lnTo>
                <a:lnTo>
                  <a:pt x="4834" y="2077"/>
                </a:lnTo>
                <a:lnTo>
                  <a:pt x="4835" y="2075"/>
                </a:lnTo>
                <a:lnTo>
                  <a:pt x="4835" y="2073"/>
                </a:lnTo>
                <a:lnTo>
                  <a:pt x="4834" y="2072"/>
                </a:lnTo>
                <a:lnTo>
                  <a:pt x="4835" y="2071"/>
                </a:lnTo>
                <a:lnTo>
                  <a:pt x="4835" y="2070"/>
                </a:lnTo>
                <a:lnTo>
                  <a:pt x="4836" y="2072"/>
                </a:lnTo>
                <a:lnTo>
                  <a:pt x="4837" y="2075"/>
                </a:lnTo>
                <a:lnTo>
                  <a:pt x="4834" y="2086"/>
                </a:lnTo>
                <a:lnTo>
                  <a:pt x="4834" y="2086"/>
                </a:lnTo>
                <a:lnTo>
                  <a:pt x="4834" y="2086"/>
                </a:lnTo>
                <a:lnTo>
                  <a:pt x="4827" y="2083"/>
                </a:lnTo>
                <a:lnTo>
                  <a:pt x="4827" y="2086"/>
                </a:lnTo>
                <a:lnTo>
                  <a:pt x="4831" y="2088"/>
                </a:lnTo>
                <a:lnTo>
                  <a:pt x="4834" y="2090"/>
                </a:lnTo>
                <a:lnTo>
                  <a:pt x="4833" y="2093"/>
                </a:lnTo>
                <a:lnTo>
                  <a:pt x="4831" y="2095"/>
                </a:lnTo>
                <a:lnTo>
                  <a:pt x="4831" y="2108"/>
                </a:lnTo>
                <a:lnTo>
                  <a:pt x="4831" y="2109"/>
                </a:lnTo>
                <a:lnTo>
                  <a:pt x="4831" y="2112"/>
                </a:lnTo>
                <a:lnTo>
                  <a:pt x="4833" y="2113"/>
                </a:lnTo>
                <a:lnTo>
                  <a:pt x="4834" y="2114"/>
                </a:lnTo>
                <a:close/>
                <a:moveTo>
                  <a:pt x="4668" y="1879"/>
                </a:moveTo>
                <a:lnTo>
                  <a:pt x="4667" y="1880"/>
                </a:lnTo>
                <a:lnTo>
                  <a:pt x="4667" y="1881"/>
                </a:lnTo>
                <a:lnTo>
                  <a:pt x="4668" y="1881"/>
                </a:lnTo>
                <a:lnTo>
                  <a:pt x="4668" y="1879"/>
                </a:lnTo>
                <a:lnTo>
                  <a:pt x="4668" y="1879"/>
                </a:lnTo>
                <a:close/>
                <a:moveTo>
                  <a:pt x="4292" y="2198"/>
                </a:moveTo>
                <a:lnTo>
                  <a:pt x="4292" y="2198"/>
                </a:lnTo>
                <a:lnTo>
                  <a:pt x="4292" y="2198"/>
                </a:lnTo>
                <a:lnTo>
                  <a:pt x="4290" y="2198"/>
                </a:lnTo>
                <a:lnTo>
                  <a:pt x="4290" y="2199"/>
                </a:lnTo>
                <a:lnTo>
                  <a:pt x="4292" y="2199"/>
                </a:lnTo>
                <a:lnTo>
                  <a:pt x="4292" y="2199"/>
                </a:lnTo>
                <a:lnTo>
                  <a:pt x="4292" y="2198"/>
                </a:lnTo>
                <a:close/>
                <a:moveTo>
                  <a:pt x="4433" y="1921"/>
                </a:moveTo>
                <a:lnTo>
                  <a:pt x="4430" y="1918"/>
                </a:lnTo>
                <a:lnTo>
                  <a:pt x="4431" y="1921"/>
                </a:lnTo>
                <a:lnTo>
                  <a:pt x="4433" y="1921"/>
                </a:lnTo>
                <a:close/>
                <a:moveTo>
                  <a:pt x="4498" y="1917"/>
                </a:moveTo>
                <a:lnTo>
                  <a:pt x="4497" y="1917"/>
                </a:lnTo>
                <a:lnTo>
                  <a:pt x="4497" y="1917"/>
                </a:lnTo>
                <a:lnTo>
                  <a:pt x="4497" y="1917"/>
                </a:lnTo>
                <a:lnTo>
                  <a:pt x="4498" y="1917"/>
                </a:lnTo>
                <a:close/>
                <a:moveTo>
                  <a:pt x="4634" y="2246"/>
                </a:moveTo>
                <a:lnTo>
                  <a:pt x="4632" y="2246"/>
                </a:lnTo>
                <a:lnTo>
                  <a:pt x="4631" y="2246"/>
                </a:lnTo>
                <a:lnTo>
                  <a:pt x="4632" y="2246"/>
                </a:lnTo>
                <a:lnTo>
                  <a:pt x="4633" y="2248"/>
                </a:lnTo>
                <a:lnTo>
                  <a:pt x="4634" y="2250"/>
                </a:lnTo>
                <a:lnTo>
                  <a:pt x="4634" y="2250"/>
                </a:lnTo>
                <a:lnTo>
                  <a:pt x="4634" y="2246"/>
                </a:lnTo>
                <a:close/>
                <a:moveTo>
                  <a:pt x="4835" y="1859"/>
                </a:moveTo>
                <a:lnTo>
                  <a:pt x="4834" y="1859"/>
                </a:lnTo>
                <a:lnTo>
                  <a:pt x="4835" y="1860"/>
                </a:lnTo>
                <a:lnTo>
                  <a:pt x="4835" y="1862"/>
                </a:lnTo>
                <a:lnTo>
                  <a:pt x="4835" y="1862"/>
                </a:lnTo>
                <a:lnTo>
                  <a:pt x="4835" y="1859"/>
                </a:lnTo>
                <a:close/>
                <a:moveTo>
                  <a:pt x="4884" y="1808"/>
                </a:moveTo>
                <a:lnTo>
                  <a:pt x="4884" y="1808"/>
                </a:lnTo>
                <a:lnTo>
                  <a:pt x="4884" y="1809"/>
                </a:lnTo>
                <a:lnTo>
                  <a:pt x="4885" y="1811"/>
                </a:lnTo>
                <a:lnTo>
                  <a:pt x="4887" y="1812"/>
                </a:lnTo>
                <a:lnTo>
                  <a:pt x="4888" y="1809"/>
                </a:lnTo>
                <a:lnTo>
                  <a:pt x="4886" y="1808"/>
                </a:lnTo>
                <a:lnTo>
                  <a:pt x="4884" y="1808"/>
                </a:lnTo>
                <a:close/>
                <a:moveTo>
                  <a:pt x="4898" y="1824"/>
                </a:moveTo>
                <a:lnTo>
                  <a:pt x="4897" y="1824"/>
                </a:lnTo>
                <a:lnTo>
                  <a:pt x="4899" y="1827"/>
                </a:lnTo>
                <a:lnTo>
                  <a:pt x="4899" y="1826"/>
                </a:lnTo>
                <a:lnTo>
                  <a:pt x="4898" y="1824"/>
                </a:lnTo>
                <a:close/>
                <a:moveTo>
                  <a:pt x="4893" y="1812"/>
                </a:moveTo>
                <a:lnTo>
                  <a:pt x="4892" y="1812"/>
                </a:lnTo>
                <a:lnTo>
                  <a:pt x="4892" y="1811"/>
                </a:lnTo>
                <a:lnTo>
                  <a:pt x="4891" y="1813"/>
                </a:lnTo>
                <a:lnTo>
                  <a:pt x="4891" y="1814"/>
                </a:lnTo>
                <a:lnTo>
                  <a:pt x="4893" y="1815"/>
                </a:lnTo>
                <a:lnTo>
                  <a:pt x="4893" y="1812"/>
                </a:lnTo>
                <a:close/>
                <a:moveTo>
                  <a:pt x="4859" y="891"/>
                </a:moveTo>
                <a:lnTo>
                  <a:pt x="4861" y="886"/>
                </a:lnTo>
                <a:lnTo>
                  <a:pt x="4859" y="887"/>
                </a:lnTo>
                <a:lnTo>
                  <a:pt x="4855" y="894"/>
                </a:lnTo>
                <a:lnTo>
                  <a:pt x="4859" y="894"/>
                </a:lnTo>
                <a:lnTo>
                  <a:pt x="4859" y="891"/>
                </a:lnTo>
                <a:close/>
                <a:moveTo>
                  <a:pt x="4903" y="1822"/>
                </a:moveTo>
                <a:lnTo>
                  <a:pt x="4903" y="1820"/>
                </a:lnTo>
                <a:lnTo>
                  <a:pt x="4903" y="1820"/>
                </a:lnTo>
                <a:lnTo>
                  <a:pt x="4901" y="1820"/>
                </a:lnTo>
                <a:lnTo>
                  <a:pt x="4899" y="1820"/>
                </a:lnTo>
                <a:lnTo>
                  <a:pt x="4899" y="1814"/>
                </a:lnTo>
                <a:lnTo>
                  <a:pt x="4898" y="1812"/>
                </a:lnTo>
                <a:lnTo>
                  <a:pt x="4898" y="1812"/>
                </a:lnTo>
                <a:lnTo>
                  <a:pt x="4897" y="1812"/>
                </a:lnTo>
                <a:lnTo>
                  <a:pt x="4894" y="1815"/>
                </a:lnTo>
                <a:lnTo>
                  <a:pt x="4893" y="1817"/>
                </a:lnTo>
                <a:lnTo>
                  <a:pt x="4893" y="1817"/>
                </a:lnTo>
                <a:lnTo>
                  <a:pt x="4895" y="1818"/>
                </a:lnTo>
                <a:lnTo>
                  <a:pt x="4895" y="1818"/>
                </a:lnTo>
                <a:lnTo>
                  <a:pt x="4895" y="1818"/>
                </a:lnTo>
                <a:lnTo>
                  <a:pt x="4895" y="1820"/>
                </a:lnTo>
                <a:lnTo>
                  <a:pt x="4896" y="1820"/>
                </a:lnTo>
                <a:lnTo>
                  <a:pt x="4895" y="1821"/>
                </a:lnTo>
                <a:lnTo>
                  <a:pt x="4893" y="1823"/>
                </a:lnTo>
                <a:lnTo>
                  <a:pt x="4896" y="1823"/>
                </a:lnTo>
                <a:lnTo>
                  <a:pt x="4899" y="1824"/>
                </a:lnTo>
                <a:lnTo>
                  <a:pt x="4904" y="1824"/>
                </a:lnTo>
                <a:lnTo>
                  <a:pt x="4905" y="1824"/>
                </a:lnTo>
                <a:lnTo>
                  <a:pt x="4905" y="1824"/>
                </a:lnTo>
                <a:lnTo>
                  <a:pt x="4904" y="1824"/>
                </a:lnTo>
                <a:lnTo>
                  <a:pt x="4903" y="1824"/>
                </a:lnTo>
                <a:lnTo>
                  <a:pt x="4903" y="1822"/>
                </a:lnTo>
                <a:lnTo>
                  <a:pt x="4902" y="1823"/>
                </a:lnTo>
                <a:lnTo>
                  <a:pt x="4903" y="1822"/>
                </a:lnTo>
                <a:close/>
                <a:moveTo>
                  <a:pt x="4884" y="863"/>
                </a:moveTo>
                <a:lnTo>
                  <a:pt x="4880" y="864"/>
                </a:lnTo>
                <a:lnTo>
                  <a:pt x="4880" y="867"/>
                </a:lnTo>
                <a:lnTo>
                  <a:pt x="4884" y="867"/>
                </a:lnTo>
                <a:lnTo>
                  <a:pt x="4884" y="863"/>
                </a:lnTo>
                <a:close/>
                <a:moveTo>
                  <a:pt x="4905" y="1821"/>
                </a:moveTo>
                <a:lnTo>
                  <a:pt x="4905" y="1821"/>
                </a:lnTo>
                <a:lnTo>
                  <a:pt x="4904" y="1821"/>
                </a:lnTo>
                <a:lnTo>
                  <a:pt x="4905" y="1821"/>
                </a:lnTo>
                <a:close/>
                <a:moveTo>
                  <a:pt x="4891" y="1816"/>
                </a:moveTo>
                <a:lnTo>
                  <a:pt x="4891" y="1818"/>
                </a:lnTo>
                <a:lnTo>
                  <a:pt x="4893" y="1817"/>
                </a:lnTo>
                <a:lnTo>
                  <a:pt x="4892" y="1816"/>
                </a:lnTo>
                <a:lnTo>
                  <a:pt x="4891" y="1816"/>
                </a:lnTo>
                <a:close/>
                <a:moveTo>
                  <a:pt x="4891" y="1801"/>
                </a:moveTo>
                <a:lnTo>
                  <a:pt x="4894" y="1803"/>
                </a:lnTo>
                <a:lnTo>
                  <a:pt x="4897" y="1805"/>
                </a:lnTo>
                <a:lnTo>
                  <a:pt x="4898" y="1804"/>
                </a:lnTo>
                <a:lnTo>
                  <a:pt x="4898" y="1803"/>
                </a:lnTo>
                <a:lnTo>
                  <a:pt x="4893" y="1801"/>
                </a:lnTo>
                <a:lnTo>
                  <a:pt x="4892" y="1798"/>
                </a:lnTo>
                <a:lnTo>
                  <a:pt x="4892" y="1796"/>
                </a:lnTo>
                <a:lnTo>
                  <a:pt x="4889" y="1796"/>
                </a:lnTo>
                <a:lnTo>
                  <a:pt x="4886" y="1796"/>
                </a:lnTo>
                <a:lnTo>
                  <a:pt x="4882" y="1796"/>
                </a:lnTo>
                <a:lnTo>
                  <a:pt x="4886" y="1798"/>
                </a:lnTo>
                <a:lnTo>
                  <a:pt x="4891" y="1801"/>
                </a:lnTo>
                <a:close/>
                <a:moveTo>
                  <a:pt x="4869" y="1803"/>
                </a:moveTo>
                <a:lnTo>
                  <a:pt x="4869" y="1805"/>
                </a:lnTo>
                <a:lnTo>
                  <a:pt x="4872" y="1805"/>
                </a:lnTo>
                <a:lnTo>
                  <a:pt x="4869" y="1803"/>
                </a:lnTo>
                <a:lnTo>
                  <a:pt x="4869" y="1803"/>
                </a:lnTo>
                <a:close/>
                <a:moveTo>
                  <a:pt x="4871" y="1793"/>
                </a:moveTo>
                <a:lnTo>
                  <a:pt x="4871" y="1791"/>
                </a:lnTo>
                <a:lnTo>
                  <a:pt x="4869" y="1788"/>
                </a:lnTo>
                <a:lnTo>
                  <a:pt x="4867" y="1786"/>
                </a:lnTo>
                <a:lnTo>
                  <a:pt x="4867" y="1783"/>
                </a:lnTo>
                <a:lnTo>
                  <a:pt x="4866" y="1782"/>
                </a:lnTo>
                <a:lnTo>
                  <a:pt x="4865" y="1780"/>
                </a:lnTo>
                <a:lnTo>
                  <a:pt x="4864" y="1780"/>
                </a:lnTo>
                <a:lnTo>
                  <a:pt x="4863" y="1780"/>
                </a:lnTo>
                <a:lnTo>
                  <a:pt x="4855" y="1780"/>
                </a:lnTo>
                <a:lnTo>
                  <a:pt x="4855" y="1783"/>
                </a:lnTo>
                <a:lnTo>
                  <a:pt x="4859" y="1786"/>
                </a:lnTo>
                <a:lnTo>
                  <a:pt x="4861" y="1786"/>
                </a:lnTo>
                <a:lnTo>
                  <a:pt x="4863" y="1787"/>
                </a:lnTo>
                <a:lnTo>
                  <a:pt x="4863" y="1791"/>
                </a:lnTo>
                <a:lnTo>
                  <a:pt x="4864" y="1792"/>
                </a:lnTo>
                <a:lnTo>
                  <a:pt x="4865" y="1793"/>
                </a:lnTo>
                <a:lnTo>
                  <a:pt x="4868" y="1794"/>
                </a:lnTo>
                <a:lnTo>
                  <a:pt x="4870" y="1795"/>
                </a:lnTo>
                <a:lnTo>
                  <a:pt x="4871" y="1793"/>
                </a:lnTo>
                <a:close/>
                <a:moveTo>
                  <a:pt x="4872" y="1799"/>
                </a:moveTo>
                <a:lnTo>
                  <a:pt x="4872" y="1800"/>
                </a:lnTo>
                <a:lnTo>
                  <a:pt x="4872" y="1800"/>
                </a:lnTo>
                <a:lnTo>
                  <a:pt x="4872" y="1801"/>
                </a:lnTo>
                <a:lnTo>
                  <a:pt x="4874" y="1800"/>
                </a:lnTo>
                <a:lnTo>
                  <a:pt x="4872" y="1799"/>
                </a:lnTo>
                <a:lnTo>
                  <a:pt x="4872" y="1799"/>
                </a:lnTo>
                <a:close/>
                <a:moveTo>
                  <a:pt x="4870" y="861"/>
                </a:moveTo>
                <a:lnTo>
                  <a:pt x="4869" y="861"/>
                </a:lnTo>
                <a:lnTo>
                  <a:pt x="4870" y="863"/>
                </a:lnTo>
                <a:lnTo>
                  <a:pt x="4873" y="863"/>
                </a:lnTo>
                <a:lnTo>
                  <a:pt x="4870" y="861"/>
                </a:lnTo>
                <a:close/>
                <a:moveTo>
                  <a:pt x="4876" y="867"/>
                </a:moveTo>
                <a:lnTo>
                  <a:pt x="4873" y="872"/>
                </a:lnTo>
                <a:lnTo>
                  <a:pt x="4868" y="872"/>
                </a:lnTo>
                <a:lnTo>
                  <a:pt x="4863" y="873"/>
                </a:lnTo>
                <a:lnTo>
                  <a:pt x="4863" y="879"/>
                </a:lnTo>
                <a:lnTo>
                  <a:pt x="4869" y="877"/>
                </a:lnTo>
                <a:lnTo>
                  <a:pt x="4875" y="875"/>
                </a:lnTo>
                <a:lnTo>
                  <a:pt x="4880" y="870"/>
                </a:lnTo>
                <a:lnTo>
                  <a:pt x="4878" y="865"/>
                </a:lnTo>
                <a:lnTo>
                  <a:pt x="4876" y="867"/>
                </a:lnTo>
                <a:close/>
                <a:moveTo>
                  <a:pt x="4879" y="865"/>
                </a:moveTo>
                <a:lnTo>
                  <a:pt x="4879" y="865"/>
                </a:lnTo>
                <a:lnTo>
                  <a:pt x="4879" y="865"/>
                </a:lnTo>
                <a:lnTo>
                  <a:pt x="4879" y="865"/>
                </a:lnTo>
                <a:close/>
                <a:moveTo>
                  <a:pt x="4835" y="2070"/>
                </a:moveTo>
                <a:lnTo>
                  <a:pt x="4835" y="2070"/>
                </a:lnTo>
                <a:lnTo>
                  <a:pt x="4835" y="2070"/>
                </a:lnTo>
                <a:lnTo>
                  <a:pt x="4835" y="2070"/>
                </a:lnTo>
                <a:lnTo>
                  <a:pt x="4835" y="2070"/>
                </a:lnTo>
                <a:close/>
                <a:moveTo>
                  <a:pt x="4749" y="2383"/>
                </a:moveTo>
                <a:lnTo>
                  <a:pt x="4748" y="2384"/>
                </a:lnTo>
                <a:lnTo>
                  <a:pt x="4747" y="2385"/>
                </a:lnTo>
                <a:lnTo>
                  <a:pt x="4748" y="2387"/>
                </a:lnTo>
                <a:lnTo>
                  <a:pt x="4750" y="2388"/>
                </a:lnTo>
                <a:lnTo>
                  <a:pt x="4751" y="2385"/>
                </a:lnTo>
                <a:lnTo>
                  <a:pt x="4750" y="2383"/>
                </a:lnTo>
                <a:lnTo>
                  <a:pt x="4750" y="2383"/>
                </a:lnTo>
                <a:lnTo>
                  <a:pt x="4749" y="2383"/>
                </a:lnTo>
                <a:close/>
                <a:moveTo>
                  <a:pt x="4606" y="775"/>
                </a:moveTo>
                <a:lnTo>
                  <a:pt x="4606" y="775"/>
                </a:lnTo>
                <a:lnTo>
                  <a:pt x="4606" y="775"/>
                </a:lnTo>
                <a:lnTo>
                  <a:pt x="4606" y="775"/>
                </a:lnTo>
                <a:close/>
                <a:moveTo>
                  <a:pt x="4608" y="794"/>
                </a:moveTo>
                <a:lnTo>
                  <a:pt x="4612" y="792"/>
                </a:lnTo>
                <a:lnTo>
                  <a:pt x="4612" y="792"/>
                </a:lnTo>
                <a:lnTo>
                  <a:pt x="4611" y="792"/>
                </a:lnTo>
                <a:lnTo>
                  <a:pt x="4607" y="794"/>
                </a:lnTo>
                <a:lnTo>
                  <a:pt x="4604" y="796"/>
                </a:lnTo>
                <a:lnTo>
                  <a:pt x="4604" y="796"/>
                </a:lnTo>
                <a:lnTo>
                  <a:pt x="4608" y="794"/>
                </a:lnTo>
                <a:close/>
                <a:moveTo>
                  <a:pt x="4602" y="796"/>
                </a:moveTo>
                <a:lnTo>
                  <a:pt x="4603" y="797"/>
                </a:lnTo>
                <a:lnTo>
                  <a:pt x="4604" y="796"/>
                </a:lnTo>
                <a:lnTo>
                  <a:pt x="4602" y="796"/>
                </a:lnTo>
                <a:close/>
                <a:moveTo>
                  <a:pt x="4606" y="775"/>
                </a:moveTo>
                <a:lnTo>
                  <a:pt x="4601" y="778"/>
                </a:lnTo>
                <a:lnTo>
                  <a:pt x="4596" y="780"/>
                </a:lnTo>
                <a:lnTo>
                  <a:pt x="4602" y="780"/>
                </a:lnTo>
                <a:lnTo>
                  <a:pt x="4606" y="775"/>
                </a:lnTo>
                <a:close/>
                <a:moveTo>
                  <a:pt x="4610" y="786"/>
                </a:moveTo>
                <a:lnTo>
                  <a:pt x="4610" y="786"/>
                </a:lnTo>
                <a:lnTo>
                  <a:pt x="4609" y="789"/>
                </a:lnTo>
                <a:lnTo>
                  <a:pt x="4610" y="790"/>
                </a:lnTo>
                <a:lnTo>
                  <a:pt x="4610" y="790"/>
                </a:lnTo>
                <a:lnTo>
                  <a:pt x="4610" y="786"/>
                </a:lnTo>
                <a:close/>
                <a:moveTo>
                  <a:pt x="4447" y="1118"/>
                </a:moveTo>
                <a:lnTo>
                  <a:pt x="4447" y="1118"/>
                </a:lnTo>
                <a:lnTo>
                  <a:pt x="4445" y="1118"/>
                </a:lnTo>
                <a:lnTo>
                  <a:pt x="4445" y="1122"/>
                </a:lnTo>
                <a:lnTo>
                  <a:pt x="4446" y="1122"/>
                </a:lnTo>
                <a:lnTo>
                  <a:pt x="4447" y="1120"/>
                </a:lnTo>
                <a:lnTo>
                  <a:pt x="4447" y="1118"/>
                </a:lnTo>
                <a:close/>
                <a:moveTo>
                  <a:pt x="4618" y="778"/>
                </a:moveTo>
                <a:lnTo>
                  <a:pt x="4614" y="776"/>
                </a:lnTo>
                <a:lnTo>
                  <a:pt x="4610" y="774"/>
                </a:lnTo>
                <a:lnTo>
                  <a:pt x="4605" y="784"/>
                </a:lnTo>
                <a:lnTo>
                  <a:pt x="4609" y="780"/>
                </a:lnTo>
                <a:lnTo>
                  <a:pt x="4610" y="783"/>
                </a:lnTo>
                <a:lnTo>
                  <a:pt x="4612" y="786"/>
                </a:lnTo>
                <a:lnTo>
                  <a:pt x="4618" y="778"/>
                </a:lnTo>
                <a:close/>
                <a:moveTo>
                  <a:pt x="4602" y="799"/>
                </a:moveTo>
                <a:lnTo>
                  <a:pt x="4604" y="799"/>
                </a:lnTo>
                <a:lnTo>
                  <a:pt x="4605" y="799"/>
                </a:lnTo>
                <a:lnTo>
                  <a:pt x="4603" y="797"/>
                </a:lnTo>
                <a:lnTo>
                  <a:pt x="4602" y="797"/>
                </a:lnTo>
                <a:lnTo>
                  <a:pt x="4602" y="799"/>
                </a:lnTo>
                <a:close/>
                <a:moveTo>
                  <a:pt x="4506" y="1015"/>
                </a:moveTo>
                <a:lnTo>
                  <a:pt x="4506" y="1015"/>
                </a:lnTo>
                <a:lnTo>
                  <a:pt x="4506" y="1015"/>
                </a:lnTo>
                <a:lnTo>
                  <a:pt x="4506" y="1015"/>
                </a:lnTo>
                <a:close/>
                <a:moveTo>
                  <a:pt x="3385" y="1073"/>
                </a:moveTo>
                <a:lnTo>
                  <a:pt x="3390" y="1073"/>
                </a:lnTo>
                <a:lnTo>
                  <a:pt x="3385" y="1071"/>
                </a:lnTo>
                <a:lnTo>
                  <a:pt x="3385" y="1073"/>
                </a:lnTo>
                <a:close/>
                <a:moveTo>
                  <a:pt x="3303" y="965"/>
                </a:moveTo>
                <a:lnTo>
                  <a:pt x="3303" y="965"/>
                </a:lnTo>
                <a:lnTo>
                  <a:pt x="3303" y="965"/>
                </a:lnTo>
                <a:lnTo>
                  <a:pt x="3303" y="965"/>
                </a:lnTo>
                <a:lnTo>
                  <a:pt x="3303" y="965"/>
                </a:lnTo>
                <a:close/>
                <a:moveTo>
                  <a:pt x="3317" y="957"/>
                </a:moveTo>
                <a:lnTo>
                  <a:pt x="3317" y="957"/>
                </a:lnTo>
                <a:lnTo>
                  <a:pt x="3317" y="957"/>
                </a:lnTo>
                <a:lnTo>
                  <a:pt x="3317" y="957"/>
                </a:lnTo>
                <a:close/>
                <a:moveTo>
                  <a:pt x="3194" y="1809"/>
                </a:moveTo>
                <a:lnTo>
                  <a:pt x="3189" y="1813"/>
                </a:lnTo>
                <a:lnTo>
                  <a:pt x="3193" y="1813"/>
                </a:lnTo>
                <a:lnTo>
                  <a:pt x="3194" y="1809"/>
                </a:lnTo>
                <a:close/>
                <a:moveTo>
                  <a:pt x="5373" y="529"/>
                </a:moveTo>
                <a:lnTo>
                  <a:pt x="5373" y="530"/>
                </a:lnTo>
                <a:lnTo>
                  <a:pt x="5366" y="529"/>
                </a:lnTo>
                <a:lnTo>
                  <a:pt x="5360" y="535"/>
                </a:lnTo>
                <a:lnTo>
                  <a:pt x="5361" y="535"/>
                </a:lnTo>
                <a:lnTo>
                  <a:pt x="5361" y="537"/>
                </a:lnTo>
                <a:lnTo>
                  <a:pt x="5360" y="538"/>
                </a:lnTo>
                <a:lnTo>
                  <a:pt x="5347" y="533"/>
                </a:lnTo>
                <a:lnTo>
                  <a:pt x="5354" y="541"/>
                </a:lnTo>
                <a:lnTo>
                  <a:pt x="5352" y="542"/>
                </a:lnTo>
                <a:lnTo>
                  <a:pt x="5348" y="541"/>
                </a:lnTo>
                <a:lnTo>
                  <a:pt x="5342" y="542"/>
                </a:lnTo>
                <a:lnTo>
                  <a:pt x="5342" y="542"/>
                </a:lnTo>
                <a:lnTo>
                  <a:pt x="5343" y="543"/>
                </a:lnTo>
                <a:lnTo>
                  <a:pt x="5340" y="543"/>
                </a:lnTo>
                <a:lnTo>
                  <a:pt x="5342" y="542"/>
                </a:lnTo>
                <a:lnTo>
                  <a:pt x="5338" y="541"/>
                </a:lnTo>
                <a:lnTo>
                  <a:pt x="5336" y="541"/>
                </a:lnTo>
                <a:lnTo>
                  <a:pt x="5335" y="538"/>
                </a:lnTo>
                <a:lnTo>
                  <a:pt x="5329" y="537"/>
                </a:lnTo>
                <a:lnTo>
                  <a:pt x="5331" y="539"/>
                </a:lnTo>
                <a:lnTo>
                  <a:pt x="5333" y="542"/>
                </a:lnTo>
                <a:lnTo>
                  <a:pt x="5334" y="544"/>
                </a:lnTo>
                <a:lnTo>
                  <a:pt x="5335" y="547"/>
                </a:lnTo>
                <a:lnTo>
                  <a:pt x="5337" y="547"/>
                </a:lnTo>
                <a:lnTo>
                  <a:pt x="5336" y="550"/>
                </a:lnTo>
                <a:lnTo>
                  <a:pt x="5337" y="552"/>
                </a:lnTo>
                <a:lnTo>
                  <a:pt x="5335" y="554"/>
                </a:lnTo>
                <a:lnTo>
                  <a:pt x="5333" y="556"/>
                </a:lnTo>
                <a:lnTo>
                  <a:pt x="5329" y="558"/>
                </a:lnTo>
                <a:lnTo>
                  <a:pt x="5327" y="558"/>
                </a:lnTo>
                <a:lnTo>
                  <a:pt x="5329" y="560"/>
                </a:lnTo>
                <a:lnTo>
                  <a:pt x="5326" y="560"/>
                </a:lnTo>
                <a:lnTo>
                  <a:pt x="5324" y="561"/>
                </a:lnTo>
                <a:lnTo>
                  <a:pt x="5333" y="565"/>
                </a:lnTo>
                <a:lnTo>
                  <a:pt x="5334" y="566"/>
                </a:lnTo>
                <a:lnTo>
                  <a:pt x="5335" y="567"/>
                </a:lnTo>
                <a:lnTo>
                  <a:pt x="5332" y="569"/>
                </a:lnTo>
                <a:lnTo>
                  <a:pt x="5328" y="565"/>
                </a:lnTo>
                <a:lnTo>
                  <a:pt x="5327" y="566"/>
                </a:lnTo>
                <a:lnTo>
                  <a:pt x="5325" y="567"/>
                </a:lnTo>
                <a:lnTo>
                  <a:pt x="5325" y="568"/>
                </a:lnTo>
                <a:lnTo>
                  <a:pt x="5325" y="569"/>
                </a:lnTo>
                <a:lnTo>
                  <a:pt x="5325" y="569"/>
                </a:lnTo>
                <a:lnTo>
                  <a:pt x="5323" y="570"/>
                </a:lnTo>
                <a:lnTo>
                  <a:pt x="5322" y="571"/>
                </a:lnTo>
                <a:lnTo>
                  <a:pt x="5320" y="570"/>
                </a:lnTo>
                <a:lnTo>
                  <a:pt x="5319" y="569"/>
                </a:lnTo>
                <a:lnTo>
                  <a:pt x="5320" y="568"/>
                </a:lnTo>
                <a:lnTo>
                  <a:pt x="5322" y="567"/>
                </a:lnTo>
                <a:lnTo>
                  <a:pt x="5320" y="565"/>
                </a:lnTo>
                <a:lnTo>
                  <a:pt x="5319" y="564"/>
                </a:lnTo>
                <a:lnTo>
                  <a:pt x="5321" y="567"/>
                </a:lnTo>
                <a:lnTo>
                  <a:pt x="5315" y="570"/>
                </a:lnTo>
                <a:lnTo>
                  <a:pt x="5313" y="569"/>
                </a:lnTo>
                <a:lnTo>
                  <a:pt x="5310" y="569"/>
                </a:lnTo>
                <a:lnTo>
                  <a:pt x="5310" y="567"/>
                </a:lnTo>
                <a:lnTo>
                  <a:pt x="5309" y="565"/>
                </a:lnTo>
                <a:lnTo>
                  <a:pt x="5304" y="564"/>
                </a:lnTo>
                <a:lnTo>
                  <a:pt x="5299" y="563"/>
                </a:lnTo>
                <a:lnTo>
                  <a:pt x="5289" y="563"/>
                </a:lnTo>
                <a:lnTo>
                  <a:pt x="5289" y="558"/>
                </a:lnTo>
                <a:lnTo>
                  <a:pt x="5283" y="553"/>
                </a:lnTo>
                <a:lnTo>
                  <a:pt x="5285" y="550"/>
                </a:lnTo>
                <a:lnTo>
                  <a:pt x="5284" y="545"/>
                </a:lnTo>
                <a:lnTo>
                  <a:pt x="5281" y="542"/>
                </a:lnTo>
                <a:lnTo>
                  <a:pt x="5266" y="538"/>
                </a:lnTo>
                <a:lnTo>
                  <a:pt x="5263" y="541"/>
                </a:lnTo>
                <a:lnTo>
                  <a:pt x="5260" y="543"/>
                </a:lnTo>
                <a:lnTo>
                  <a:pt x="5247" y="543"/>
                </a:lnTo>
                <a:lnTo>
                  <a:pt x="5247" y="540"/>
                </a:lnTo>
                <a:lnTo>
                  <a:pt x="5248" y="537"/>
                </a:lnTo>
                <a:lnTo>
                  <a:pt x="5243" y="535"/>
                </a:lnTo>
                <a:lnTo>
                  <a:pt x="5241" y="533"/>
                </a:lnTo>
                <a:lnTo>
                  <a:pt x="5240" y="530"/>
                </a:lnTo>
                <a:lnTo>
                  <a:pt x="5241" y="529"/>
                </a:lnTo>
                <a:lnTo>
                  <a:pt x="5245" y="526"/>
                </a:lnTo>
                <a:lnTo>
                  <a:pt x="5245" y="519"/>
                </a:lnTo>
                <a:lnTo>
                  <a:pt x="5240" y="527"/>
                </a:lnTo>
                <a:lnTo>
                  <a:pt x="5236" y="527"/>
                </a:lnTo>
                <a:lnTo>
                  <a:pt x="5234" y="523"/>
                </a:lnTo>
                <a:lnTo>
                  <a:pt x="5232" y="519"/>
                </a:lnTo>
                <a:lnTo>
                  <a:pt x="5232" y="522"/>
                </a:lnTo>
                <a:lnTo>
                  <a:pt x="5230" y="522"/>
                </a:lnTo>
                <a:lnTo>
                  <a:pt x="5235" y="527"/>
                </a:lnTo>
                <a:lnTo>
                  <a:pt x="5234" y="527"/>
                </a:lnTo>
                <a:lnTo>
                  <a:pt x="5228" y="527"/>
                </a:lnTo>
                <a:lnTo>
                  <a:pt x="5228" y="526"/>
                </a:lnTo>
                <a:lnTo>
                  <a:pt x="5227" y="526"/>
                </a:lnTo>
                <a:lnTo>
                  <a:pt x="5224" y="532"/>
                </a:lnTo>
                <a:lnTo>
                  <a:pt x="5228" y="535"/>
                </a:lnTo>
                <a:lnTo>
                  <a:pt x="5232" y="538"/>
                </a:lnTo>
                <a:lnTo>
                  <a:pt x="5232" y="541"/>
                </a:lnTo>
                <a:lnTo>
                  <a:pt x="5228" y="544"/>
                </a:lnTo>
                <a:lnTo>
                  <a:pt x="5228" y="549"/>
                </a:lnTo>
                <a:lnTo>
                  <a:pt x="5228" y="549"/>
                </a:lnTo>
                <a:lnTo>
                  <a:pt x="5228" y="550"/>
                </a:lnTo>
                <a:lnTo>
                  <a:pt x="5224" y="552"/>
                </a:lnTo>
                <a:lnTo>
                  <a:pt x="5218" y="558"/>
                </a:lnTo>
                <a:lnTo>
                  <a:pt x="5205" y="564"/>
                </a:lnTo>
                <a:lnTo>
                  <a:pt x="5206" y="564"/>
                </a:lnTo>
                <a:lnTo>
                  <a:pt x="5208" y="563"/>
                </a:lnTo>
                <a:lnTo>
                  <a:pt x="5190" y="563"/>
                </a:lnTo>
                <a:lnTo>
                  <a:pt x="5189" y="557"/>
                </a:lnTo>
                <a:lnTo>
                  <a:pt x="5183" y="554"/>
                </a:lnTo>
                <a:lnTo>
                  <a:pt x="5182" y="554"/>
                </a:lnTo>
                <a:lnTo>
                  <a:pt x="5184" y="556"/>
                </a:lnTo>
                <a:lnTo>
                  <a:pt x="5187" y="558"/>
                </a:lnTo>
                <a:lnTo>
                  <a:pt x="5182" y="560"/>
                </a:lnTo>
                <a:lnTo>
                  <a:pt x="5177" y="556"/>
                </a:lnTo>
                <a:lnTo>
                  <a:pt x="5174" y="558"/>
                </a:lnTo>
                <a:lnTo>
                  <a:pt x="5171" y="557"/>
                </a:lnTo>
                <a:lnTo>
                  <a:pt x="5169" y="555"/>
                </a:lnTo>
                <a:lnTo>
                  <a:pt x="5167" y="557"/>
                </a:lnTo>
                <a:lnTo>
                  <a:pt x="5166" y="558"/>
                </a:lnTo>
                <a:lnTo>
                  <a:pt x="5167" y="557"/>
                </a:lnTo>
                <a:lnTo>
                  <a:pt x="5169" y="556"/>
                </a:lnTo>
                <a:lnTo>
                  <a:pt x="5171" y="558"/>
                </a:lnTo>
                <a:lnTo>
                  <a:pt x="5174" y="559"/>
                </a:lnTo>
                <a:lnTo>
                  <a:pt x="5174" y="559"/>
                </a:lnTo>
                <a:lnTo>
                  <a:pt x="5171" y="561"/>
                </a:lnTo>
                <a:lnTo>
                  <a:pt x="5168" y="564"/>
                </a:lnTo>
                <a:lnTo>
                  <a:pt x="5168" y="565"/>
                </a:lnTo>
                <a:lnTo>
                  <a:pt x="5171" y="563"/>
                </a:lnTo>
                <a:lnTo>
                  <a:pt x="5174" y="561"/>
                </a:lnTo>
                <a:lnTo>
                  <a:pt x="5178" y="565"/>
                </a:lnTo>
                <a:lnTo>
                  <a:pt x="5182" y="561"/>
                </a:lnTo>
                <a:lnTo>
                  <a:pt x="5189" y="560"/>
                </a:lnTo>
                <a:lnTo>
                  <a:pt x="5187" y="565"/>
                </a:lnTo>
                <a:lnTo>
                  <a:pt x="5190" y="569"/>
                </a:lnTo>
                <a:lnTo>
                  <a:pt x="5197" y="572"/>
                </a:lnTo>
                <a:lnTo>
                  <a:pt x="5200" y="569"/>
                </a:lnTo>
                <a:lnTo>
                  <a:pt x="5200" y="569"/>
                </a:lnTo>
                <a:lnTo>
                  <a:pt x="5200" y="569"/>
                </a:lnTo>
                <a:lnTo>
                  <a:pt x="5201" y="571"/>
                </a:lnTo>
                <a:lnTo>
                  <a:pt x="5204" y="576"/>
                </a:lnTo>
                <a:lnTo>
                  <a:pt x="5202" y="579"/>
                </a:lnTo>
                <a:lnTo>
                  <a:pt x="5205" y="579"/>
                </a:lnTo>
                <a:lnTo>
                  <a:pt x="5206" y="583"/>
                </a:lnTo>
                <a:lnTo>
                  <a:pt x="5208" y="587"/>
                </a:lnTo>
                <a:lnTo>
                  <a:pt x="5205" y="587"/>
                </a:lnTo>
                <a:lnTo>
                  <a:pt x="5201" y="591"/>
                </a:lnTo>
                <a:lnTo>
                  <a:pt x="5208" y="591"/>
                </a:lnTo>
                <a:lnTo>
                  <a:pt x="5208" y="591"/>
                </a:lnTo>
                <a:lnTo>
                  <a:pt x="5208" y="591"/>
                </a:lnTo>
                <a:lnTo>
                  <a:pt x="5206" y="592"/>
                </a:lnTo>
                <a:lnTo>
                  <a:pt x="5205" y="592"/>
                </a:lnTo>
                <a:lnTo>
                  <a:pt x="5209" y="591"/>
                </a:lnTo>
                <a:lnTo>
                  <a:pt x="5208" y="589"/>
                </a:lnTo>
                <a:lnTo>
                  <a:pt x="5208" y="588"/>
                </a:lnTo>
                <a:lnTo>
                  <a:pt x="5209" y="591"/>
                </a:lnTo>
                <a:lnTo>
                  <a:pt x="5210" y="594"/>
                </a:lnTo>
                <a:lnTo>
                  <a:pt x="5208" y="592"/>
                </a:lnTo>
                <a:lnTo>
                  <a:pt x="5208" y="594"/>
                </a:lnTo>
                <a:lnTo>
                  <a:pt x="5216" y="598"/>
                </a:lnTo>
                <a:lnTo>
                  <a:pt x="5216" y="602"/>
                </a:lnTo>
                <a:lnTo>
                  <a:pt x="5212" y="604"/>
                </a:lnTo>
                <a:lnTo>
                  <a:pt x="5216" y="607"/>
                </a:lnTo>
                <a:lnTo>
                  <a:pt x="5216" y="611"/>
                </a:lnTo>
                <a:lnTo>
                  <a:pt x="5214" y="613"/>
                </a:lnTo>
                <a:lnTo>
                  <a:pt x="5211" y="615"/>
                </a:lnTo>
                <a:lnTo>
                  <a:pt x="5212" y="617"/>
                </a:lnTo>
                <a:lnTo>
                  <a:pt x="5213" y="618"/>
                </a:lnTo>
                <a:lnTo>
                  <a:pt x="5212" y="619"/>
                </a:lnTo>
                <a:lnTo>
                  <a:pt x="5211" y="620"/>
                </a:lnTo>
                <a:lnTo>
                  <a:pt x="5204" y="617"/>
                </a:lnTo>
                <a:lnTo>
                  <a:pt x="5196" y="613"/>
                </a:lnTo>
                <a:lnTo>
                  <a:pt x="5187" y="611"/>
                </a:lnTo>
                <a:lnTo>
                  <a:pt x="5177" y="613"/>
                </a:lnTo>
                <a:lnTo>
                  <a:pt x="5171" y="618"/>
                </a:lnTo>
                <a:lnTo>
                  <a:pt x="5160" y="623"/>
                </a:lnTo>
                <a:lnTo>
                  <a:pt x="5150" y="628"/>
                </a:lnTo>
                <a:lnTo>
                  <a:pt x="5146" y="627"/>
                </a:lnTo>
                <a:lnTo>
                  <a:pt x="5147" y="627"/>
                </a:lnTo>
                <a:lnTo>
                  <a:pt x="5149" y="628"/>
                </a:lnTo>
                <a:lnTo>
                  <a:pt x="5147" y="630"/>
                </a:lnTo>
                <a:lnTo>
                  <a:pt x="5146" y="632"/>
                </a:lnTo>
                <a:lnTo>
                  <a:pt x="5140" y="632"/>
                </a:lnTo>
                <a:lnTo>
                  <a:pt x="5138" y="633"/>
                </a:lnTo>
                <a:lnTo>
                  <a:pt x="5137" y="633"/>
                </a:lnTo>
                <a:lnTo>
                  <a:pt x="5135" y="634"/>
                </a:lnTo>
                <a:lnTo>
                  <a:pt x="5132" y="633"/>
                </a:lnTo>
                <a:lnTo>
                  <a:pt x="5131" y="640"/>
                </a:lnTo>
                <a:lnTo>
                  <a:pt x="5130" y="640"/>
                </a:lnTo>
                <a:lnTo>
                  <a:pt x="5126" y="641"/>
                </a:lnTo>
                <a:lnTo>
                  <a:pt x="5123" y="639"/>
                </a:lnTo>
                <a:lnTo>
                  <a:pt x="5119" y="641"/>
                </a:lnTo>
                <a:lnTo>
                  <a:pt x="5123" y="644"/>
                </a:lnTo>
                <a:lnTo>
                  <a:pt x="5119" y="644"/>
                </a:lnTo>
                <a:lnTo>
                  <a:pt x="5121" y="644"/>
                </a:lnTo>
                <a:lnTo>
                  <a:pt x="5117" y="645"/>
                </a:lnTo>
                <a:lnTo>
                  <a:pt x="5112" y="643"/>
                </a:lnTo>
                <a:lnTo>
                  <a:pt x="5112" y="646"/>
                </a:lnTo>
                <a:lnTo>
                  <a:pt x="5116" y="652"/>
                </a:lnTo>
                <a:lnTo>
                  <a:pt x="5112" y="652"/>
                </a:lnTo>
                <a:lnTo>
                  <a:pt x="5111" y="649"/>
                </a:lnTo>
                <a:lnTo>
                  <a:pt x="5111" y="652"/>
                </a:lnTo>
                <a:lnTo>
                  <a:pt x="5108" y="649"/>
                </a:lnTo>
                <a:lnTo>
                  <a:pt x="5108" y="656"/>
                </a:lnTo>
                <a:lnTo>
                  <a:pt x="5100" y="656"/>
                </a:lnTo>
                <a:lnTo>
                  <a:pt x="5100" y="657"/>
                </a:lnTo>
                <a:lnTo>
                  <a:pt x="5094" y="659"/>
                </a:lnTo>
                <a:lnTo>
                  <a:pt x="5088" y="662"/>
                </a:lnTo>
                <a:lnTo>
                  <a:pt x="5088" y="665"/>
                </a:lnTo>
                <a:lnTo>
                  <a:pt x="5088" y="666"/>
                </a:lnTo>
                <a:lnTo>
                  <a:pt x="5089" y="667"/>
                </a:lnTo>
                <a:lnTo>
                  <a:pt x="5087" y="671"/>
                </a:lnTo>
                <a:lnTo>
                  <a:pt x="5086" y="676"/>
                </a:lnTo>
                <a:lnTo>
                  <a:pt x="5085" y="676"/>
                </a:lnTo>
                <a:lnTo>
                  <a:pt x="5078" y="670"/>
                </a:lnTo>
                <a:lnTo>
                  <a:pt x="5075" y="662"/>
                </a:lnTo>
                <a:lnTo>
                  <a:pt x="5064" y="657"/>
                </a:lnTo>
                <a:lnTo>
                  <a:pt x="5064" y="660"/>
                </a:lnTo>
                <a:lnTo>
                  <a:pt x="5053" y="657"/>
                </a:lnTo>
                <a:lnTo>
                  <a:pt x="5038" y="665"/>
                </a:lnTo>
                <a:lnTo>
                  <a:pt x="5031" y="670"/>
                </a:lnTo>
                <a:lnTo>
                  <a:pt x="5024" y="676"/>
                </a:lnTo>
                <a:lnTo>
                  <a:pt x="5026" y="664"/>
                </a:lnTo>
                <a:lnTo>
                  <a:pt x="5023" y="664"/>
                </a:lnTo>
                <a:lnTo>
                  <a:pt x="5012" y="670"/>
                </a:lnTo>
                <a:lnTo>
                  <a:pt x="5012" y="671"/>
                </a:lnTo>
                <a:lnTo>
                  <a:pt x="5010" y="674"/>
                </a:lnTo>
                <a:lnTo>
                  <a:pt x="5008" y="676"/>
                </a:lnTo>
                <a:lnTo>
                  <a:pt x="5008" y="676"/>
                </a:lnTo>
                <a:lnTo>
                  <a:pt x="5008" y="676"/>
                </a:lnTo>
                <a:lnTo>
                  <a:pt x="5006" y="675"/>
                </a:lnTo>
                <a:lnTo>
                  <a:pt x="5004" y="674"/>
                </a:lnTo>
                <a:lnTo>
                  <a:pt x="5000" y="672"/>
                </a:lnTo>
                <a:lnTo>
                  <a:pt x="4996" y="672"/>
                </a:lnTo>
                <a:lnTo>
                  <a:pt x="4996" y="671"/>
                </a:lnTo>
                <a:lnTo>
                  <a:pt x="4994" y="673"/>
                </a:lnTo>
                <a:lnTo>
                  <a:pt x="4993" y="672"/>
                </a:lnTo>
                <a:lnTo>
                  <a:pt x="4989" y="672"/>
                </a:lnTo>
                <a:lnTo>
                  <a:pt x="4990" y="673"/>
                </a:lnTo>
                <a:lnTo>
                  <a:pt x="4987" y="673"/>
                </a:lnTo>
                <a:lnTo>
                  <a:pt x="4983" y="676"/>
                </a:lnTo>
                <a:lnTo>
                  <a:pt x="4983" y="679"/>
                </a:lnTo>
                <a:lnTo>
                  <a:pt x="4980" y="680"/>
                </a:lnTo>
                <a:lnTo>
                  <a:pt x="4984" y="685"/>
                </a:lnTo>
                <a:lnTo>
                  <a:pt x="4981" y="688"/>
                </a:lnTo>
                <a:lnTo>
                  <a:pt x="4978" y="688"/>
                </a:lnTo>
                <a:lnTo>
                  <a:pt x="4981" y="692"/>
                </a:lnTo>
                <a:lnTo>
                  <a:pt x="4978" y="692"/>
                </a:lnTo>
                <a:lnTo>
                  <a:pt x="4977" y="692"/>
                </a:lnTo>
                <a:lnTo>
                  <a:pt x="4978" y="695"/>
                </a:lnTo>
                <a:lnTo>
                  <a:pt x="4970" y="700"/>
                </a:lnTo>
                <a:lnTo>
                  <a:pt x="4966" y="706"/>
                </a:lnTo>
                <a:lnTo>
                  <a:pt x="4964" y="709"/>
                </a:lnTo>
                <a:lnTo>
                  <a:pt x="4963" y="713"/>
                </a:lnTo>
                <a:lnTo>
                  <a:pt x="4964" y="716"/>
                </a:lnTo>
                <a:lnTo>
                  <a:pt x="4965" y="718"/>
                </a:lnTo>
                <a:lnTo>
                  <a:pt x="4967" y="721"/>
                </a:lnTo>
                <a:lnTo>
                  <a:pt x="4967" y="722"/>
                </a:lnTo>
                <a:lnTo>
                  <a:pt x="4970" y="717"/>
                </a:lnTo>
                <a:lnTo>
                  <a:pt x="4979" y="718"/>
                </a:lnTo>
                <a:lnTo>
                  <a:pt x="4979" y="721"/>
                </a:lnTo>
                <a:lnTo>
                  <a:pt x="4979" y="725"/>
                </a:lnTo>
                <a:lnTo>
                  <a:pt x="4973" y="728"/>
                </a:lnTo>
                <a:lnTo>
                  <a:pt x="4975" y="734"/>
                </a:lnTo>
                <a:lnTo>
                  <a:pt x="4975" y="741"/>
                </a:lnTo>
                <a:lnTo>
                  <a:pt x="4977" y="743"/>
                </a:lnTo>
                <a:lnTo>
                  <a:pt x="4981" y="740"/>
                </a:lnTo>
                <a:lnTo>
                  <a:pt x="4983" y="752"/>
                </a:lnTo>
                <a:lnTo>
                  <a:pt x="4977" y="757"/>
                </a:lnTo>
                <a:lnTo>
                  <a:pt x="4971" y="755"/>
                </a:lnTo>
                <a:lnTo>
                  <a:pt x="4971" y="753"/>
                </a:lnTo>
                <a:lnTo>
                  <a:pt x="4969" y="754"/>
                </a:lnTo>
                <a:lnTo>
                  <a:pt x="4965" y="756"/>
                </a:lnTo>
                <a:lnTo>
                  <a:pt x="4959" y="767"/>
                </a:lnTo>
                <a:lnTo>
                  <a:pt x="4960" y="776"/>
                </a:lnTo>
                <a:lnTo>
                  <a:pt x="4962" y="778"/>
                </a:lnTo>
                <a:lnTo>
                  <a:pt x="4963" y="780"/>
                </a:lnTo>
                <a:lnTo>
                  <a:pt x="4963" y="784"/>
                </a:lnTo>
                <a:lnTo>
                  <a:pt x="4961" y="788"/>
                </a:lnTo>
                <a:lnTo>
                  <a:pt x="4959" y="792"/>
                </a:lnTo>
                <a:lnTo>
                  <a:pt x="4953" y="792"/>
                </a:lnTo>
                <a:lnTo>
                  <a:pt x="4952" y="788"/>
                </a:lnTo>
                <a:lnTo>
                  <a:pt x="4948" y="788"/>
                </a:lnTo>
                <a:lnTo>
                  <a:pt x="4945" y="789"/>
                </a:lnTo>
                <a:lnTo>
                  <a:pt x="4935" y="797"/>
                </a:lnTo>
                <a:lnTo>
                  <a:pt x="4934" y="801"/>
                </a:lnTo>
                <a:lnTo>
                  <a:pt x="4932" y="805"/>
                </a:lnTo>
                <a:lnTo>
                  <a:pt x="4932" y="806"/>
                </a:lnTo>
                <a:lnTo>
                  <a:pt x="4931" y="806"/>
                </a:lnTo>
                <a:lnTo>
                  <a:pt x="4931" y="808"/>
                </a:lnTo>
                <a:lnTo>
                  <a:pt x="4933" y="808"/>
                </a:lnTo>
                <a:lnTo>
                  <a:pt x="4934" y="808"/>
                </a:lnTo>
                <a:lnTo>
                  <a:pt x="4934" y="808"/>
                </a:lnTo>
                <a:lnTo>
                  <a:pt x="4934" y="808"/>
                </a:lnTo>
                <a:lnTo>
                  <a:pt x="4935" y="813"/>
                </a:lnTo>
                <a:lnTo>
                  <a:pt x="4935" y="816"/>
                </a:lnTo>
                <a:lnTo>
                  <a:pt x="4932" y="815"/>
                </a:lnTo>
                <a:lnTo>
                  <a:pt x="4929" y="813"/>
                </a:lnTo>
                <a:lnTo>
                  <a:pt x="4922" y="818"/>
                </a:lnTo>
                <a:lnTo>
                  <a:pt x="4919" y="822"/>
                </a:lnTo>
                <a:lnTo>
                  <a:pt x="4919" y="822"/>
                </a:lnTo>
                <a:lnTo>
                  <a:pt x="4919" y="822"/>
                </a:lnTo>
                <a:lnTo>
                  <a:pt x="4917" y="821"/>
                </a:lnTo>
                <a:lnTo>
                  <a:pt x="4914" y="820"/>
                </a:lnTo>
                <a:lnTo>
                  <a:pt x="4911" y="820"/>
                </a:lnTo>
                <a:lnTo>
                  <a:pt x="4911" y="824"/>
                </a:lnTo>
                <a:lnTo>
                  <a:pt x="4914" y="824"/>
                </a:lnTo>
                <a:lnTo>
                  <a:pt x="4914" y="826"/>
                </a:lnTo>
                <a:lnTo>
                  <a:pt x="4913" y="828"/>
                </a:lnTo>
                <a:lnTo>
                  <a:pt x="4912" y="828"/>
                </a:lnTo>
                <a:lnTo>
                  <a:pt x="4911" y="828"/>
                </a:lnTo>
                <a:lnTo>
                  <a:pt x="4911" y="828"/>
                </a:lnTo>
                <a:lnTo>
                  <a:pt x="4911" y="833"/>
                </a:lnTo>
                <a:lnTo>
                  <a:pt x="4909" y="834"/>
                </a:lnTo>
                <a:lnTo>
                  <a:pt x="4907" y="836"/>
                </a:lnTo>
                <a:lnTo>
                  <a:pt x="4907" y="841"/>
                </a:lnTo>
                <a:lnTo>
                  <a:pt x="4887" y="860"/>
                </a:lnTo>
                <a:lnTo>
                  <a:pt x="4887" y="859"/>
                </a:lnTo>
                <a:lnTo>
                  <a:pt x="4885" y="856"/>
                </a:lnTo>
                <a:lnTo>
                  <a:pt x="4883" y="853"/>
                </a:lnTo>
                <a:lnTo>
                  <a:pt x="4883" y="841"/>
                </a:lnTo>
                <a:lnTo>
                  <a:pt x="4880" y="829"/>
                </a:lnTo>
                <a:lnTo>
                  <a:pt x="4880" y="828"/>
                </a:lnTo>
                <a:lnTo>
                  <a:pt x="4878" y="824"/>
                </a:lnTo>
                <a:lnTo>
                  <a:pt x="4874" y="798"/>
                </a:lnTo>
                <a:lnTo>
                  <a:pt x="4870" y="772"/>
                </a:lnTo>
                <a:lnTo>
                  <a:pt x="4871" y="766"/>
                </a:lnTo>
                <a:lnTo>
                  <a:pt x="4873" y="760"/>
                </a:lnTo>
                <a:lnTo>
                  <a:pt x="4876" y="744"/>
                </a:lnTo>
                <a:lnTo>
                  <a:pt x="4884" y="738"/>
                </a:lnTo>
                <a:lnTo>
                  <a:pt x="4884" y="737"/>
                </a:lnTo>
                <a:lnTo>
                  <a:pt x="4885" y="736"/>
                </a:lnTo>
                <a:lnTo>
                  <a:pt x="4887" y="736"/>
                </a:lnTo>
                <a:lnTo>
                  <a:pt x="4889" y="732"/>
                </a:lnTo>
                <a:lnTo>
                  <a:pt x="4891" y="728"/>
                </a:lnTo>
                <a:lnTo>
                  <a:pt x="4891" y="723"/>
                </a:lnTo>
                <a:lnTo>
                  <a:pt x="4887" y="722"/>
                </a:lnTo>
                <a:lnTo>
                  <a:pt x="4892" y="719"/>
                </a:lnTo>
                <a:lnTo>
                  <a:pt x="4893" y="721"/>
                </a:lnTo>
                <a:lnTo>
                  <a:pt x="4894" y="724"/>
                </a:lnTo>
                <a:lnTo>
                  <a:pt x="4898" y="724"/>
                </a:lnTo>
                <a:lnTo>
                  <a:pt x="4900" y="716"/>
                </a:lnTo>
                <a:lnTo>
                  <a:pt x="4911" y="716"/>
                </a:lnTo>
                <a:lnTo>
                  <a:pt x="4932" y="697"/>
                </a:lnTo>
                <a:lnTo>
                  <a:pt x="4932" y="694"/>
                </a:lnTo>
                <a:lnTo>
                  <a:pt x="4933" y="691"/>
                </a:lnTo>
                <a:lnTo>
                  <a:pt x="4940" y="685"/>
                </a:lnTo>
                <a:lnTo>
                  <a:pt x="4942" y="680"/>
                </a:lnTo>
                <a:lnTo>
                  <a:pt x="4944" y="679"/>
                </a:lnTo>
                <a:lnTo>
                  <a:pt x="4947" y="679"/>
                </a:lnTo>
                <a:lnTo>
                  <a:pt x="4956" y="668"/>
                </a:lnTo>
                <a:lnTo>
                  <a:pt x="4958" y="668"/>
                </a:lnTo>
                <a:lnTo>
                  <a:pt x="4959" y="668"/>
                </a:lnTo>
                <a:lnTo>
                  <a:pt x="4959" y="666"/>
                </a:lnTo>
                <a:lnTo>
                  <a:pt x="4959" y="661"/>
                </a:lnTo>
                <a:lnTo>
                  <a:pt x="4968" y="658"/>
                </a:lnTo>
                <a:lnTo>
                  <a:pt x="4976" y="656"/>
                </a:lnTo>
                <a:lnTo>
                  <a:pt x="4977" y="654"/>
                </a:lnTo>
                <a:lnTo>
                  <a:pt x="4987" y="650"/>
                </a:lnTo>
                <a:lnTo>
                  <a:pt x="4987" y="649"/>
                </a:lnTo>
                <a:lnTo>
                  <a:pt x="4986" y="649"/>
                </a:lnTo>
                <a:lnTo>
                  <a:pt x="4984" y="648"/>
                </a:lnTo>
                <a:lnTo>
                  <a:pt x="4992" y="641"/>
                </a:lnTo>
                <a:lnTo>
                  <a:pt x="4992" y="639"/>
                </a:lnTo>
                <a:lnTo>
                  <a:pt x="4991" y="638"/>
                </a:lnTo>
                <a:lnTo>
                  <a:pt x="4991" y="638"/>
                </a:lnTo>
                <a:lnTo>
                  <a:pt x="4993" y="634"/>
                </a:lnTo>
                <a:lnTo>
                  <a:pt x="4993" y="634"/>
                </a:lnTo>
                <a:lnTo>
                  <a:pt x="4993" y="633"/>
                </a:lnTo>
                <a:lnTo>
                  <a:pt x="4995" y="620"/>
                </a:lnTo>
                <a:lnTo>
                  <a:pt x="5001" y="615"/>
                </a:lnTo>
                <a:lnTo>
                  <a:pt x="5011" y="616"/>
                </a:lnTo>
                <a:lnTo>
                  <a:pt x="5013" y="618"/>
                </a:lnTo>
                <a:lnTo>
                  <a:pt x="5011" y="616"/>
                </a:lnTo>
                <a:lnTo>
                  <a:pt x="5018" y="616"/>
                </a:lnTo>
                <a:lnTo>
                  <a:pt x="5013" y="615"/>
                </a:lnTo>
                <a:lnTo>
                  <a:pt x="5008" y="613"/>
                </a:lnTo>
                <a:lnTo>
                  <a:pt x="5003" y="612"/>
                </a:lnTo>
                <a:lnTo>
                  <a:pt x="4999" y="610"/>
                </a:lnTo>
                <a:lnTo>
                  <a:pt x="4991" y="612"/>
                </a:lnTo>
                <a:lnTo>
                  <a:pt x="4981" y="613"/>
                </a:lnTo>
                <a:lnTo>
                  <a:pt x="4980" y="615"/>
                </a:lnTo>
                <a:lnTo>
                  <a:pt x="4983" y="618"/>
                </a:lnTo>
                <a:lnTo>
                  <a:pt x="4979" y="620"/>
                </a:lnTo>
                <a:lnTo>
                  <a:pt x="4979" y="626"/>
                </a:lnTo>
                <a:lnTo>
                  <a:pt x="4977" y="629"/>
                </a:lnTo>
                <a:lnTo>
                  <a:pt x="4984" y="631"/>
                </a:lnTo>
                <a:lnTo>
                  <a:pt x="4981" y="633"/>
                </a:lnTo>
                <a:lnTo>
                  <a:pt x="4979" y="637"/>
                </a:lnTo>
                <a:lnTo>
                  <a:pt x="4979" y="637"/>
                </a:lnTo>
                <a:lnTo>
                  <a:pt x="4979" y="637"/>
                </a:lnTo>
                <a:lnTo>
                  <a:pt x="4976" y="636"/>
                </a:lnTo>
                <a:lnTo>
                  <a:pt x="4973" y="636"/>
                </a:lnTo>
                <a:lnTo>
                  <a:pt x="4975" y="635"/>
                </a:lnTo>
                <a:lnTo>
                  <a:pt x="4975" y="634"/>
                </a:lnTo>
                <a:lnTo>
                  <a:pt x="4976" y="634"/>
                </a:lnTo>
                <a:lnTo>
                  <a:pt x="4970" y="633"/>
                </a:lnTo>
                <a:lnTo>
                  <a:pt x="4959" y="642"/>
                </a:lnTo>
                <a:lnTo>
                  <a:pt x="4948" y="651"/>
                </a:lnTo>
                <a:lnTo>
                  <a:pt x="4947" y="653"/>
                </a:lnTo>
                <a:lnTo>
                  <a:pt x="4947" y="656"/>
                </a:lnTo>
                <a:lnTo>
                  <a:pt x="4940" y="656"/>
                </a:lnTo>
                <a:lnTo>
                  <a:pt x="4940" y="657"/>
                </a:lnTo>
                <a:lnTo>
                  <a:pt x="4939" y="657"/>
                </a:lnTo>
                <a:lnTo>
                  <a:pt x="4940" y="655"/>
                </a:lnTo>
                <a:lnTo>
                  <a:pt x="4937" y="654"/>
                </a:lnTo>
                <a:lnTo>
                  <a:pt x="4939" y="653"/>
                </a:lnTo>
                <a:lnTo>
                  <a:pt x="4940" y="652"/>
                </a:lnTo>
                <a:lnTo>
                  <a:pt x="4937" y="652"/>
                </a:lnTo>
                <a:lnTo>
                  <a:pt x="4935" y="651"/>
                </a:lnTo>
                <a:lnTo>
                  <a:pt x="4932" y="649"/>
                </a:lnTo>
                <a:lnTo>
                  <a:pt x="4932" y="648"/>
                </a:lnTo>
                <a:lnTo>
                  <a:pt x="4931" y="646"/>
                </a:lnTo>
                <a:lnTo>
                  <a:pt x="4931" y="644"/>
                </a:lnTo>
                <a:lnTo>
                  <a:pt x="4933" y="644"/>
                </a:lnTo>
                <a:lnTo>
                  <a:pt x="4939" y="631"/>
                </a:lnTo>
                <a:lnTo>
                  <a:pt x="4939" y="627"/>
                </a:lnTo>
                <a:lnTo>
                  <a:pt x="4933" y="630"/>
                </a:lnTo>
                <a:lnTo>
                  <a:pt x="4928" y="633"/>
                </a:lnTo>
                <a:lnTo>
                  <a:pt x="4926" y="628"/>
                </a:lnTo>
                <a:lnTo>
                  <a:pt x="4925" y="628"/>
                </a:lnTo>
                <a:lnTo>
                  <a:pt x="4916" y="630"/>
                </a:lnTo>
                <a:lnTo>
                  <a:pt x="4907" y="631"/>
                </a:lnTo>
                <a:lnTo>
                  <a:pt x="4899" y="629"/>
                </a:lnTo>
                <a:lnTo>
                  <a:pt x="4894" y="633"/>
                </a:lnTo>
                <a:lnTo>
                  <a:pt x="4888" y="637"/>
                </a:lnTo>
                <a:lnTo>
                  <a:pt x="4887" y="641"/>
                </a:lnTo>
                <a:lnTo>
                  <a:pt x="4887" y="645"/>
                </a:lnTo>
                <a:lnTo>
                  <a:pt x="4883" y="647"/>
                </a:lnTo>
                <a:lnTo>
                  <a:pt x="4878" y="648"/>
                </a:lnTo>
                <a:lnTo>
                  <a:pt x="4876" y="650"/>
                </a:lnTo>
                <a:lnTo>
                  <a:pt x="4876" y="652"/>
                </a:lnTo>
                <a:lnTo>
                  <a:pt x="4875" y="654"/>
                </a:lnTo>
                <a:lnTo>
                  <a:pt x="4862" y="662"/>
                </a:lnTo>
                <a:lnTo>
                  <a:pt x="4858" y="668"/>
                </a:lnTo>
                <a:lnTo>
                  <a:pt x="4854" y="672"/>
                </a:lnTo>
                <a:lnTo>
                  <a:pt x="4853" y="673"/>
                </a:lnTo>
                <a:lnTo>
                  <a:pt x="4851" y="673"/>
                </a:lnTo>
                <a:lnTo>
                  <a:pt x="4852" y="679"/>
                </a:lnTo>
                <a:lnTo>
                  <a:pt x="4847" y="683"/>
                </a:lnTo>
                <a:lnTo>
                  <a:pt x="4847" y="684"/>
                </a:lnTo>
                <a:lnTo>
                  <a:pt x="4855" y="684"/>
                </a:lnTo>
                <a:lnTo>
                  <a:pt x="4855" y="682"/>
                </a:lnTo>
                <a:lnTo>
                  <a:pt x="4854" y="680"/>
                </a:lnTo>
                <a:lnTo>
                  <a:pt x="4862" y="683"/>
                </a:lnTo>
                <a:lnTo>
                  <a:pt x="4866" y="685"/>
                </a:lnTo>
                <a:lnTo>
                  <a:pt x="4865" y="687"/>
                </a:lnTo>
                <a:lnTo>
                  <a:pt x="4865" y="689"/>
                </a:lnTo>
                <a:lnTo>
                  <a:pt x="4859" y="691"/>
                </a:lnTo>
                <a:lnTo>
                  <a:pt x="4857" y="691"/>
                </a:lnTo>
                <a:lnTo>
                  <a:pt x="4854" y="692"/>
                </a:lnTo>
                <a:lnTo>
                  <a:pt x="4854" y="692"/>
                </a:lnTo>
                <a:lnTo>
                  <a:pt x="4852" y="692"/>
                </a:lnTo>
                <a:lnTo>
                  <a:pt x="4848" y="692"/>
                </a:lnTo>
                <a:lnTo>
                  <a:pt x="4846" y="690"/>
                </a:lnTo>
                <a:lnTo>
                  <a:pt x="4845" y="688"/>
                </a:lnTo>
                <a:lnTo>
                  <a:pt x="4839" y="687"/>
                </a:lnTo>
                <a:lnTo>
                  <a:pt x="4836" y="690"/>
                </a:lnTo>
                <a:lnTo>
                  <a:pt x="4834" y="691"/>
                </a:lnTo>
                <a:lnTo>
                  <a:pt x="4833" y="695"/>
                </a:lnTo>
                <a:lnTo>
                  <a:pt x="4828" y="693"/>
                </a:lnTo>
                <a:lnTo>
                  <a:pt x="4824" y="691"/>
                </a:lnTo>
                <a:lnTo>
                  <a:pt x="4823" y="693"/>
                </a:lnTo>
                <a:lnTo>
                  <a:pt x="4821" y="694"/>
                </a:lnTo>
                <a:lnTo>
                  <a:pt x="4821" y="695"/>
                </a:lnTo>
                <a:lnTo>
                  <a:pt x="4820" y="695"/>
                </a:lnTo>
                <a:lnTo>
                  <a:pt x="4815" y="696"/>
                </a:lnTo>
                <a:lnTo>
                  <a:pt x="4810" y="697"/>
                </a:lnTo>
                <a:lnTo>
                  <a:pt x="4806" y="690"/>
                </a:lnTo>
                <a:lnTo>
                  <a:pt x="4814" y="689"/>
                </a:lnTo>
                <a:lnTo>
                  <a:pt x="4822" y="688"/>
                </a:lnTo>
                <a:lnTo>
                  <a:pt x="4816" y="688"/>
                </a:lnTo>
                <a:lnTo>
                  <a:pt x="4815" y="685"/>
                </a:lnTo>
                <a:lnTo>
                  <a:pt x="4814" y="683"/>
                </a:lnTo>
                <a:lnTo>
                  <a:pt x="4810" y="680"/>
                </a:lnTo>
                <a:lnTo>
                  <a:pt x="4803" y="680"/>
                </a:lnTo>
                <a:lnTo>
                  <a:pt x="4803" y="683"/>
                </a:lnTo>
                <a:lnTo>
                  <a:pt x="4801" y="683"/>
                </a:lnTo>
                <a:lnTo>
                  <a:pt x="4799" y="684"/>
                </a:lnTo>
                <a:lnTo>
                  <a:pt x="4799" y="684"/>
                </a:lnTo>
                <a:lnTo>
                  <a:pt x="4796" y="684"/>
                </a:lnTo>
                <a:lnTo>
                  <a:pt x="4800" y="681"/>
                </a:lnTo>
                <a:lnTo>
                  <a:pt x="4792" y="678"/>
                </a:lnTo>
                <a:lnTo>
                  <a:pt x="4784" y="676"/>
                </a:lnTo>
                <a:lnTo>
                  <a:pt x="4776" y="679"/>
                </a:lnTo>
                <a:lnTo>
                  <a:pt x="4777" y="681"/>
                </a:lnTo>
                <a:lnTo>
                  <a:pt x="4777" y="684"/>
                </a:lnTo>
                <a:lnTo>
                  <a:pt x="4775" y="684"/>
                </a:lnTo>
                <a:lnTo>
                  <a:pt x="4774" y="682"/>
                </a:lnTo>
                <a:lnTo>
                  <a:pt x="4773" y="680"/>
                </a:lnTo>
                <a:lnTo>
                  <a:pt x="4772" y="681"/>
                </a:lnTo>
                <a:lnTo>
                  <a:pt x="4771" y="683"/>
                </a:lnTo>
                <a:lnTo>
                  <a:pt x="4771" y="688"/>
                </a:lnTo>
                <a:lnTo>
                  <a:pt x="4763" y="688"/>
                </a:lnTo>
                <a:lnTo>
                  <a:pt x="4763" y="684"/>
                </a:lnTo>
                <a:lnTo>
                  <a:pt x="4759" y="686"/>
                </a:lnTo>
                <a:lnTo>
                  <a:pt x="4755" y="688"/>
                </a:lnTo>
                <a:lnTo>
                  <a:pt x="4747" y="686"/>
                </a:lnTo>
                <a:lnTo>
                  <a:pt x="4740" y="684"/>
                </a:lnTo>
                <a:lnTo>
                  <a:pt x="4735" y="684"/>
                </a:lnTo>
                <a:lnTo>
                  <a:pt x="4735" y="688"/>
                </a:lnTo>
                <a:lnTo>
                  <a:pt x="4733" y="689"/>
                </a:lnTo>
                <a:lnTo>
                  <a:pt x="4731" y="690"/>
                </a:lnTo>
                <a:lnTo>
                  <a:pt x="4729" y="689"/>
                </a:lnTo>
                <a:lnTo>
                  <a:pt x="4728" y="688"/>
                </a:lnTo>
                <a:lnTo>
                  <a:pt x="4728" y="686"/>
                </a:lnTo>
                <a:lnTo>
                  <a:pt x="4729" y="684"/>
                </a:lnTo>
                <a:lnTo>
                  <a:pt x="4701" y="684"/>
                </a:lnTo>
                <a:lnTo>
                  <a:pt x="4696" y="684"/>
                </a:lnTo>
                <a:lnTo>
                  <a:pt x="4691" y="685"/>
                </a:lnTo>
                <a:lnTo>
                  <a:pt x="4683" y="688"/>
                </a:lnTo>
                <a:lnTo>
                  <a:pt x="4676" y="691"/>
                </a:lnTo>
                <a:lnTo>
                  <a:pt x="4669" y="700"/>
                </a:lnTo>
                <a:lnTo>
                  <a:pt x="4655" y="710"/>
                </a:lnTo>
                <a:lnTo>
                  <a:pt x="4651" y="718"/>
                </a:lnTo>
                <a:lnTo>
                  <a:pt x="4645" y="722"/>
                </a:lnTo>
                <a:lnTo>
                  <a:pt x="4637" y="730"/>
                </a:lnTo>
                <a:lnTo>
                  <a:pt x="4632" y="733"/>
                </a:lnTo>
                <a:lnTo>
                  <a:pt x="4630" y="736"/>
                </a:lnTo>
                <a:lnTo>
                  <a:pt x="4629" y="740"/>
                </a:lnTo>
                <a:lnTo>
                  <a:pt x="4624" y="740"/>
                </a:lnTo>
                <a:lnTo>
                  <a:pt x="4619" y="743"/>
                </a:lnTo>
                <a:lnTo>
                  <a:pt x="4614" y="746"/>
                </a:lnTo>
                <a:lnTo>
                  <a:pt x="4614" y="748"/>
                </a:lnTo>
                <a:lnTo>
                  <a:pt x="4610" y="755"/>
                </a:lnTo>
                <a:lnTo>
                  <a:pt x="4602" y="761"/>
                </a:lnTo>
                <a:lnTo>
                  <a:pt x="4593" y="767"/>
                </a:lnTo>
                <a:lnTo>
                  <a:pt x="4591" y="770"/>
                </a:lnTo>
                <a:lnTo>
                  <a:pt x="4590" y="772"/>
                </a:lnTo>
                <a:lnTo>
                  <a:pt x="4585" y="774"/>
                </a:lnTo>
                <a:lnTo>
                  <a:pt x="4579" y="776"/>
                </a:lnTo>
                <a:lnTo>
                  <a:pt x="4576" y="780"/>
                </a:lnTo>
                <a:lnTo>
                  <a:pt x="4576" y="782"/>
                </a:lnTo>
                <a:lnTo>
                  <a:pt x="4577" y="784"/>
                </a:lnTo>
                <a:lnTo>
                  <a:pt x="4580" y="785"/>
                </a:lnTo>
                <a:lnTo>
                  <a:pt x="4583" y="786"/>
                </a:lnTo>
                <a:lnTo>
                  <a:pt x="4598" y="785"/>
                </a:lnTo>
                <a:lnTo>
                  <a:pt x="4598" y="786"/>
                </a:lnTo>
                <a:lnTo>
                  <a:pt x="4597" y="790"/>
                </a:lnTo>
                <a:lnTo>
                  <a:pt x="4598" y="795"/>
                </a:lnTo>
                <a:lnTo>
                  <a:pt x="4596" y="801"/>
                </a:lnTo>
                <a:lnTo>
                  <a:pt x="4597" y="804"/>
                </a:lnTo>
                <a:lnTo>
                  <a:pt x="4604" y="802"/>
                </a:lnTo>
                <a:lnTo>
                  <a:pt x="4605" y="800"/>
                </a:lnTo>
                <a:lnTo>
                  <a:pt x="4607" y="801"/>
                </a:lnTo>
                <a:lnTo>
                  <a:pt x="4609" y="804"/>
                </a:lnTo>
                <a:lnTo>
                  <a:pt x="4609" y="804"/>
                </a:lnTo>
                <a:lnTo>
                  <a:pt x="4609" y="806"/>
                </a:lnTo>
                <a:lnTo>
                  <a:pt x="4604" y="808"/>
                </a:lnTo>
                <a:lnTo>
                  <a:pt x="4605" y="812"/>
                </a:lnTo>
                <a:lnTo>
                  <a:pt x="4616" y="812"/>
                </a:lnTo>
                <a:lnTo>
                  <a:pt x="4619" y="807"/>
                </a:lnTo>
                <a:lnTo>
                  <a:pt x="4621" y="802"/>
                </a:lnTo>
                <a:lnTo>
                  <a:pt x="4622" y="801"/>
                </a:lnTo>
                <a:lnTo>
                  <a:pt x="4622" y="804"/>
                </a:lnTo>
                <a:lnTo>
                  <a:pt x="4621" y="808"/>
                </a:lnTo>
                <a:lnTo>
                  <a:pt x="4619" y="812"/>
                </a:lnTo>
                <a:lnTo>
                  <a:pt x="4623" y="812"/>
                </a:lnTo>
                <a:lnTo>
                  <a:pt x="4624" y="809"/>
                </a:lnTo>
                <a:lnTo>
                  <a:pt x="4624" y="806"/>
                </a:lnTo>
                <a:lnTo>
                  <a:pt x="4628" y="799"/>
                </a:lnTo>
                <a:lnTo>
                  <a:pt x="4626" y="795"/>
                </a:lnTo>
                <a:lnTo>
                  <a:pt x="4633" y="795"/>
                </a:lnTo>
                <a:lnTo>
                  <a:pt x="4635" y="795"/>
                </a:lnTo>
                <a:lnTo>
                  <a:pt x="4638" y="791"/>
                </a:lnTo>
                <a:lnTo>
                  <a:pt x="4646" y="799"/>
                </a:lnTo>
                <a:lnTo>
                  <a:pt x="4646" y="802"/>
                </a:lnTo>
                <a:lnTo>
                  <a:pt x="4651" y="806"/>
                </a:lnTo>
                <a:lnTo>
                  <a:pt x="4660" y="808"/>
                </a:lnTo>
                <a:lnTo>
                  <a:pt x="4658" y="809"/>
                </a:lnTo>
                <a:lnTo>
                  <a:pt x="4657" y="810"/>
                </a:lnTo>
                <a:lnTo>
                  <a:pt x="4660" y="812"/>
                </a:lnTo>
                <a:lnTo>
                  <a:pt x="4662" y="813"/>
                </a:lnTo>
                <a:lnTo>
                  <a:pt x="4662" y="817"/>
                </a:lnTo>
                <a:lnTo>
                  <a:pt x="4662" y="818"/>
                </a:lnTo>
                <a:lnTo>
                  <a:pt x="4662" y="820"/>
                </a:lnTo>
                <a:lnTo>
                  <a:pt x="4654" y="817"/>
                </a:lnTo>
                <a:lnTo>
                  <a:pt x="4662" y="824"/>
                </a:lnTo>
                <a:lnTo>
                  <a:pt x="4664" y="826"/>
                </a:lnTo>
                <a:lnTo>
                  <a:pt x="4661" y="832"/>
                </a:lnTo>
                <a:lnTo>
                  <a:pt x="4666" y="834"/>
                </a:lnTo>
                <a:lnTo>
                  <a:pt x="4666" y="837"/>
                </a:lnTo>
                <a:lnTo>
                  <a:pt x="4664" y="840"/>
                </a:lnTo>
                <a:lnTo>
                  <a:pt x="4664" y="841"/>
                </a:lnTo>
                <a:lnTo>
                  <a:pt x="4660" y="843"/>
                </a:lnTo>
                <a:lnTo>
                  <a:pt x="4654" y="847"/>
                </a:lnTo>
                <a:lnTo>
                  <a:pt x="4654" y="850"/>
                </a:lnTo>
                <a:lnTo>
                  <a:pt x="4655" y="852"/>
                </a:lnTo>
                <a:lnTo>
                  <a:pt x="4657" y="853"/>
                </a:lnTo>
                <a:lnTo>
                  <a:pt x="4654" y="853"/>
                </a:lnTo>
                <a:lnTo>
                  <a:pt x="4654" y="855"/>
                </a:lnTo>
                <a:lnTo>
                  <a:pt x="4654" y="862"/>
                </a:lnTo>
                <a:lnTo>
                  <a:pt x="4652" y="864"/>
                </a:lnTo>
                <a:lnTo>
                  <a:pt x="4650" y="864"/>
                </a:lnTo>
                <a:lnTo>
                  <a:pt x="4650" y="876"/>
                </a:lnTo>
                <a:lnTo>
                  <a:pt x="4653" y="881"/>
                </a:lnTo>
                <a:lnTo>
                  <a:pt x="4655" y="881"/>
                </a:lnTo>
                <a:lnTo>
                  <a:pt x="4652" y="881"/>
                </a:lnTo>
                <a:lnTo>
                  <a:pt x="4650" y="882"/>
                </a:lnTo>
                <a:lnTo>
                  <a:pt x="4651" y="884"/>
                </a:lnTo>
                <a:lnTo>
                  <a:pt x="4652" y="887"/>
                </a:lnTo>
                <a:lnTo>
                  <a:pt x="4649" y="891"/>
                </a:lnTo>
                <a:lnTo>
                  <a:pt x="4646" y="895"/>
                </a:lnTo>
                <a:lnTo>
                  <a:pt x="4646" y="900"/>
                </a:lnTo>
                <a:lnTo>
                  <a:pt x="4647" y="901"/>
                </a:lnTo>
                <a:lnTo>
                  <a:pt x="4649" y="903"/>
                </a:lnTo>
                <a:lnTo>
                  <a:pt x="4647" y="909"/>
                </a:lnTo>
                <a:lnTo>
                  <a:pt x="4641" y="916"/>
                </a:lnTo>
                <a:lnTo>
                  <a:pt x="4635" y="923"/>
                </a:lnTo>
                <a:lnTo>
                  <a:pt x="4631" y="929"/>
                </a:lnTo>
                <a:lnTo>
                  <a:pt x="4627" y="932"/>
                </a:lnTo>
                <a:lnTo>
                  <a:pt x="4624" y="936"/>
                </a:lnTo>
                <a:lnTo>
                  <a:pt x="4623" y="941"/>
                </a:lnTo>
                <a:lnTo>
                  <a:pt x="4621" y="945"/>
                </a:lnTo>
                <a:lnTo>
                  <a:pt x="4619" y="949"/>
                </a:lnTo>
                <a:lnTo>
                  <a:pt x="4617" y="952"/>
                </a:lnTo>
                <a:lnTo>
                  <a:pt x="4593" y="979"/>
                </a:lnTo>
                <a:lnTo>
                  <a:pt x="4591" y="981"/>
                </a:lnTo>
                <a:lnTo>
                  <a:pt x="4590" y="983"/>
                </a:lnTo>
                <a:lnTo>
                  <a:pt x="4584" y="986"/>
                </a:lnTo>
                <a:lnTo>
                  <a:pt x="4582" y="991"/>
                </a:lnTo>
                <a:lnTo>
                  <a:pt x="4578" y="993"/>
                </a:lnTo>
                <a:lnTo>
                  <a:pt x="4578" y="994"/>
                </a:lnTo>
                <a:lnTo>
                  <a:pt x="4578" y="995"/>
                </a:lnTo>
                <a:lnTo>
                  <a:pt x="4578" y="997"/>
                </a:lnTo>
                <a:lnTo>
                  <a:pt x="4575" y="999"/>
                </a:lnTo>
                <a:lnTo>
                  <a:pt x="4573" y="1002"/>
                </a:lnTo>
                <a:lnTo>
                  <a:pt x="4567" y="1005"/>
                </a:lnTo>
                <a:lnTo>
                  <a:pt x="4560" y="1009"/>
                </a:lnTo>
                <a:lnTo>
                  <a:pt x="4557" y="1013"/>
                </a:lnTo>
                <a:lnTo>
                  <a:pt x="4551" y="1015"/>
                </a:lnTo>
                <a:lnTo>
                  <a:pt x="4546" y="1017"/>
                </a:lnTo>
                <a:lnTo>
                  <a:pt x="4542" y="1017"/>
                </a:lnTo>
                <a:lnTo>
                  <a:pt x="4542" y="1014"/>
                </a:lnTo>
                <a:lnTo>
                  <a:pt x="4542" y="1017"/>
                </a:lnTo>
                <a:lnTo>
                  <a:pt x="4541" y="1017"/>
                </a:lnTo>
                <a:lnTo>
                  <a:pt x="4541" y="1017"/>
                </a:lnTo>
                <a:lnTo>
                  <a:pt x="4539" y="1014"/>
                </a:lnTo>
                <a:lnTo>
                  <a:pt x="4537" y="1014"/>
                </a:lnTo>
                <a:lnTo>
                  <a:pt x="4534" y="1013"/>
                </a:lnTo>
                <a:lnTo>
                  <a:pt x="4530" y="1014"/>
                </a:lnTo>
                <a:lnTo>
                  <a:pt x="4530" y="1007"/>
                </a:lnTo>
                <a:lnTo>
                  <a:pt x="4531" y="1005"/>
                </a:lnTo>
                <a:lnTo>
                  <a:pt x="4526" y="1005"/>
                </a:lnTo>
                <a:lnTo>
                  <a:pt x="4519" y="1013"/>
                </a:lnTo>
                <a:lnTo>
                  <a:pt x="4514" y="1014"/>
                </a:lnTo>
                <a:lnTo>
                  <a:pt x="4514" y="1017"/>
                </a:lnTo>
                <a:lnTo>
                  <a:pt x="4513" y="1017"/>
                </a:lnTo>
                <a:lnTo>
                  <a:pt x="4510" y="1016"/>
                </a:lnTo>
                <a:lnTo>
                  <a:pt x="4511" y="1018"/>
                </a:lnTo>
                <a:lnTo>
                  <a:pt x="4513" y="1020"/>
                </a:lnTo>
                <a:lnTo>
                  <a:pt x="4511" y="1022"/>
                </a:lnTo>
                <a:lnTo>
                  <a:pt x="4510" y="1025"/>
                </a:lnTo>
                <a:lnTo>
                  <a:pt x="4510" y="1025"/>
                </a:lnTo>
                <a:lnTo>
                  <a:pt x="4510" y="1025"/>
                </a:lnTo>
                <a:lnTo>
                  <a:pt x="4506" y="1020"/>
                </a:lnTo>
                <a:lnTo>
                  <a:pt x="4506" y="1021"/>
                </a:lnTo>
                <a:lnTo>
                  <a:pt x="4507" y="1023"/>
                </a:lnTo>
                <a:lnTo>
                  <a:pt x="4508" y="1025"/>
                </a:lnTo>
                <a:lnTo>
                  <a:pt x="4505" y="1023"/>
                </a:lnTo>
                <a:lnTo>
                  <a:pt x="4500" y="1029"/>
                </a:lnTo>
                <a:lnTo>
                  <a:pt x="4494" y="1036"/>
                </a:lnTo>
                <a:lnTo>
                  <a:pt x="4494" y="1040"/>
                </a:lnTo>
                <a:lnTo>
                  <a:pt x="4495" y="1040"/>
                </a:lnTo>
                <a:lnTo>
                  <a:pt x="4497" y="1041"/>
                </a:lnTo>
                <a:lnTo>
                  <a:pt x="4496" y="1046"/>
                </a:lnTo>
                <a:lnTo>
                  <a:pt x="4495" y="1051"/>
                </a:lnTo>
                <a:lnTo>
                  <a:pt x="4492" y="1052"/>
                </a:lnTo>
                <a:lnTo>
                  <a:pt x="4489" y="1052"/>
                </a:lnTo>
                <a:lnTo>
                  <a:pt x="4486" y="1056"/>
                </a:lnTo>
                <a:lnTo>
                  <a:pt x="4478" y="1060"/>
                </a:lnTo>
                <a:lnTo>
                  <a:pt x="4478" y="1062"/>
                </a:lnTo>
                <a:lnTo>
                  <a:pt x="4477" y="1065"/>
                </a:lnTo>
                <a:lnTo>
                  <a:pt x="4471" y="1065"/>
                </a:lnTo>
                <a:lnTo>
                  <a:pt x="4470" y="1066"/>
                </a:lnTo>
                <a:lnTo>
                  <a:pt x="4470" y="1067"/>
                </a:lnTo>
                <a:lnTo>
                  <a:pt x="4464" y="1069"/>
                </a:lnTo>
                <a:lnTo>
                  <a:pt x="4465" y="1073"/>
                </a:lnTo>
                <a:lnTo>
                  <a:pt x="4465" y="1077"/>
                </a:lnTo>
                <a:lnTo>
                  <a:pt x="4465" y="1077"/>
                </a:lnTo>
                <a:lnTo>
                  <a:pt x="4465" y="1077"/>
                </a:lnTo>
                <a:lnTo>
                  <a:pt x="4465" y="1077"/>
                </a:lnTo>
                <a:lnTo>
                  <a:pt x="4464" y="1077"/>
                </a:lnTo>
                <a:lnTo>
                  <a:pt x="4461" y="1077"/>
                </a:lnTo>
                <a:lnTo>
                  <a:pt x="4461" y="1079"/>
                </a:lnTo>
                <a:lnTo>
                  <a:pt x="4468" y="1081"/>
                </a:lnTo>
                <a:lnTo>
                  <a:pt x="4472" y="1085"/>
                </a:lnTo>
                <a:lnTo>
                  <a:pt x="4477" y="1089"/>
                </a:lnTo>
                <a:lnTo>
                  <a:pt x="4478" y="1089"/>
                </a:lnTo>
                <a:lnTo>
                  <a:pt x="4478" y="1089"/>
                </a:lnTo>
                <a:lnTo>
                  <a:pt x="4478" y="1089"/>
                </a:lnTo>
                <a:lnTo>
                  <a:pt x="4481" y="1097"/>
                </a:lnTo>
                <a:lnTo>
                  <a:pt x="4485" y="1100"/>
                </a:lnTo>
                <a:lnTo>
                  <a:pt x="4488" y="1104"/>
                </a:lnTo>
                <a:lnTo>
                  <a:pt x="4494" y="1116"/>
                </a:lnTo>
                <a:lnTo>
                  <a:pt x="4494" y="1120"/>
                </a:lnTo>
                <a:lnTo>
                  <a:pt x="4491" y="1131"/>
                </a:lnTo>
                <a:lnTo>
                  <a:pt x="4494" y="1133"/>
                </a:lnTo>
                <a:lnTo>
                  <a:pt x="4494" y="1131"/>
                </a:lnTo>
                <a:lnTo>
                  <a:pt x="4494" y="1139"/>
                </a:lnTo>
                <a:lnTo>
                  <a:pt x="4492" y="1144"/>
                </a:lnTo>
                <a:lnTo>
                  <a:pt x="4489" y="1150"/>
                </a:lnTo>
                <a:lnTo>
                  <a:pt x="4484" y="1150"/>
                </a:lnTo>
                <a:lnTo>
                  <a:pt x="4483" y="1148"/>
                </a:lnTo>
                <a:lnTo>
                  <a:pt x="4481" y="1146"/>
                </a:lnTo>
                <a:lnTo>
                  <a:pt x="4478" y="1149"/>
                </a:lnTo>
                <a:lnTo>
                  <a:pt x="4478" y="1149"/>
                </a:lnTo>
                <a:lnTo>
                  <a:pt x="4477" y="1150"/>
                </a:lnTo>
                <a:lnTo>
                  <a:pt x="4477" y="1150"/>
                </a:lnTo>
                <a:lnTo>
                  <a:pt x="4474" y="1150"/>
                </a:lnTo>
                <a:lnTo>
                  <a:pt x="4473" y="1149"/>
                </a:lnTo>
                <a:lnTo>
                  <a:pt x="4469" y="1150"/>
                </a:lnTo>
                <a:lnTo>
                  <a:pt x="4466" y="1150"/>
                </a:lnTo>
                <a:lnTo>
                  <a:pt x="4466" y="1150"/>
                </a:lnTo>
                <a:lnTo>
                  <a:pt x="4465" y="1150"/>
                </a:lnTo>
                <a:lnTo>
                  <a:pt x="4465" y="1150"/>
                </a:lnTo>
                <a:lnTo>
                  <a:pt x="4465" y="1152"/>
                </a:lnTo>
                <a:lnTo>
                  <a:pt x="4465" y="1152"/>
                </a:lnTo>
                <a:lnTo>
                  <a:pt x="4465" y="1153"/>
                </a:lnTo>
                <a:lnTo>
                  <a:pt x="4465" y="1153"/>
                </a:lnTo>
                <a:lnTo>
                  <a:pt x="4465" y="1155"/>
                </a:lnTo>
                <a:lnTo>
                  <a:pt x="4465" y="1156"/>
                </a:lnTo>
                <a:lnTo>
                  <a:pt x="4464" y="1157"/>
                </a:lnTo>
                <a:lnTo>
                  <a:pt x="4463" y="1158"/>
                </a:lnTo>
                <a:lnTo>
                  <a:pt x="4461" y="1158"/>
                </a:lnTo>
                <a:lnTo>
                  <a:pt x="4461" y="1158"/>
                </a:lnTo>
                <a:lnTo>
                  <a:pt x="4460" y="1158"/>
                </a:lnTo>
                <a:lnTo>
                  <a:pt x="4461" y="1158"/>
                </a:lnTo>
                <a:lnTo>
                  <a:pt x="4460" y="1158"/>
                </a:lnTo>
                <a:lnTo>
                  <a:pt x="4461" y="1157"/>
                </a:lnTo>
                <a:lnTo>
                  <a:pt x="4461" y="1156"/>
                </a:lnTo>
                <a:lnTo>
                  <a:pt x="4461" y="1153"/>
                </a:lnTo>
                <a:lnTo>
                  <a:pt x="4457" y="1156"/>
                </a:lnTo>
                <a:lnTo>
                  <a:pt x="4458" y="1157"/>
                </a:lnTo>
                <a:lnTo>
                  <a:pt x="4457" y="1158"/>
                </a:lnTo>
                <a:lnTo>
                  <a:pt x="4457" y="1157"/>
                </a:lnTo>
                <a:lnTo>
                  <a:pt x="4456" y="1156"/>
                </a:lnTo>
                <a:lnTo>
                  <a:pt x="4453" y="1158"/>
                </a:lnTo>
                <a:lnTo>
                  <a:pt x="4453" y="1158"/>
                </a:lnTo>
                <a:lnTo>
                  <a:pt x="4453" y="1158"/>
                </a:lnTo>
                <a:lnTo>
                  <a:pt x="4452" y="1159"/>
                </a:lnTo>
                <a:lnTo>
                  <a:pt x="4451" y="1159"/>
                </a:lnTo>
                <a:lnTo>
                  <a:pt x="4450" y="1158"/>
                </a:lnTo>
                <a:lnTo>
                  <a:pt x="4450" y="1159"/>
                </a:lnTo>
                <a:lnTo>
                  <a:pt x="4447" y="1162"/>
                </a:lnTo>
                <a:lnTo>
                  <a:pt x="4444" y="1162"/>
                </a:lnTo>
                <a:lnTo>
                  <a:pt x="4448" y="1157"/>
                </a:lnTo>
                <a:lnTo>
                  <a:pt x="4450" y="1157"/>
                </a:lnTo>
                <a:lnTo>
                  <a:pt x="4451" y="1158"/>
                </a:lnTo>
                <a:lnTo>
                  <a:pt x="4452" y="1158"/>
                </a:lnTo>
                <a:lnTo>
                  <a:pt x="4450" y="1154"/>
                </a:lnTo>
                <a:lnTo>
                  <a:pt x="4451" y="1152"/>
                </a:lnTo>
                <a:lnTo>
                  <a:pt x="4449" y="1150"/>
                </a:lnTo>
                <a:lnTo>
                  <a:pt x="4449" y="1149"/>
                </a:lnTo>
                <a:lnTo>
                  <a:pt x="4447" y="1150"/>
                </a:lnTo>
                <a:lnTo>
                  <a:pt x="4445" y="1150"/>
                </a:lnTo>
                <a:lnTo>
                  <a:pt x="4445" y="1148"/>
                </a:lnTo>
                <a:lnTo>
                  <a:pt x="4447" y="1147"/>
                </a:lnTo>
                <a:lnTo>
                  <a:pt x="4449" y="1145"/>
                </a:lnTo>
                <a:lnTo>
                  <a:pt x="4449" y="1142"/>
                </a:lnTo>
                <a:lnTo>
                  <a:pt x="4450" y="1142"/>
                </a:lnTo>
                <a:lnTo>
                  <a:pt x="4451" y="1142"/>
                </a:lnTo>
                <a:lnTo>
                  <a:pt x="4452" y="1140"/>
                </a:lnTo>
                <a:lnTo>
                  <a:pt x="4454" y="1139"/>
                </a:lnTo>
                <a:lnTo>
                  <a:pt x="4452" y="1139"/>
                </a:lnTo>
                <a:lnTo>
                  <a:pt x="4451" y="1139"/>
                </a:lnTo>
                <a:lnTo>
                  <a:pt x="4456" y="1138"/>
                </a:lnTo>
                <a:lnTo>
                  <a:pt x="4449" y="1138"/>
                </a:lnTo>
                <a:lnTo>
                  <a:pt x="4449" y="1133"/>
                </a:lnTo>
                <a:lnTo>
                  <a:pt x="4451" y="1133"/>
                </a:lnTo>
                <a:lnTo>
                  <a:pt x="4452" y="1132"/>
                </a:lnTo>
                <a:lnTo>
                  <a:pt x="4449" y="1130"/>
                </a:lnTo>
                <a:lnTo>
                  <a:pt x="4449" y="1122"/>
                </a:lnTo>
                <a:lnTo>
                  <a:pt x="4449" y="1119"/>
                </a:lnTo>
                <a:lnTo>
                  <a:pt x="4449" y="1116"/>
                </a:lnTo>
                <a:lnTo>
                  <a:pt x="4449" y="1114"/>
                </a:lnTo>
                <a:lnTo>
                  <a:pt x="4449" y="1112"/>
                </a:lnTo>
                <a:lnTo>
                  <a:pt x="4453" y="1113"/>
                </a:lnTo>
                <a:lnTo>
                  <a:pt x="4452" y="1114"/>
                </a:lnTo>
                <a:lnTo>
                  <a:pt x="4451" y="1114"/>
                </a:lnTo>
                <a:lnTo>
                  <a:pt x="4450" y="1114"/>
                </a:lnTo>
                <a:lnTo>
                  <a:pt x="4450" y="1114"/>
                </a:lnTo>
                <a:lnTo>
                  <a:pt x="4450" y="1116"/>
                </a:lnTo>
                <a:lnTo>
                  <a:pt x="4454" y="1116"/>
                </a:lnTo>
                <a:lnTo>
                  <a:pt x="4454" y="1114"/>
                </a:lnTo>
                <a:lnTo>
                  <a:pt x="4454" y="1114"/>
                </a:lnTo>
                <a:lnTo>
                  <a:pt x="4453" y="1113"/>
                </a:lnTo>
                <a:lnTo>
                  <a:pt x="4455" y="1114"/>
                </a:lnTo>
                <a:lnTo>
                  <a:pt x="4455" y="1114"/>
                </a:lnTo>
                <a:lnTo>
                  <a:pt x="4456" y="1112"/>
                </a:lnTo>
                <a:lnTo>
                  <a:pt x="4453" y="1113"/>
                </a:lnTo>
                <a:lnTo>
                  <a:pt x="4452" y="1109"/>
                </a:lnTo>
                <a:lnTo>
                  <a:pt x="4450" y="1104"/>
                </a:lnTo>
                <a:lnTo>
                  <a:pt x="4449" y="1104"/>
                </a:lnTo>
                <a:lnTo>
                  <a:pt x="4449" y="1104"/>
                </a:lnTo>
                <a:lnTo>
                  <a:pt x="4449" y="1103"/>
                </a:lnTo>
                <a:lnTo>
                  <a:pt x="4449" y="1103"/>
                </a:lnTo>
                <a:lnTo>
                  <a:pt x="4448" y="1102"/>
                </a:lnTo>
                <a:lnTo>
                  <a:pt x="4445" y="1104"/>
                </a:lnTo>
                <a:lnTo>
                  <a:pt x="4445" y="1105"/>
                </a:lnTo>
                <a:lnTo>
                  <a:pt x="4441" y="1102"/>
                </a:lnTo>
                <a:lnTo>
                  <a:pt x="4441" y="1104"/>
                </a:lnTo>
                <a:lnTo>
                  <a:pt x="4440" y="1102"/>
                </a:lnTo>
                <a:lnTo>
                  <a:pt x="4439" y="1100"/>
                </a:lnTo>
                <a:lnTo>
                  <a:pt x="4438" y="1099"/>
                </a:lnTo>
                <a:lnTo>
                  <a:pt x="4439" y="1101"/>
                </a:lnTo>
                <a:lnTo>
                  <a:pt x="4439" y="1102"/>
                </a:lnTo>
                <a:lnTo>
                  <a:pt x="4436" y="1104"/>
                </a:lnTo>
                <a:lnTo>
                  <a:pt x="4433" y="1105"/>
                </a:lnTo>
                <a:lnTo>
                  <a:pt x="4436" y="1102"/>
                </a:lnTo>
                <a:lnTo>
                  <a:pt x="4429" y="1101"/>
                </a:lnTo>
                <a:lnTo>
                  <a:pt x="4433" y="1099"/>
                </a:lnTo>
                <a:lnTo>
                  <a:pt x="4428" y="1098"/>
                </a:lnTo>
                <a:lnTo>
                  <a:pt x="4424" y="1098"/>
                </a:lnTo>
                <a:lnTo>
                  <a:pt x="4428" y="1096"/>
                </a:lnTo>
                <a:lnTo>
                  <a:pt x="4428" y="1093"/>
                </a:lnTo>
                <a:lnTo>
                  <a:pt x="4429" y="1091"/>
                </a:lnTo>
                <a:lnTo>
                  <a:pt x="4434" y="1087"/>
                </a:lnTo>
                <a:lnTo>
                  <a:pt x="4433" y="1086"/>
                </a:lnTo>
                <a:lnTo>
                  <a:pt x="4432" y="1086"/>
                </a:lnTo>
                <a:lnTo>
                  <a:pt x="4435" y="1077"/>
                </a:lnTo>
                <a:lnTo>
                  <a:pt x="4433" y="1075"/>
                </a:lnTo>
                <a:lnTo>
                  <a:pt x="4435" y="1073"/>
                </a:lnTo>
                <a:lnTo>
                  <a:pt x="4430" y="1073"/>
                </a:lnTo>
                <a:lnTo>
                  <a:pt x="4427" y="1071"/>
                </a:lnTo>
                <a:lnTo>
                  <a:pt x="4425" y="1069"/>
                </a:lnTo>
                <a:lnTo>
                  <a:pt x="4425" y="1070"/>
                </a:lnTo>
                <a:lnTo>
                  <a:pt x="4425" y="1071"/>
                </a:lnTo>
                <a:lnTo>
                  <a:pt x="4424" y="1071"/>
                </a:lnTo>
                <a:lnTo>
                  <a:pt x="4423" y="1070"/>
                </a:lnTo>
                <a:lnTo>
                  <a:pt x="4422" y="1069"/>
                </a:lnTo>
                <a:lnTo>
                  <a:pt x="4419" y="1065"/>
                </a:lnTo>
                <a:lnTo>
                  <a:pt x="4420" y="1064"/>
                </a:lnTo>
                <a:lnTo>
                  <a:pt x="4421" y="1062"/>
                </a:lnTo>
                <a:lnTo>
                  <a:pt x="4428" y="1056"/>
                </a:lnTo>
                <a:lnTo>
                  <a:pt x="4429" y="1058"/>
                </a:lnTo>
                <a:lnTo>
                  <a:pt x="4429" y="1056"/>
                </a:lnTo>
                <a:lnTo>
                  <a:pt x="4432" y="1054"/>
                </a:lnTo>
                <a:lnTo>
                  <a:pt x="4435" y="1052"/>
                </a:lnTo>
                <a:lnTo>
                  <a:pt x="4437" y="1051"/>
                </a:lnTo>
                <a:lnTo>
                  <a:pt x="4439" y="1049"/>
                </a:lnTo>
                <a:lnTo>
                  <a:pt x="4438" y="1049"/>
                </a:lnTo>
                <a:lnTo>
                  <a:pt x="4435" y="1049"/>
                </a:lnTo>
                <a:lnTo>
                  <a:pt x="4433" y="1049"/>
                </a:lnTo>
                <a:lnTo>
                  <a:pt x="4429" y="1051"/>
                </a:lnTo>
                <a:lnTo>
                  <a:pt x="4425" y="1053"/>
                </a:lnTo>
                <a:lnTo>
                  <a:pt x="4425" y="1053"/>
                </a:lnTo>
                <a:lnTo>
                  <a:pt x="4425" y="1053"/>
                </a:lnTo>
                <a:lnTo>
                  <a:pt x="4423" y="1056"/>
                </a:lnTo>
                <a:lnTo>
                  <a:pt x="4420" y="1059"/>
                </a:lnTo>
                <a:lnTo>
                  <a:pt x="4418" y="1061"/>
                </a:lnTo>
                <a:lnTo>
                  <a:pt x="4417" y="1062"/>
                </a:lnTo>
                <a:lnTo>
                  <a:pt x="4416" y="1064"/>
                </a:lnTo>
                <a:lnTo>
                  <a:pt x="4415" y="1065"/>
                </a:lnTo>
                <a:lnTo>
                  <a:pt x="4409" y="1065"/>
                </a:lnTo>
                <a:lnTo>
                  <a:pt x="4404" y="1067"/>
                </a:lnTo>
                <a:lnTo>
                  <a:pt x="4403" y="1065"/>
                </a:lnTo>
                <a:lnTo>
                  <a:pt x="4402" y="1064"/>
                </a:lnTo>
                <a:lnTo>
                  <a:pt x="4403" y="1068"/>
                </a:lnTo>
                <a:lnTo>
                  <a:pt x="4390" y="1073"/>
                </a:lnTo>
                <a:lnTo>
                  <a:pt x="4383" y="1081"/>
                </a:lnTo>
                <a:lnTo>
                  <a:pt x="4377" y="1081"/>
                </a:lnTo>
                <a:lnTo>
                  <a:pt x="4377" y="1082"/>
                </a:lnTo>
                <a:lnTo>
                  <a:pt x="4369" y="1083"/>
                </a:lnTo>
                <a:lnTo>
                  <a:pt x="4369" y="1080"/>
                </a:lnTo>
                <a:lnTo>
                  <a:pt x="4378" y="1078"/>
                </a:lnTo>
                <a:lnTo>
                  <a:pt x="4378" y="1076"/>
                </a:lnTo>
                <a:lnTo>
                  <a:pt x="4380" y="1074"/>
                </a:lnTo>
                <a:lnTo>
                  <a:pt x="4382" y="1073"/>
                </a:lnTo>
                <a:lnTo>
                  <a:pt x="4378" y="1073"/>
                </a:lnTo>
                <a:lnTo>
                  <a:pt x="4375" y="1072"/>
                </a:lnTo>
                <a:lnTo>
                  <a:pt x="4376" y="1071"/>
                </a:lnTo>
                <a:lnTo>
                  <a:pt x="4372" y="1068"/>
                </a:lnTo>
                <a:lnTo>
                  <a:pt x="4378" y="1067"/>
                </a:lnTo>
                <a:lnTo>
                  <a:pt x="4376" y="1064"/>
                </a:lnTo>
                <a:lnTo>
                  <a:pt x="4383" y="1062"/>
                </a:lnTo>
                <a:lnTo>
                  <a:pt x="4389" y="1053"/>
                </a:lnTo>
                <a:lnTo>
                  <a:pt x="4385" y="1048"/>
                </a:lnTo>
                <a:lnTo>
                  <a:pt x="4372" y="1045"/>
                </a:lnTo>
                <a:lnTo>
                  <a:pt x="4371" y="1047"/>
                </a:lnTo>
                <a:lnTo>
                  <a:pt x="4370" y="1049"/>
                </a:lnTo>
                <a:lnTo>
                  <a:pt x="4368" y="1049"/>
                </a:lnTo>
                <a:lnTo>
                  <a:pt x="4366" y="1049"/>
                </a:lnTo>
                <a:lnTo>
                  <a:pt x="4365" y="1052"/>
                </a:lnTo>
                <a:lnTo>
                  <a:pt x="4363" y="1055"/>
                </a:lnTo>
                <a:lnTo>
                  <a:pt x="4362" y="1057"/>
                </a:lnTo>
                <a:lnTo>
                  <a:pt x="4355" y="1060"/>
                </a:lnTo>
                <a:lnTo>
                  <a:pt x="4349" y="1064"/>
                </a:lnTo>
                <a:lnTo>
                  <a:pt x="4347" y="1065"/>
                </a:lnTo>
                <a:lnTo>
                  <a:pt x="4345" y="1066"/>
                </a:lnTo>
                <a:lnTo>
                  <a:pt x="4345" y="1069"/>
                </a:lnTo>
                <a:lnTo>
                  <a:pt x="4344" y="1072"/>
                </a:lnTo>
                <a:lnTo>
                  <a:pt x="4342" y="1075"/>
                </a:lnTo>
                <a:lnTo>
                  <a:pt x="4334" y="1077"/>
                </a:lnTo>
                <a:lnTo>
                  <a:pt x="4331" y="1079"/>
                </a:lnTo>
                <a:lnTo>
                  <a:pt x="4326" y="1076"/>
                </a:lnTo>
                <a:lnTo>
                  <a:pt x="4323" y="1078"/>
                </a:lnTo>
                <a:lnTo>
                  <a:pt x="4320" y="1086"/>
                </a:lnTo>
                <a:lnTo>
                  <a:pt x="4323" y="1092"/>
                </a:lnTo>
                <a:lnTo>
                  <a:pt x="4325" y="1094"/>
                </a:lnTo>
                <a:lnTo>
                  <a:pt x="4328" y="1098"/>
                </a:lnTo>
                <a:lnTo>
                  <a:pt x="4338" y="1098"/>
                </a:lnTo>
                <a:lnTo>
                  <a:pt x="4340" y="1099"/>
                </a:lnTo>
                <a:lnTo>
                  <a:pt x="4342" y="1100"/>
                </a:lnTo>
                <a:lnTo>
                  <a:pt x="4339" y="1110"/>
                </a:lnTo>
                <a:lnTo>
                  <a:pt x="4342" y="1112"/>
                </a:lnTo>
                <a:lnTo>
                  <a:pt x="4344" y="1114"/>
                </a:lnTo>
                <a:lnTo>
                  <a:pt x="4352" y="1114"/>
                </a:lnTo>
                <a:lnTo>
                  <a:pt x="4353" y="1112"/>
                </a:lnTo>
                <a:lnTo>
                  <a:pt x="4353" y="1111"/>
                </a:lnTo>
                <a:lnTo>
                  <a:pt x="4353" y="1107"/>
                </a:lnTo>
                <a:lnTo>
                  <a:pt x="4366" y="1099"/>
                </a:lnTo>
                <a:lnTo>
                  <a:pt x="4367" y="1100"/>
                </a:lnTo>
                <a:lnTo>
                  <a:pt x="4368" y="1101"/>
                </a:lnTo>
                <a:lnTo>
                  <a:pt x="4370" y="1103"/>
                </a:lnTo>
                <a:lnTo>
                  <a:pt x="4371" y="1105"/>
                </a:lnTo>
                <a:lnTo>
                  <a:pt x="4378" y="1108"/>
                </a:lnTo>
                <a:lnTo>
                  <a:pt x="4385" y="1106"/>
                </a:lnTo>
                <a:lnTo>
                  <a:pt x="4387" y="1110"/>
                </a:lnTo>
                <a:lnTo>
                  <a:pt x="4392" y="1110"/>
                </a:lnTo>
                <a:lnTo>
                  <a:pt x="4394" y="1112"/>
                </a:lnTo>
                <a:lnTo>
                  <a:pt x="4391" y="1112"/>
                </a:lnTo>
                <a:lnTo>
                  <a:pt x="4389" y="1113"/>
                </a:lnTo>
                <a:lnTo>
                  <a:pt x="4389" y="1116"/>
                </a:lnTo>
                <a:lnTo>
                  <a:pt x="4385" y="1117"/>
                </a:lnTo>
                <a:lnTo>
                  <a:pt x="4385" y="1116"/>
                </a:lnTo>
                <a:lnTo>
                  <a:pt x="4384" y="1115"/>
                </a:lnTo>
                <a:lnTo>
                  <a:pt x="4384" y="1114"/>
                </a:lnTo>
                <a:lnTo>
                  <a:pt x="4381" y="1116"/>
                </a:lnTo>
                <a:lnTo>
                  <a:pt x="4378" y="1118"/>
                </a:lnTo>
                <a:lnTo>
                  <a:pt x="4377" y="1118"/>
                </a:lnTo>
                <a:lnTo>
                  <a:pt x="4377" y="1117"/>
                </a:lnTo>
                <a:lnTo>
                  <a:pt x="4374" y="1120"/>
                </a:lnTo>
                <a:lnTo>
                  <a:pt x="4370" y="1122"/>
                </a:lnTo>
                <a:lnTo>
                  <a:pt x="4368" y="1126"/>
                </a:lnTo>
                <a:lnTo>
                  <a:pt x="4367" y="1126"/>
                </a:lnTo>
                <a:lnTo>
                  <a:pt x="4366" y="1126"/>
                </a:lnTo>
                <a:lnTo>
                  <a:pt x="4361" y="1126"/>
                </a:lnTo>
                <a:lnTo>
                  <a:pt x="4361" y="1129"/>
                </a:lnTo>
                <a:lnTo>
                  <a:pt x="4358" y="1131"/>
                </a:lnTo>
                <a:lnTo>
                  <a:pt x="4359" y="1133"/>
                </a:lnTo>
                <a:lnTo>
                  <a:pt x="4356" y="1135"/>
                </a:lnTo>
                <a:lnTo>
                  <a:pt x="4353" y="1137"/>
                </a:lnTo>
                <a:lnTo>
                  <a:pt x="4353" y="1137"/>
                </a:lnTo>
                <a:lnTo>
                  <a:pt x="4352" y="1138"/>
                </a:lnTo>
                <a:lnTo>
                  <a:pt x="4350" y="1139"/>
                </a:lnTo>
                <a:lnTo>
                  <a:pt x="4345" y="1150"/>
                </a:lnTo>
                <a:lnTo>
                  <a:pt x="4344" y="1150"/>
                </a:lnTo>
                <a:lnTo>
                  <a:pt x="4343" y="1151"/>
                </a:lnTo>
                <a:lnTo>
                  <a:pt x="4344" y="1153"/>
                </a:lnTo>
                <a:lnTo>
                  <a:pt x="4346" y="1153"/>
                </a:lnTo>
                <a:lnTo>
                  <a:pt x="4348" y="1154"/>
                </a:lnTo>
                <a:lnTo>
                  <a:pt x="4350" y="1157"/>
                </a:lnTo>
                <a:lnTo>
                  <a:pt x="4358" y="1160"/>
                </a:lnTo>
                <a:lnTo>
                  <a:pt x="4360" y="1172"/>
                </a:lnTo>
                <a:lnTo>
                  <a:pt x="4365" y="1183"/>
                </a:lnTo>
                <a:lnTo>
                  <a:pt x="4365" y="1188"/>
                </a:lnTo>
                <a:lnTo>
                  <a:pt x="4369" y="1191"/>
                </a:lnTo>
                <a:lnTo>
                  <a:pt x="4373" y="1194"/>
                </a:lnTo>
                <a:lnTo>
                  <a:pt x="4373" y="1196"/>
                </a:lnTo>
                <a:lnTo>
                  <a:pt x="4377" y="1198"/>
                </a:lnTo>
                <a:lnTo>
                  <a:pt x="4381" y="1199"/>
                </a:lnTo>
                <a:lnTo>
                  <a:pt x="4381" y="1201"/>
                </a:lnTo>
                <a:lnTo>
                  <a:pt x="4381" y="1203"/>
                </a:lnTo>
                <a:lnTo>
                  <a:pt x="4381" y="1205"/>
                </a:lnTo>
                <a:lnTo>
                  <a:pt x="4378" y="1204"/>
                </a:lnTo>
                <a:lnTo>
                  <a:pt x="4375" y="1202"/>
                </a:lnTo>
                <a:lnTo>
                  <a:pt x="4378" y="1205"/>
                </a:lnTo>
                <a:lnTo>
                  <a:pt x="4381" y="1208"/>
                </a:lnTo>
                <a:lnTo>
                  <a:pt x="4381" y="1208"/>
                </a:lnTo>
                <a:lnTo>
                  <a:pt x="4381" y="1208"/>
                </a:lnTo>
                <a:lnTo>
                  <a:pt x="4377" y="1206"/>
                </a:lnTo>
                <a:lnTo>
                  <a:pt x="4374" y="1205"/>
                </a:lnTo>
                <a:lnTo>
                  <a:pt x="4375" y="1206"/>
                </a:lnTo>
                <a:lnTo>
                  <a:pt x="4372" y="1206"/>
                </a:lnTo>
                <a:lnTo>
                  <a:pt x="4378" y="1210"/>
                </a:lnTo>
                <a:lnTo>
                  <a:pt x="4381" y="1216"/>
                </a:lnTo>
                <a:lnTo>
                  <a:pt x="4381" y="1222"/>
                </a:lnTo>
                <a:lnTo>
                  <a:pt x="4376" y="1222"/>
                </a:lnTo>
                <a:lnTo>
                  <a:pt x="4373" y="1223"/>
                </a:lnTo>
                <a:lnTo>
                  <a:pt x="4370" y="1223"/>
                </a:lnTo>
                <a:lnTo>
                  <a:pt x="4368" y="1226"/>
                </a:lnTo>
                <a:lnTo>
                  <a:pt x="4366" y="1230"/>
                </a:lnTo>
                <a:lnTo>
                  <a:pt x="4363" y="1230"/>
                </a:lnTo>
                <a:lnTo>
                  <a:pt x="4362" y="1230"/>
                </a:lnTo>
                <a:lnTo>
                  <a:pt x="4364" y="1230"/>
                </a:lnTo>
                <a:lnTo>
                  <a:pt x="4366" y="1231"/>
                </a:lnTo>
                <a:lnTo>
                  <a:pt x="4371" y="1229"/>
                </a:lnTo>
                <a:lnTo>
                  <a:pt x="4375" y="1228"/>
                </a:lnTo>
                <a:lnTo>
                  <a:pt x="4377" y="1231"/>
                </a:lnTo>
                <a:lnTo>
                  <a:pt x="4379" y="1234"/>
                </a:lnTo>
                <a:lnTo>
                  <a:pt x="4385" y="1236"/>
                </a:lnTo>
                <a:lnTo>
                  <a:pt x="4385" y="1238"/>
                </a:lnTo>
                <a:lnTo>
                  <a:pt x="4384" y="1238"/>
                </a:lnTo>
                <a:lnTo>
                  <a:pt x="4384" y="1237"/>
                </a:lnTo>
                <a:lnTo>
                  <a:pt x="4384" y="1237"/>
                </a:lnTo>
                <a:lnTo>
                  <a:pt x="4384" y="1238"/>
                </a:lnTo>
                <a:lnTo>
                  <a:pt x="4383" y="1238"/>
                </a:lnTo>
                <a:lnTo>
                  <a:pt x="4384" y="1237"/>
                </a:lnTo>
                <a:lnTo>
                  <a:pt x="4382" y="1239"/>
                </a:lnTo>
                <a:lnTo>
                  <a:pt x="4382" y="1239"/>
                </a:lnTo>
                <a:lnTo>
                  <a:pt x="4383" y="1241"/>
                </a:lnTo>
                <a:lnTo>
                  <a:pt x="4383" y="1243"/>
                </a:lnTo>
                <a:lnTo>
                  <a:pt x="4383" y="1245"/>
                </a:lnTo>
                <a:lnTo>
                  <a:pt x="4382" y="1244"/>
                </a:lnTo>
                <a:lnTo>
                  <a:pt x="4381" y="1242"/>
                </a:lnTo>
                <a:lnTo>
                  <a:pt x="4381" y="1246"/>
                </a:lnTo>
                <a:lnTo>
                  <a:pt x="4379" y="1245"/>
                </a:lnTo>
                <a:lnTo>
                  <a:pt x="4377" y="1244"/>
                </a:lnTo>
                <a:lnTo>
                  <a:pt x="4375" y="1246"/>
                </a:lnTo>
                <a:lnTo>
                  <a:pt x="4377" y="1248"/>
                </a:lnTo>
                <a:lnTo>
                  <a:pt x="4377" y="1250"/>
                </a:lnTo>
                <a:lnTo>
                  <a:pt x="4376" y="1250"/>
                </a:lnTo>
                <a:lnTo>
                  <a:pt x="4379" y="1253"/>
                </a:lnTo>
                <a:lnTo>
                  <a:pt x="4378" y="1254"/>
                </a:lnTo>
                <a:lnTo>
                  <a:pt x="4376" y="1254"/>
                </a:lnTo>
                <a:lnTo>
                  <a:pt x="4379" y="1259"/>
                </a:lnTo>
                <a:lnTo>
                  <a:pt x="4378" y="1260"/>
                </a:lnTo>
                <a:lnTo>
                  <a:pt x="4376" y="1259"/>
                </a:lnTo>
                <a:lnTo>
                  <a:pt x="4374" y="1261"/>
                </a:lnTo>
                <a:lnTo>
                  <a:pt x="4373" y="1263"/>
                </a:lnTo>
                <a:lnTo>
                  <a:pt x="4373" y="1262"/>
                </a:lnTo>
                <a:lnTo>
                  <a:pt x="4373" y="1262"/>
                </a:lnTo>
                <a:lnTo>
                  <a:pt x="4373" y="1261"/>
                </a:lnTo>
                <a:lnTo>
                  <a:pt x="4373" y="1261"/>
                </a:lnTo>
                <a:lnTo>
                  <a:pt x="4372" y="1260"/>
                </a:lnTo>
                <a:lnTo>
                  <a:pt x="4372" y="1261"/>
                </a:lnTo>
                <a:lnTo>
                  <a:pt x="4372" y="1260"/>
                </a:lnTo>
                <a:lnTo>
                  <a:pt x="4370" y="1263"/>
                </a:lnTo>
                <a:lnTo>
                  <a:pt x="4368" y="1266"/>
                </a:lnTo>
                <a:lnTo>
                  <a:pt x="4365" y="1266"/>
                </a:lnTo>
                <a:lnTo>
                  <a:pt x="4365" y="1268"/>
                </a:lnTo>
                <a:lnTo>
                  <a:pt x="4362" y="1271"/>
                </a:lnTo>
                <a:lnTo>
                  <a:pt x="4364" y="1273"/>
                </a:lnTo>
                <a:lnTo>
                  <a:pt x="4364" y="1275"/>
                </a:lnTo>
                <a:lnTo>
                  <a:pt x="4363" y="1276"/>
                </a:lnTo>
                <a:lnTo>
                  <a:pt x="4362" y="1277"/>
                </a:lnTo>
                <a:lnTo>
                  <a:pt x="4361" y="1277"/>
                </a:lnTo>
                <a:lnTo>
                  <a:pt x="4360" y="1278"/>
                </a:lnTo>
                <a:lnTo>
                  <a:pt x="4358" y="1278"/>
                </a:lnTo>
                <a:lnTo>
                  <a:pt x="4362" y="1282"/>
                </a:lnTo>
                <a:lnTo>
                  <a:pt x="4357" y="1282"/>
                </a:lnTo>
                <a:lnTo>
                  <a:pt x="4357" y="1286"/>
                </a:lnTo>
                <a:lnTo>
                  <a:pt x="4357" y="1286"/>
                </a:lnTo>
                <a:lnTo>
                  <a:pt x="4357" y="1286"/>
                </a:lnTo>
                <a:lnTo>
                  <a:pt x="4357" y="1287"/>
                </a:lnTo>
                <a:lnTo>
                  <a:pt x="4355" y="1288"/>
                </a:lnTo>
                <a:lnTo>
                  <a:pt x="4353" y="1288"/>
                </a:lnTo>
                <a:lnTo>
                  <a:pt x="4355" y="1286"/>
                </a:lnTo>
                <a:lnTo>
                  <a:pt x="4353" y="1286"/>
                </a:lnTo>
                <a:lnTo>
                  <a:pt x="4353" y="1287"/>
                </a:lnTo>
                <a:lnTo>
                  <a:pt x="4353" y="1287"/>
                </a:lnTo>
                <a:lnTo>
                  <a:pt x="4353" y="1287"/>
                </a:lnTo>
                <a:lnTo>
                  <a:pt x="4353" y="1286"/>
                </a:lnTo>
                <a:lnTo>
                  <a:pt x="4352" y="1286"/>
                </a:lnTo>
                <a:lnTo>
                  <a:pt x="4351" y="1286"/>
                </a:lnTo>
                <a:lnTo>
                  <a:pt x="4351" y="1286"/>
                </a:lnTo>
                <a:lnTo>
                  <a:pt x="4350" y="1285"/>
                </a:lnTo>
                <a:lnTo>
                  <a:pt x="4349" y="1284"/>
                </a:lnTo>
                <a:lnTo>
                  <a:pt x="4349" y="1290"/>
                </a:lnTo>
                <a:lnTo>
                  <a:pt x="4350" y="1290"/>
                </a:lnTo>
                <a:lnTo>
                  <a:pt x="4349" y="1291"/>
                </a:lnTo>
                <a:lnTo>
                  <a:pt x="4350" y="1292"/>
                </a:lnTo>
                <a:lnTo>
                  <a:pt x="4349" y="1295"/>
                </a:lnTo>
                <a:lnTo>
                  <a:pt x="4349" y="1296"/>
                </a:lnTo>
                <a:lnTo>
                  <a:pt x="4349" y="1295"/>
                </a:lnTo>
                <a:lnTo>
                  <a:pt x="4350" y="1296"/>
                </a:lnTo>
                <a:lnTo>
                  <a:pt x="4350" y="1297"/>
                </a:lnTo>
                <a:lnTo>
                  <a:pt x="4350" y="1298"/>
                </a:lnTo>
                <a:lnTo>
                  <a:pt x="4349" y="1298"/>
                </a:lnTo>
                <a:lnTo>
                  <a:pt x="4349" y="1306"/>
                </a:lnTo>
                <a:lnTo>
                  <a:pt x="4349" y="1306"/>
                </a:lnTo>
                <a:lnTo>
                  <a:pt x="4345" y="1303"/>
                </a:lnTo>
                <a:lnTo>
                  <a:pt x="4344" y="1305"/>
                </a:lnTo>
                <a:lnTo>
                  <a:pt x="4343" y="1307"/>
                </a:lnTo>
                <a:lnTo>
                  <a:pt x="4344" y="1308"/>
                </a:lnTo>
                <a:lnTo>
                  <a:pt x="4345" y="1309"/>
                </a:lnTo>
                <a:lnTo>
                  <a:pt x="4343" y="1310"/>
                </a:lnTo>
                <a:lnTo>
                  <a:pt x="4341" y="1311"/>
                </a:lnTo>
                <a:lnTo>
                  <a:pt x="4341" y="1310"/>
                </a:lnTo>
                <a:lnTo>
                  <a:pt x="4343" y="1310"/>
                </a:lnTo>
                <a:lnTo>
                  <a:pt x="4342" y="1310"/>
                </a:lnTo>
                <a:lnTo>
                  <a:pt x="4341" y="1310"/>
                </a:lnTo>
                <a:lnTo>
                  <a:pt x="4339" y="1311"/>
                </a:lnTo>
                <a:lnTo>
                  <a:pt x="4337" y="1312"/>
                </a:lnTo>
                <a:lnTo>
                  <a:pt x="4339" y="1313"/>
                </a:lnTo>
                <a:lnTo>
                  <a:pt x="4340" y="1314"/>
                </a:lnTo>
                <a:lnTo>
                  <a:pt x="4333" y="1315"/>
                </a:lnTo>
                <a:lnTo>
                  <a:pt x="4333" y="1318"/>
                </a:lnTo>
                <a:lnTo>
                  <a:pt x="4338" y="1318"/>
                </a:lnTo>
                <a:lnTo>
                  <a:pt x="4333" y="1319"/>
                </a:lnTo>
                <a:lnTo>
                  <a:pt x="4333" y="1318"/>
                </a:lnTo>
                <a:lnTo>
                  <a:pt x="4332" y="1319"/>
                </a:lnTo>
                <a:lnTo>
                  <a:pt x="4330" y="1321"/>
                </a:lnTo>
                <a:lnTo>
                  <a:pt x="4328" y="1319"/>
                </a:lnTo>
                <a:lnTo>
                  <a:pt x="4326" y="1322"/>
                </a:lnTo>
                <a:lnTo>
                  <a:pt x="4327" y="1323"/>
                </a:lnTo>
                <a:lnTo>
                  <a:pt x="4328" y="1325"/>
                </a:lnTo>
                <a:lnTo>
                  <a:pt x="4325" y="1327"/>
                </a:lnTo>
                <a:lnTo>
                  <a:pt x="4323" y="1329"/>
                </a:lnTo>
                <a:lnTo>
                  <a:pt x="4324" y="1329"/>
                </a:lnTo>
                <a:lnTo>
                  <a:pt x="4322" y="1330"/>
                </a:lnTo>
                <a:lnTo>
                  <a:pt x="4320" y="1332"/>
                </a:lnTo>
                <a:lnTo>
                  <a:pt x="4318" y="1333"/>
                </a:lnTo>
                <a:lnTo>
                  <a:pt x="4318" y="1334"/>
                </a:lnTo>
                <a:lnTo>
                  <a:pt x="4319" y="1336"/>
                </a:lnTo>
                <a:lnTo>
                  <a:pt x="4317" y="1339"/>
                </a:lnTo>
                <a:lnTo>
                  <a:pt x="4316" y="1339"/>
                </a:lnTo>
                <a:lnTo>
                  <a:pt x="4316" y="1337"/>
                </a:lnTo>
                <a:lnTo>
                  <a:pt x="4316" y="1333"/>
                </a:lnTo>
                <a:lnTo>
                  <a:pt x="4316" y="1333"/>
                </a:lnTo>
                <a:lnTo>
                  <a:pt x="4316" y="1334"/>
                </a:lnTo>
                <a:lnTo>
                  <a:pt x="4315" y="1334"/>
                </a:lnTo>
                <a:lnTo>
                  <a:pt x="4314" y="1336"/>
                </a:lnTo>
                <a:lnTo>
                  <a:pt x="4313" y="1334"/>
                </a:lnTo>
                <a:lnTo>
                  <a:pt x="4311" y="1334"/>
                </a:lnTo>
                <a:lnTo>
                  <a:pt x="4308" y="1341"/>
                </a:lnTo>
                <a:lnTo>
                  <a:pt x="4309" y="1343"/>
                </a:lnTo>
                <a:lnTo>
                  <a:pt x="4301" y="1343"/>
                </a:lnTo>
                <a:lnTo>
                  <a:pt x="4301" y="1346"/>
                </a:lnTo>
                <a:lnTo>
                  <a:pt x="4301" y="1346"/>
                </a:lnTo>
                <a:lnTo>
                  <a:pt x="4301" y="1347"/>
                </a:lnTo>
                <a:lnTo>
                  <a:pt x="4294" y="1349"/>
                </a:lnTo>
                <a:lnTo>
                  <a:pt x="4292" y="1347"/>
                </a:lnTo>
                <a:lnTo>
                  <a:pt x="4289" y="1347"/>
                </a:lnTo>
                <a:lnTo>
                  <a:pt x="4289" y="1351"/>
                </a:lnTo>
                <a:lnTo>
                  <a:pt x="4283" y="1349"/>
                </a:lnTo>
                <a:lnTo>
                  <a:pt x="4277" y="1351"/>
                </a:lnTo>
                <a:lnTo>
                  <a:pt x="4277" y="1349"/>
                </a:lnTo>
                <a:lnTo>
                  <a:pt x="4276" y="1350"/>
                </a:lnTo>
                <a:lnTo>
                  <a:pt x="4275" y="1351"/>
                </a:lnTo>
                <a:lnTo>
                  <a:pt x="4278" y="1355"/>
                </a:lnTo>
                <a:lnTo>
                  <a:pt x="4275" y="1355"/>
                </a:lnTo>
                <a:lnTo>
                  <a:pt x="4275" y="1355"/>
                </a:lnTo>
                <a:lnTo>
                  <a:pt x="4274" y="1355"/>
                </a:lnTo>
                <a:lnTo>
                  <a:pt x="4269" y="1356"/>
                </a:lnTo>
                <a:lnTo>
                  <a:pt x="4269" y="1357"/>
                </a:lnTo>
                <a:lnTo>
                  <a:pt x="4266" y="1357"/>
                </a:lnTo>
                <a:lnTo>
                  <a:pt x="4269" y="1356"/>
                </a:lnTo>
                <a:lnTo>
                  <a:pt x="4270" y="1355"/>
                </a:lnTo>
                <a:lnTo>
                  <a:pt x="4266" y="1355"/>
                </a:lnTo>
                <a:lnTo>
                  <a:pt x="4264" y="1350"/>
                </a:lnTo>
                <a:lnTo>
                  <a:pt x="4263" y="1348"/>
                </a:lnTo>
                <a:lnTo>
                  <a:pt x="4261" y="1347"/>
                </a:lnTo>
                <a:lnTo>
                  <a:pt x="4257" y="1344"/>
                </a:lnTo>
                <a:lnTo>
                  <a:pt x="4257" y="1347"/>
                </a:lnTo>
                <a:lnTo>
                  <a:pt x="4260" y="1347"/>
                </a:lnTo>
                <a:lnTo>
                  <a:pt x="4258" y="1350"/>
                </a:lnTo>
                <a:lnTo>
                  <a:pt x="4257" y="1353"/>
                </a:lnTo>
                <a:lnTo>
                  <a:pt x="4257" y="1357"/>
                </a:lnTo>
                <a:lnTo>
                  <a:pt x="4257" y="1363"/>
                </a:lnTo>
                <a:lnTo>
                  <a:pt x="4257" y="1363"/>
                </a:lnTo>
                <a:lnTo>
                  <a:pt x="4253" y="1363"/>
                </a:lnTo>
                <a:lnTo>
                  <a:pt x="4253" y="1357"/>
                </a:lnTo>
                <a:lnTo>
                  <a:pt x="4252" y="1362"/>
                </a:lnTo>
                <a:lnTo>
                  <a:pt x="4252" y="1362"/>
                </a:lnTo>
                <a:lnTo>
                  <a:pt x="4250" y="1364"/>
                </a:lnTo>
                <a:lnTo>
                  <a:pt x="4248" y="1365"/>
                </a:lnTo>
                <a:lnTo>
                  <a:pt x="4248" y="1365"/>
                </a:lnTo>
                <a:lnTo>
                  <a:pt x="4247" y="1364"/>
                </a:lnTo>
                <a:lnTo>
                  <a:pt x="4246" y="1365"/>
                </a:lnTo>
                <a:lnTo>
                  <a:pt x="4245" y="1365"/>
                </a:lnTo>
                <a:lnTo>
                  <a:pt x="4241" y="1364"/>
                </a:lnTo>
                <a:lnTo>
                  <a:pt x="4238" y="1362"/>
                </a:lnTo>
                <a:lnTo>
                  <a:pt x="4238" y="1364"/>
                </a:lnTo>
                <a:lnTo>
                  <a:pt x="4239" y="1365"/>
                </a:lnTo>
                <a:lnTo>
                  <a:pt x="4238" y="1366"/>
                </a:lnTo>
                <a:lnTo>
                  <a:pt x="4238" y="1368"/>
                </a:lnTo>
                <a:lnTo>
                  <a:pt x="4234" y="1364"/>
                </a:lnTo>
                <a:lnTo>
                  <a:pt x="4236" y="1368"/>
                </a:lnTo>
                <a:lnTo>
                  <a:pt x="4234" y="1369"/>
                </a:lnTo>
                <a:lnTo>
                  <a:pt x="4230" y="1370"/>
                </a:lnTo>
                <a:lnTo>
                  <a:pt x="4226" y="1371"/>
                </a:lnTo>
                <a:lnTo>
                  <a:pt x="4226" y="1370"/>
                </a:lnTo>
                <a:lnTo>
                  <a:pt x="4226" y="1370"/>
                </a:lnTo>
                <a:lnTo>
                  <a:pt x="4226" y="1370"/>
                </a:lnTo>
                <a:lnTo>
                  <a:pt x="4226" y="1371"/>
                </a:lnTo>
                <a:lnTo>
                  <a:pt x="4225" y="1371"/>
                </a:lnTo>
                <a:lnTo>
                  <a:pt x="4225" y="1369"/>
                </a:lnTo>
                <a:lnTo>
                  <a:pt x="4222" y="1371"/>
                </a:lnTo>
                <a:lnTo>
                  <a:pt x="4216" y="1371"/>
                </a:lnTo>
                <a:lnTo>
                  <a:pt x="4216" y="1374"/>
                </a:lnTo>
                <a:lnTo>
                  <a:pt x="4217" y="1375"/>
                </a:lnTo>
                <a:lnTo>
                  <a:pt x="4216" y="1374"/>
                </a:lnTo>
                <a:lnTo>
                  <a:pt x="4214" y="1374"/>
                </a:lnTo>
                <a:lnTo>
                  <a:pt x="4211" y="1375"/>
                </a:lnTo>
                <a:lnTo>
                  <a:pt x="4208" y="1376"/>
                </a:lnTo>
                <a:lnTo>
                  <a:pt x="4208" y="1383"/>
                </a:lnTo>
                <a:lnTo>
                  <a:pt x="4212" y="1383"/>
                </a:lnTo>
                <a:lnTo>
                  <a:pt x="4212" y="1382"/>
                </a:lnTo>
                <a:lnTo>
                  <a:pt x="4217" y="1387"/>
                </a:lnTo>
                <a:lnTo>
                  <a:pt x="4214" y="1391"/>
                </a:lnTo>
                <a:lnTo>
                  <a:pt x="4210" y="1391"/>
                </a:lnTo>
                <a:lnTo>
                  <a:pt x="4204" y="1391"/>
                </a:lnTo>
                <a:lnTo>
                  <a:pt x="4204" y="1387"/>
                </a:lnTo>
                <a:lnTo>
                  <a:pt x="4207" y="1386"/>
                </a:lnTo>
                <a:lnTo>
                  <a:pt x="4210" y="1385"/>
                </a:lnTo>
                <a:lnTo>
                  <a:pt x="4206" y="1382"/>
                </a:lnTo>
                <a:lnTo>
                  <a:pt x="4205" y="1381"/>
                </a:lnTo>
                <a:lnTo>
                  <a:pt x="4205" y="1379"/>
                </a:lnTo>
                <a:lnTo>
                  <a:pt x="4205" y="1376"/>
                </a:lnTo>
                <a:lnTo>
                  <a:pt x="4206" y="1373"/>
                </a:lnTo>
                <a:lnTo>
                  <a:pt x="4210" y="1371"/>
                </a:lnTo>
                <a:lnTo>
                  <a:pt x="4206" y="1371"/>
                </a:lnTo>
                <a:lnTo>
                  <a:pt x="4205" y="1371"/>
                </a:lnTo>
                <a:lnTo>
                  <a:pt x="4200" y="1365"/>
                </a:lnTo>
                <a:lnTo>
                  <a:pt x="4200" y="1368"/>
                </a:lnTo>
                <a:lnTo>
                  <a:pt x="4200" y="1369"/>
                </a:lnTo>
                <a:lnTo>
                  <a:pt x="4193" y="1370"/>
                </a:lnTo>
                <a:lnTo>
                  <a:pt x="4193" y="1371"/>
                </a:lnTo>
                <a:lnTo>
                  <a:pt x="4192" y="1371"/>
                </a:lnTo>
                <a:lnTo>
                  <a:pt x="4192" y="1371"/>
                </a:lnTo>
                <a:lnTo>
                  <a:pt x="4192" y="1371"/>
                </a:lnTo>
                <a:lnTo>
                  <a:pt x="4192" y="1370"/>
                </a:lnTo>
                <a:lnTo>
                  <a:pt x="4192" y="1367"/>
                </a:lnTo>
                <a:lnTo>
                  <a:pt x="4192" y="1367"/>
                </a:lnTo>
                <a:lnTo>
                  <a:pt x="4191" y="1365"/>
                </a:lnTo>
                <a:lnTo>
                  <a:pt x="4191" y="1365"/>
                </a:lnTo>
                <a:lnTo>
                  <a:pt x="4191" y="1363"/>
                </a:lnTo>
                <a:lnTo>
                  <a:pt x="4184" y="1363"/>
                </a:lnTo>
                <a:lnTo>
                  <a:pt x="4184" y="1364"/>
                </a:lnTo>
                <a:lnTo>
                  <a:pt x="4186" y="1364"/>
                </a:lnTo>
                <a:lnTo>
                  <a:pt x="4188" y="1365"/>
                </a:lnTo>
                <a:lnTo>
                  <a:pt x="4188" y="1366"/>
                </a:lnTo>
                <a:lnTo>
                  <a:pt x="4187" y="1367"/>
                </a:lnTo>
                <a:lnTo>
                  <a:pt x="4186" y="1366"/>
                </a:lnTo>
                <a:lnTo>
                  <a:pt x="4186" y="1365"/>
                </a:lnTo>
                <a:lnTo>
                  <a:pt x="4185" y="1366"/>
                </a:lnTo>
                <a:lnTo>
                  <a:pt x="4185" y="1367"/>
                </a:lnTo>
                <a:lnTo>
                  <a:pt x="4184" y="1367"/>
                </a:lnTo>
                <a:lnTo>
                  <a:pt x="4184" y="1368"/>
                </a:lnTo>
                <a:lnTo>
                  <a:pt x="4180" y="1369"/>
                </a:lnTo>
                <a:lnTo>
                  <a:pt x="4181" y="1369"/>
                </a:lnTo>
                <a:lnTo>
                  <a:pt x="4180" y="1370"/>
                </a:lnTo>
                <a:lnTo>
                  <a:pt x="4180" y="1370"/>
                </a:lnTo>
                <a:lnTo>
                  <a:pt x="4178" y="1371"/>
                </a:lnTo>
                <a:lnTo>
                  <a:pt x="4177" y="1371"/>
                </a:lnTo>
                <a:lnTo>
                  <a:pt x="4176" y="1371"/>
                </a:lnTo>
                <a:lnTo>
                  <a:pt x="4175" y="1371"/>
                </a:lnTo>
                <a:lnTo>
                  <a:pt x="4174" y="1371"/>
                </a:lnTo>
                <a:lnTo>
                  <a:pt x="4175" y="1371"/>
                </a:lnTo>
                <a:lnTo>
                  <a:pt x="4172" y="1373"/>
                </a:lnTo>
                <a:lnTo>
                  <a:pt x="4172" y="1373"/>
                </a:lnTo>
                <a:lnTo>
                  <a:pt x="4171" y="1375"/>
                </a:lnTo>
                <a:lnTo>
                  <a:pt x="4169" y="1376"/>
                </a:lnTo>
                <a:lnTo>
                  <a:pt x="4168" y="1377"/>
                </a:lnTo>
                <a:lnTo>
                  <a:pt x="4168" y="1376"/>
                </a:lnTo>
                <a:lnTo>
                  <a:pt x="4167" y="1375"/>
                </a:lnTo>
                <a:lnTo>
                  <a:pt x="4164" y="1375"/>
                </a:lnTo>
                <a:lnTo>
                  <a:pt x="4164" y="1379"/>
                </a:lnTo>
                <a:lnTo>
                  <a:pt x="4163" y="1379"/>
                </a:lnTo>
                <a:lnTo>
                  <a:pt x="4162" y="1379"/>
                </a:lnTo>
                <a:lnTo>
                  <a:pt x="4163" y="1381"/>
                </a:lnTo>
                <a:lnTo>
                  <a:pt x="4163" y="1383"/>
                </a:lnTo>
                <a:lnTo>
                  <a:pt x="4160" y="1383"/>
                </a:lnTo>
                <a:lnTo>
                  <a:pt x="4160" y="1386"/>
                </a:lnTo>
                <a:lnTo>
                  <a:pt x="4150" y="1392"/>
                </a:lnTo>
                <a:lnTo>
                  <a:pt x="4149" y="1394"/>
                </a:lnTo>
                <a:lnTo>
                  <a:pt x="4148" y="1397"/>
                </a:lnTo>
                <a:lnTo>
                  <a:pt x="4148" y="1401"/>
                </a:lnTo>
                <a:lnTo>
                  <a:pt x="4147" y="1404"/>
                </a:lnTo>
                <a:lnTo>
                  <a:pt x="4146" y="1406"/>
                </a:lnTo>
                <a:lnTo>
                  <a:pt x="4151" y="1416"/>
                </a:lnTo>
                <a:lnTo>
                  <a:pt x="4155" y="1419"/>
                </a:lnTo>
                <a:lnTo>
                  <a:pt x="4159" y="1423"/>
                </a:lnTo>
                <a:lnTo>
                  <a:pt x="4158" y="1425"/>
                </a:lnTo>
                <a:lnTo>
                  <a:pt x="4157" y="1427"/>
                </a:lnTo>
                <a:lnTo>
                  <a:pt x="4162" y="1432"/>
                </a:lnTo>
                <a:lnTo>
                  <a:pt x="4165" y="1434"/>
                </a:lnTo>
                <a:lnTo>
                  <a:pt x="4168" y="1435"/>
                </a:lnTo>
                <a:lnTo>
                  <a:pt x="4168" y="1439"/>
                </a:lnTo>
                <a:lnTo>
                  <a:pt x="4174" y="1447"/>
                </a:lnTo>
                <a:lnTo>
                  <a:pt x="4175" y="1446"/>
                </a:lnTo>
                <a:lnTo>
                  <a:pt x="4177" y="1446"/>
                </a:lnTo>
                <a:lnTo>
                  <a:pt x="4178" y="1451"/>
                </a:lnTo>
                <a:lnTo>
                  <a:pt x="4181" y="1451"/>
                </a:lnTo>
                <a:lnTo>
                  <a:pt x="4183" y="1450"/>
                </a:lnTo>
                <a:lnTo>
                  <a:pt x="4184" y="1450"/>
                </a:lnTo>
                <a:lnTo>
                  <a:pt x="4184" y="1449"/>
                </a:lnTo>
                <a:lnTo>
                  <a:pt x="4184" y="1449"/>
                </a:lnTo>
                <a:lnTo>
                  <a:pt x="4185" y="1451"/>
                </a:lnTo>
                <a:lnTo>
                  <a:pt x="4184" y="1451"/>
                </a:lnTo>
                <a:lnTo>
                  <a:pt x="4184" y="1451"/>
                </a:lnTo>
                <a:lnTo>
                  <a:pt x="4185" y="1453"/>
                </a:lnTo>
                <a:lnTo>
                  <a:pt x="4191" y="1463"/>
                </a:lnTo>
                <a:lnTo>
                  <a:pt x="4192" y="1463"/>
                </a:lnTo>
                <a:lnTo>
                  <a:pt x="4194" y="1474"/>
                </a:lnTo>
                <a:lnTo>
                  <a:pt x="4196" y="1486"/>
                </a:lnTo>
                <a:lnTo>
                  <a:pt x="4196" y="1486"/>
                </a:lnTo>
                <a:lnTo>
                  <a:pt x="4198" y="1486"/>
                </a:lnTo>
                <a:lnTo>
                  <a:pt x="4199" y="1487"/>
                </a:lnTo>
                <a:lnTo>
                  <a:pt x="4199" y="1487"/>
                </a:lnTo>
                <a:lnTo>
                  <a:pt x="4196" y="1487"/>
                </a:lnTo>
                <a:lnTo>
                  <a:pt x="4196" y="1492"/>
                </a:lnTo>
                <a:lnTo>
                  <a:pt x="4201" y="1501"/>
                </a:lnTo>
                <a:lnTo>
                  <a:pt x="4199" y="1504"/>
                </a:lnTo>
                <a:lnTo>
                  <a:pt x="4199" y="1506"/>
                </a:lnTo>
                <a:lnTo>
                  <a:pt x="4199" y="1509"/>
                </a:lnTo>
                <a:lnTo>
                  <a:pt x="4198" y="1508"/>
                </a:lnTo>
                <a:lnTo>
                  <a:pt x="4197" y="1508"/>
                </a:lnTo>
                <a:lnTo>
                  <a:pt x="4198" y="1514"/>
                </a:lnTo>
                <a:lnTo>
                  <a:pt x="4197" y="1515"/>
                </a:lnTo>
                <a:lnTo>
                  <a:pt x="4196" y="1515"/>
                </a:lnTo>
                <a:lnTo>
                  <a:pt x="4196" y="1515"/>
                </a:lnTo>
                <a:lnTo>
                  <a:pt x="4197" y="1515"/>
                </a:lnTo>
                <a:lnTo>
                  <a:pt x="4197" y="1516"/>
                </a:lnTo>
                <a:lnTo>
                  <a:pt x="4199" y="1519"/>
                </a:lnTo>
                <a:lnTo>
                  <a:pt x="4197" y="1523"/>
                </a:lnTo>
                <a:lnTo>
                  <a:pt x="4192" y="1523"/>
                </a:lnTo>
                <a:lnTo>
                  <a:pt x="4192" y="1527"/>
                </a:lnTo>
                <a:lnTo>
                  <a:pt x="4192" y="1527"/>
                </a:lnTo>
                <a:lnTo>
                  <a:pt x="4182" y="1533"/>
                </a:lnTo>
                <a:lnTo>
                  <a:pt x="4181" y="1535"/>
                </a:lnTo>
                <a:lnTo>
                  <a:pt x="4178" y="1535"/>
                </a:lnTo>
                <a:lnTo>
                  <a:pt x="4173" y="1537"/>
                </a:lnTo>
                <a:lnTo>
                  <a:pt x="4169" y="1539"/>
                </a:lnTo>
                <a:lnTo>
                  <a:pt x="4167" y="1538"/>
                </a:lnTo>
                <a:lnTo>
                  <a:pt x="4167" y="1537"/>
                </a:lnTo>
                <a:lnTo>
                  <a:pt x="4164" y="1536"/>
                </a:lnTo>
                <a:lnTo>
                  <a:pt x="4164" y="1535"/>
                </a:lnTo>
                <a:lnTo>
                  <a:pt x="4160" y="1533"/>
                </a:lnTo>
                <a:lnTo>
                  <a:pt x="4160" y="1536"/>
                </a:lnTo>
                <a:lnTo>
                  <a:pt x="4162" y="1540"/>
                </a:lnTo>
                <a:lnTo>
                  <a:pt x="4163" y="1543"/>
                </a:lnTo>
                <a:lnTo>
                  <a:pt x="4160" y="1543"/>
                </a:lnTo>
                <a:lnTo>
                  <a:pt x="4160" y="1544"/>
                </a:lnTo>
                <a:lnTo>
                  <a:pt x="4160" y="1544"/>
                </a:lnTo>
                <a:lnTo>
                  <a:pt x="4162" y="1544"/>
                </a:lnTo>
                <a:lnTo>
                  <a:pt x="4162" y="1545"/>
                </a:lnTo>
                <a:lnTo>
                  <a:pt x="4162" y="1545"/>
                </a:lnTo>
                <a:lnTo>
                  <a:pt x="4161" y="1547"/>
                </a:lnTo>
                <a:lnTo>
                  <a:pt x="4158" y="1543"/>
                </a:lnTo>
                <a:lnTo>
                  <a:pt x="4157" y="1543"/>
                </a:lnTo>
                <a:lnTo>
                  <a:pt x="4157" y="1543"/>
                </a:lnTo>
                <a:lnTo>
                  <a:pt x="4157" y="1544"/>
                </a:lnTo>
                <a:lnTo>
                  <a:pt x="4160" y="1548"/>
                </a:lnTo>
                <a:lnTo>
                  <a:pt x="4160" y="1550"/>
                </a:lnTo>
                <a:lnTo>
                  <a:pt x="4156" y="1551"/>
                </a:lnTo>
                <a:lnTo>
                  <a:pt x="4152" y="1548"/>
                </a:lnTo>
                <a:lnTo>
                  <a:pt x="4148" y="1544"/>
                </a:lnTo>
                <a:lnTo>
                  <a:pt x="4152" y="1550"/>
                </a:lnTo>
                <a:lnTo>
                  <a:pt x="4152" y="1553"/>
                </a:lnTo>
                <a:lnTo>
                  <a:pt x="4143" y="1556"/>
                </a:lnTo>
                <a:lnTo>
                  <a:pt x="4143" y="1560"/>
                </a:lnTo>
                <a:lnTo>
                  <a:pt x="4141" y="1563"/>
                </a:lnTo>
                <a:lnTo>
                  <a:pt x="4140" y="1565"/>
                </a:lnTo>
                <a:lnTo>
                  <a:pt x="4138" y="1567"/>
                </a:lnTo>
                <a:lnTo>
                  <a:pt x="4134" y="1567"/>
                </a:lnTo>
                <a:lnTo>
                  <a:pt x="4135" y="1565"/>
                </a:lnTo>
                <a:lnTo>
                  <a:pt x="4135" y="1563"/>
                </a:lnTo>
                <a:lnTo>
                  <a:pt x="4132" y="1562"/>
                </a:lnTo>
                <a:lnTo>
                  <a:pt x="4132" y="1548"/>
                </a:lnTo>
                <a:lnTo>
                  <a:pt x="4135" y="1546"/>
                </a:lnTo>
                <a:lnTo>
                  <a:pt x="4138" y="1545"/>
                </a:lnTo>
                <a:lnTo>
                  <a:pt x="4139" y="1546"/>
                </a:lnTo>
                <a:lnTo>
                  <a:pt x="4140" y="1547"/>
                </a:lnTo>
                <a:lnTo>
                  <a:pt x="4140" y="1545"/>
                </a:lnTo>
                <a:lnTo>
                  <a:pt x="4135" y="1540"/>
                </a:lnTo>
                <a:lnTo>
                  <a:pt x="4134" y="1541"/>
                </a:lnTo>
                <a:lnTo>
                  <a:pt x="4133" y="1542"/>
                </a:lnTo>
                <a:lnTo>
                  <a:pt x="4131" y="1540"/>
                </a:lnTo>
                <a:lnTo>
                  <a:pt x="4130" y="1539"/>
                </a:lnTo>
                <a:lnTo>
                  <a:pt x="4131" y="1538"/>
                </a:lnTo>
                <a:lnTo>
                  <a:pt x="4133" y="1536"/>
                </a:lnTo>
                <a:lnTo>
                  <a:pt x="4135" y="1536"/>
                </a:lnTo>
                <a:lnTo>
                  <a:pt x="4136" y="1535"/>
                </a:lnTo>
                <a:lnTo>
                  <a:pt x="4136" y="1534"/>
                </a:lnTo>
                <a:lnTo>
                  <a:pt x="4136" y="1533"/>
                </a:lnTo>
                <a:lnTo>
                  <a:pt x="4136" y="1532"/>
                </a:lnTo>
                <a:lnTo>
                  <a:pt x="4135" y="1534"/>
                </a:lnTo>
                <a:lnTo>
                  <a:pt x="4133" y="1535"/>
                </a:lnTo>
                <a:lnTo>
                  <a:pt x="4130" y="1535"/>
                </a:lnTo>
                <a:lnTo>
                  <a:pt x="4128" y="1538"/>
                </a:lnTo>
                <a:lnTo>
                  <a:pt x="4128" y="1538"/>
                </a:lnTo>
                <a:lnTo>
                  <a:pt x="4128" y="1538"/>
                </a:lnTo>
                <a:lnTo>
                  <a:pt x="4125" y="1535"/>
                </a:lnTo>
                <a:lnTo>
                  <a:pt x="4122" y="1535"/>
                </a:lnTo>
                <a:lnTo>
                  <a:pt x="4116" y="1536"/>
                </a:lnTo>
                <a:lnTo>
                  <a:pt x="4113" y="1534"/>
                </a:lnTo>
                <a:lnTo>
                  <a:pt x="4116" y="1532"/>
                </a:lnTo>
                <a:lnTo>
                  <a:pt x="4116" y="1530"/>
                </a:lnTo>
                <a:lnTo>
                  <a:pt x="4113" y="1527"/>
                </a:lnTo>
                <a:lnTo>
                  <a:pt x="4113" y="1531"/>
                </a:lnTo>
                <a:lnTo>
                  <a:pt x="4110" y="1531"/>
                </a:lnTo>
                <a:lnTo>
                  <a:pt x="4108" y="1524"/>
                </a:lnTo>
                <a:lnTo>
                  <a:pt x="4106" y="1519"/>
                </a:lnTo>
                <a:lnTo>
                  <a:pt x="4106" y="1519"/>
                </a:lnTo>
                <a:lnTo>
                  <a:pt x="4105" y="1519"/>
                </a:lnTo>
                <a:lnTo>
                  <a:pt x="4104" y="1519"/>
                </a:lnTo>
                <a:lnTo>
                  <a:pt x="4104" y="1517"/>
                </a:lnTo>
                <a:lnTo>
                  <a:pt x="4105" y="1518"/>
                </a:lnTo>
                <a:lnTo>
                  <a:pt x="4106" y="1518"/>
                </a:lnTo>
                <a:lnTo>
                  <a:pt x="4105" y="1515"/>
                </a:lnTo>
                <a:lnTo>
                  <a:pt x="4105" y="1516"/>
                </a:lnTo>
                <a:lnTo>
                  <a:pt x="4104" y="1517"/>
                </a:lnTo>
                <a:lnTo>
                  <a:pt x="4104" y="1517"/>
                </a:lnTo>
                <a:lnTo>
                  <a:pt x="4104" y="1516"/>
                </a:lnTo>
                <a:lnTo>
                  <a:pt x="4103" y="1511"/>
                </a:lnTo>
                <a:lnTo>
                  <a:pt x="4101" y="1511"/>
                </a:lnTo>
                <a:lnTo>
                  <a:pt x="4100" y="1511"/>
                </a:lnTo>
                <a:lnTo>
                  <a:pt x="4100" y="1511"/>
                </a:lnTo>
                <a:lnTo>
                  <a:pt x="4097" y="1511"/>
                </a:lnTo>
                <a:lnTo>
                  <a:pt x="4096" y="1509"/>
                </a:lnTo>
                <a:lnTo>
                  <a:pt x="4096" y="1507"/>
                </a:lnTo>
                <a:lnTo>
                  <a:pt x="4093" y="1507"/>
                </a:lnTo>
                <a:lnTo>
                  <a:pt x="4090" y="1504"/>
                </a:lnTo>
                <a:lnTo>
                  <a:pt x="4085" y="1507"/>
                </a:lnTo>
                <a:lnTo>
                  <a:pt x="4081" y="1507"/>
                </a:lnTo>
                <a:lnTo>
                  <a:pt x="4080" y="1506"/>
                </a:lnTo>
                <a:lnTo>
                  <a:pt x="4080" y="1506"/>
                </a:lnTo>
                <a:lnTo>
                  <a:pt x="4080" y="1506"/>
                </a:lnTo>
                <a:lnTo>
                  <a:pt x="4079" y="1505"/>
                </a:lnTo>
                <a:lnTo>
                  <a:pt x="4078" y="1504"/>
                </a:lnTo>
                <a:lnTo>
                  <a:pt x="4078" y="1498"/>
                </a:lnTo>
                <a:lnTo>
                  <a:pt x="4079" y="1491"/>
                </a:lnTo>
                <a:lnTo>
                  <a:pt x="4073" y="1491"/>
                </a:lnTo>
                <a:lnTo>
                  <a:pt x="4066" y="1493"/>
                </a:lnTo>
                <a:lnTo>
                  <a:pt x="4065" y="1495"/>
                </a:lnTo>
                <a:lnTo>
                  <a:pt x="4066" y="1497"/>
                </a:lnTo>
                <a:lnTo>
                  <a:pt x="4064" y="1504"/>
                </a:lnTo>
                <a:lnTo>
                  <a:pt x="4064" y="1511"/>
                </a:lnTo>
                <a:lnTo>
                  <a:pt x="4058" y="1522"/>
                </a:lnTo>
                <a:lnTo>
                  <a:pt x="4056" y="1531"/>
                </a:lnTo>
                <a:lnTo>
                  <a:pt x="4048" y="1539"/>
                </a:lnTo>
                <a:lnTo>
                  <a:pt x="4048" y="1549"/>
                </a:lnTo>
                <a:lnTo>
                  <a:pt x="4053" y="1555"/>
                </a:lnTo>
                <a:lnTo>
                  <a:pt x="4055" y="1555"/>
                </a:lnTo>
                <a:lnTo>
                  <a:pt x="4054" y="1556"/>
                </a:lnTo>
                <a:lnTo>
                  <a:pt x="4056" y="1557"/>
                </a:lnTo>
                <a:lnTo>
                  <a:pt x="4063" y="1556"/>
                </a:lnTo>
                <a:lnTo>
                  <a:pt x="4066" y="1568"/>
                </a:lnTo>
                <a:lnTo>
                  <a:pt x="4066" y="1571"/>
                </a:lnTo>
                <a:lnTo>
                  <a:pt x="4067" y="1571"/>
                </a:lnTo>
                <a:lnTo>
                  <a:pt x="4069" y="1579"/>
                </a:lnTo>
                <a:lnTo>
                  <a:pt x="4067" y="1579"/>
                </a:lnTo>
                <a:lnTo>
                  <a:pt x="4066" y="1579"/>
                </a:lnTo>
                <a:lnTo>
                  <a:pt x="4067" y="1584"/>
                </a:lnTo>
                <a:lnTo>
                  <a:pt x="4071" y="1588"/>
                </a:lnTo>
                <a:lnTo>
                  <a:pt x="4073" y="1588"/>
                </a:lnTo>
                <a:lnTo>
                  <a:pt x="4074" y="1588"/>
                </a:lnTo>
                <a:lnTo>
                  <a:pt x="4075" y="1590"/>
                </a:lnTo>
                <a:lnTo>
                  <a:pt x="4077" y="1592"/>
                </a:lnTo>
                <a:lnTo>
                  <a:pt x="4079" y="1596"/>
                </a:lnTo>
                <a:lnTo>
                  <a:pt x="4084" y="1596"/>
                </a:lnTo>
                <a:lnTo>
                  <a:pt x="4084" y="1591"/>
                </a:lnTo>
                <a:lnTo>
                  <a:pt x="4088" y="1593"/>
                </a:lnTo>
                <a:lnTo>
                  <a:pt x="4090" y="1600"/>
                </a:lnTo>
                <a:lnTo>
                  <a:pt x="4094" y="1604"/>
                </a:lnTo>
                <a:lnTo>
                  <a:pt x="4095" y="1604"/>
                </a:lnTo>
                <a:lnTo>
                  <a:pt x="4098" y="1604"/>
                </a:lnTo>
                <a:lnTo>
                  <a:pt x="4101" y="1606"/>
                </a:lnTo>
                <a:lnTo>
                  <a:pt x="4109" y="1611"/>
                </a:lnTo>
                <a:lnTo>
                  <a:pt x="4114" y="1620"/>
                </a:lnTo>
                <a:lnTo>
                  <a:pt x="4114" y="1624"/>
                </a:lnTo>
                <a:lnTo>
                  <a:pt x="4115" y="1628"/>
                </a:lnTo>
                <a:lnTo>
                  <a:pt x="4113" y="1633"/>
                </a:lnTo>
                <a:lnTo>
                  <a:pt x="4111" y="1639"/>
                </a:lnTo>
                <a:lnTo>
                  <a:pt x="4113" y="1640"/>
                </a:lnTo>
                <a:lnTo>
                  <a:pt x="4115" y="1642"/>
                </a:lnTo>
                <a:lnTo>
                  <a:pt x="4114" y="1646"/>
                </a:lnTo>
                <a:lnTo>
                  <a:pt x="4114" y="1650"/>
                </a:lnTo>
                <a:lnTo>
                  <a:pt x="4115" y="1652"/>
                </a:lnTo>
                <a:lnTo>
                  <a:pt x="4117" y="1654"/>
                </a:lnTo>
                <a:lnTo>
                  <a:pt x="4118" y="1655"/>
                </a:lnTo>
                <a:lnTo>
                  <a:pt x="4120" y="1655"/>
                </a:lnTo>
                <a:lnTo>
                  <a:pt x="4122" y="1662"/>
                </a:lnTo>
                <a:lnTo>
                  <a:pt x="4124" y="1669"/>
                </a:lnTo>
                <a:lnTo>
                  <a:pt x="4124" y="1676"/>
                </a:lnTo>
                <a:lnTo>
                  <a:pt x="4126" y="1676"/>
                </a:lnTo>
                <a:lnTo>
                  <a:pt x="4125" y="1678"/>
                </a:lnTo>
                <a:lnTo>
                  <a:pt x="4123" y="1679"/>
                </a:lnTo>
                <a:lnTo>
                  <a:pt x="4123" y="1678"/>
                </a:lnTo>
                <a:lnTo>
                  <a:pt x="4123" y="1676"/>
                </a:lnTo>
                <a:lnTo>
                  <a:pt x="4123" y="1676"/>
                </a:lnTo>
                <a:lnTo>
                  <a:pt x="4123" y="1676"/>
                </a:lnTo>
                <a:lnTo>
                  <a:pt x="4123" y="1676"/>
                </a:lnTo>
                <a:lnTo>
                  <a:pt x="4123" y="1676"/>
                </a:lnTo>
                <a:lnTo>
                  <a:pt x="4123" y="1676"/>
                </a:lnTo>
                <a:lnTo>
                  <a:pt x="4120" y="1670"/>
                </a:lnTo>
                <a:lnTo>
                  <a:pt x="4120" y="1674"/>
                </a:lnTo>
                <a:lnTo>
                  <a:pt x="4120" y="1674"/>
                </a:lnTo>
                <a:lnTo>
                  <a:pt x="4118" y="1671"/>
                </a:lnTo>
                <a:lnTo>
                  <a:pt x="4115" y="1675"/>
                </a:lnTo>
                <a:lnTo>
                  <a:pt x="4115" y="1675"/>
                </a:lnTo>
                <a:lnTo>
                  <a:pt x="4114" y="1673"/>
                </a:lnTo>
                <a:lnTo>
                  <a:pt x="4114" y="1671"/>
                </a:lnTo>
                <a:lnTo>
                  <a:pt x="4104" y="1667"/>
                </a:lnTo>
                <a:lnTo>
                  <a:pt x="4101" y="1664"/>
                </a:lnTo>
                <a:lnTo>
                  <a:pt x="4096" y="1660"/>
                </a:lnTo>
                <a:lnTo>
                  <a:pt x="4089" y="1655"/>
                </a:lnTo>
                <a:lnTo>
                  <a:pt x="4084" y="1652"/>
                </a:lnTo>
                <a:lnTo>
                  <a:pt x="4085" y="1649"/>
                </a:lnTo>
                <a:lnTo>
                  <a:pt x="4084" y="1646"/>
                </a:lnTo>
                <a:lnTo>
                  <a:pt x="4081" y="1644"/>
                </a:lnTo>
                <a:lnTo>
                  <a:pt x="4078" y="1642"/>
                </a:lnTo>
                <a:lnTo>
                  <a:pt x="4075" y="1640"/>
                </a:lnTo>
                <a:lnTo>
                  <a:pt x="4077" y="1640"/>
                </a:lnTo>
                <a:lnTo>
                  <a:pt x="4073" y="1638"/>
                </a:lnTo>
                <a:lnTo>
                  <a:pt x="4075" y="1636"/>
                </a:lnTo>
                <a:lnTo>
                  <a:pt x="4077" y="1636"/>
                </a:lnTo>
                <a:lnTo>
                  <a:pt x="4072" y="1631"/>
                </a:lnTo>
                <a:lnTo>
                  <a:pt x="4072" y="1622"/>
                </a:lnTo>
                <a:lnTo>
                  <a:pt x="4070" y="1619"/>
                </a:lnTo>
                <a:lnTo>
                  <a:pt x="4068" y="1616"/>
                </a:lnTo>
                <a:lnTo>
                  <a:pt x="4070" y="1615"/>
                </a:lnTo>
                <a:lnTo>
                  <a:pt x="4068" y="1603"/>
                </a:lnTo>
                <a:lnTo>
                  <a:pt x="4065" y="1599"/>
                </a:lnTo>
                <a:lnTo>
                  <a:pt x="4064" y="1599"/>
                </a:lnTo>
                <a:lnTo>
                  <a:pt x="4064" y="1599"/>
                </a:lnTo>
                <a:lnTo>
                  <a:pt x="4065" y="1599"/>
                </a:lnTo>
                <a:lnTo>
                  <a:pt x="4060" y="1594"/>
                </a:lnTo>
                <a:lnTo>
                  <a:pt x="4062" y="1592"/>
                </a:lnTo>
                <a:lnTo>
                  <a:pt x="4058" y="1592"/>
                </a:lnTo>
                <a:lnTo>
                  <a:pt x="4056" y="1587"/>
                </a:lnTo>
                <a:lnTo>
                  <a:pt x="4054" y="1581"/>
                </a:lnTo>
                <a:lnTo>
                  <a:pt x="4053" y="1581"/>
                </a:lnTo>
                <a:lnTo>
                  <a:pt x="4051" y="1579"/>
                </a:lnTo>
                <a:lnTo>
                  <a:pt x="4048" y="1579"/>
                </a:lnTo>
                <a:lnTo>
                  <a:pt x="4048" y="1577"/>
                </a:lnTo>
                <a:lnTo>
                  <a:pt x="4048" y="1576"/>
                </a:lnTo>
                <a:lnTo>
                  <a:pt x="4047" y="1576"/>
                </a:lnTo>
                <a:lnTo>
                  <a:pt x="4046" y="1573"/>
                </a:lnTo>
                <a:lnTo>
                  <a:pt x="4044" y="1571"/>
                </a:lnTo>
                <a:lnTo>
                  <a:pt x="4044" y="1568"/>
                </a:lnTo>
                <a:lnTo>
                  <a:pt x="4040" y="1571"/>
                </a:lnTo>
                <a:lnTo>
                  <a:pt x="4040" y="1572"/>
                </a:lnTo>
                <a:lnTo>
                  <a:pt x="4036" y="1571"/>
                </a:lnTo>
                <a:lnTo>
                  <a:pt x="4036" y="1567"/>
                </a:lnTo>
                <a:lnTo>
                  <a:pt x="4040" y="1563"/>
                </a:lnTo>
                <a:lnTo>
                  <a:pt x="4036" y="1563"/>
                </a:lnTo>
                <a:lnTo>
                  <a:pt x="4036" y="1556"/>
                </a:lnTo>
                <a:lnTo>
                  <a:pt x="4037" y="1559"/>
                </a:lnTo>
                <a:lnTo>
                  <a:pt x="4038" y="1556"/>
                </a:lnTo>
                <a:lnTo>
                  <a:pt x="4044" y="1539"/>
                </a:lnTo>
                <a:lnTo>
                  <a:pt x="4044" y="1537"/>
                </a:lnTo>
                <a:lnTo>
                  <a:pt x="4044" y="1536"/>
                </a:lnTo>
                <a:lnTo>
                  <a:pt x="4042" y="1542"/>
                </a:lnTo>
                <a:lnTo>
                  <a:pt x="4043" y="1531"/>
                </a:lnTo>
                <a:lnTo>
                  <a:pt x="4044" y="1531"/>
                </a:lnTo>
                <a:lnTo>
                  <a:pt x="4044" y="1531"/>
                </a:lnTo>
                <a:lnTo>
                  <a:pt x="4044" y="1534"/>
                </a:lnTo>
                <a:lnTo>
                  <a:pt x="4044" y="1534"/>
                </a:lnTo>
                <a:lnTo>
                  <a:pt x="4049" y="1531"/>
                </a:lnTo>
                <a:lnTo>
                  <a:pt x="4054" y="1529"/>
                </a:lnTo>
                <a:lnTo>
                  <a:pt x="4059" y="1517"/>
                </a:lnTo>
                <a:lnTo>
                  <a:pt x="4058" y="1514"/>
                </a:lnTo>
                <a:lnTo>
                  <a:pt x="4051" y="1525"/>
                </a:lnTo>
                <a:lnTo>
                  <a:pt x="4045" y="1529"/>
                </a:lnTo>
                <a:lnTo>
                  <a:pt x="4048" y="1519"/>
                </a:lnTo>
                <a:lnTo>
                  <a:pt x="4048" y="1519"/>
                </a:lnTo>
                <a:lnTo>
                  <a:pt x="4047" y="1515"/>
                </a:lnTo>
                <a:lnTo>
                  <a:pt x="4044" y="1516"/>
                </a:lnTo>
                <a:lnTo>
                  <a:pt x="4044" y="1516"/>
                </a:lnTo>
                <a:lnTo>
                  <a:pt x="4044" y="1515"/>
                </a:lnTo>
                <a:lnTo>
                  <a:pt x="4043" y="1515"/>
                </a:lnTo>
                <a:lnTo>
                  <a:pt x="4044" y="1516"/>
                </a:lnTo>
                <a:lnTo>
                  <a:pt x="4044" y="1519"/>
                </a:lnTo>
                <a:lnTo>
                  <a:pt x="4043" y="1519"/>
                </a:lnTo>
                <a:lnTo>
                  <a:pt x="4042" y="1516"/>
                </a:lnTo>
                <a:lnTo>
                  <a:pt x="4041" y="1514"/>
                </a:lnTo>
                <a:lnTo>
                  <a:pt x="4040" y="1515"/>
                </a:lnTo>
                <a:lnTo>
                  <a:pt x="4040" y="1515"/>
                </a:lnTo>
                <a:lnTo>
                  <a:pt x="4040" y="1509"/>
                </a:lnTo>
                <a:lnTo>
                  <a:pt x="4042" y="1511"/>
                </a:lnTo>
                <a:lnTo>
                  <a:pt x="4044" y="1512"/>
                </a:lnTo>
                <a:lnTo>
                  <a:pt x="4044" y="1512"/>
                </a:lnTo>
                <a:lnTo>
                  <a:pt x="4044" y="1511"/>
                </a:lnTo>
                <a:lnTo>
                  <a:pt x="4044" y="1507"/>
                </a:lnTo>
                <a:lnTo>
                  <a:pt x="4044" y="1507"/>
                </a:lnTo>
                <a:lnTo>
                  <a:pt x="4045" y="1502"/>
                </a:lnTo>
                <a:lnTo>
                  <a:pt x="4044" y="1493"/>
                </a:lnTo>
                <a:lnTo>
                  <a:pt x="4041" y="1484"/>
                </a:lnTo>
                <a:lnTo>
                  <a:pt x="4039" y="1479"/>
                </a:lnTo>
                <a:lnTo>
                  <a:pt x="4037" y="1487"/>
                </a:lnTo>
                <a:lnTo>
                  <a:pt x="4036" y="1487"/>
                </a:lnTo>
                <a:lnTo>
                  <a:pt x="4036" y="1478"/>
                </a:lnTo>
                <a:lnTo>
                  <a:pt x="4032" y="1467"/>
                </a:lnTo>
                <a:lnTo>
                  <a:pt x="4032" y="1460"/>
                </a:lnTo>
                <a:lnTo>
                  <a:pt x="4032" y="1453"/>
                </a:lnTo>
                <a:lnTo>
                  <a:pt x="4029" y="1449"/>
                </a:lnTo>
                <a:lnTo>
                  <a:pt x="4028" y="1447"/>
                </a:lnTo>
                <a:lnTo>
                  <a:pt x="4028" y="1448"/>
                </a:lnTo>
                <a:lnTo>
                  <a:pt x="4028" y="1444"/>
                </a:lnTo>
                <a:lnTo>
                  <a:pt x="4028" y="1443"/>
                </a:lnTo>
                <a:lnTo>
                  <a:pt x="4029" y="1443"/>
                </a:lnTo>
                <a:lnTo>
                  <a:pt x="4029" y="1446"/>
                </a:lnTo>
                <a:lnTo>
                  <a:pt x="4028" y="1443"/>
                </a:lnTo>
                <a:lnTo>
                  <a:pt x="4027" y="1443"/>
                </a:lnTo>
                <a:lnTo>
                  <a:pt x="4023" y="1433"/>
                </a:lnTo>
                <a:lnTo>
                  <a:pt x="4022" y="1430"/>
                </a:lnTo>
                <a:lnTo>
                  <a:pt x="4021" y="1428"/>
                </a:lnTo>
                <a:lnTo>
                  <a:pt x="4020" y="1430"/>
                </a:lnTo>
                <a:lnTo>
                  <a:pt x="4019" y="1433"/>
                </a:lnTo>
                <a:lnTo>
                  <a:pt x="4020" y="1434"/>
                </a:lnTo>
                <a:lnTo>
                  <a:pt x="4021" y="1435"/>
                </a:lnTo>
                <a:lnTo>
                  <a:pt x="4020" y="1437"/>
                </a:lnTo>
                <a:lnTo>
                  <a:pt x="4019" y="1439"/>
                </a:lnTo>
                <a:lnTo>
                  <a:pt x="4015" y="1443"/>
                </a:lnTo>
                <a:lnTo>
                  <a:pt x="4012" y="1443"/>
                </a:lnTo>
                <a:lnTo>
                  <a:pt x="4008" y="1441"/>
                </a:lnTo>
                <a:lnTo>
                  <a:pt x="4008" y="1447"/>
                </a:lnTo>
                <a:lnTo>
                  <a:pt x="4004" y="1447"/>
                </a:lnTo>
                <a:lnTo>
                  <a:pt x="4004" y="1446"/>
                </a:lnTo>
                <a:lnTo>
                  <a:pt x="4003" y="1449"/>
                </a:lnTo>
                <a:lnTo>
                  <a:pt x="4002" y="1452"/>
                </a:lnTo>
                <a:lnTo>
                  <a:pt x="4000" y="1455"/>
                </a:lnTo>
                <a:lnTo>
                  <a:pt x="3997" y="1455"/>
                </a:lnTo>
                <a:lnTo>
                  <a:pt x="3996" y="1455"/>
                </a:lnTo>
                <a:lnTo>
                  <a:pt x="3996" y="1449"/>
                </a:lnTo>
                <a:lnTo>
                  <a:pt x="3994" y="1455"/>
                </a:lnTo>
                <a:lnTo>
                  <a:pt x="3988" y="1455"/>
                </a:lnTo>
                <a:lnTo>
                  <a:pt x="3988" y="1451"/>
                </a:lnTo>
                <a:lnTo>
                  <a:pt x="3988" y="1451"/>
                </a:lnTo>
                <a:lnTo>
                  <a:pt x="3988" y="1451"/>
                </a:lnTo>
                <a:lnTo>
                  <a:pt x="3989" y="1450"/>
                </a:lnTo>
                <a:lnTo>
                  <a:pt x="3990" y="1448"/>
                </a:lnTo>
                <a:lnTo>
                  <a:pt x="3989" y="1449"/>
                </a:lnTo>
                <a:lnTo>
                  <a:pt x="3989" y="1449"/>
                </a:lnTo>
                <a:lnTo>
                  <a:pt x="3988" y="1447"/>
                </a:lnTo>
                <a:lnTo>
                  <a:pt x="3984" y="1447"/>
                </a:lnTo>
                <a:lnTo>
                  <a:pt x="3984" y="1449"/>
                </a:lnTo>
                <a:lnTo>
                  <a:pt x="3988" y="1448"/>
                </a:lnTo>
                <a:lnTo>
                  <a:pt x="3988" y="1449"/>
                </a:lnTo>
                <a:lnTo>
                  <a:pt x="3984" y="1453"/>
                </a:lnTo>
                <a:lnTo>
                  <a:pt x="3984" y="1450"/>
                </a:lnTo>
                <a:lnTo>
                  <a:pt x="3985" y="1449"/>
                </a:lnTo>
                <a:lnTo>
                  <a:pt x="3980" y="1450"/>
                </a:lnTo>
                <a:lnTo>
                  <a:pt x="3980" y="1446"/>
                </a:lnTo>
                <a:lnTo>
                  <a:pt x="3986" y="1426"/>
                </a:lnTo>
                <a:lnTo>
                  <a:pt x="3983" y="1415"/>
                </a:lnTo>
                <a:lnTo>
                  <a:pt x="3980" y="1412"/>
                </a:lnTo>
                <a:lnTo>
                  <a:pt x="3980" y="1408"/>
                </a:lnTo>
                <a:lnTo>
                  <a:pt x="3982" y="1407"/>
                </a:lnTo>
                <a:lnTo>
                  <a:pt x="3976" y="1407"/>
                </a:lnTo>
                <a:lnTo>
                  <a:pt x="3976" y="1407"/>
                </a:lnTo>
                <a:lnTo>
                  <a:pt x="3974" y="1406"/>
                </a:lnTo>
                <a:lnTo>
                  <a:pt x="3972" y="1401"/>
                </a:lnTo>
                <a:lnTo>
                  <a:pt x="3975" y="1403"/>
                </a:lnTo>
                <a:lnTo>
                  <a:pt x="3976" y="1403"/>
                </a:lnTo>
                <a:lnTo>
                  <a:pt x="3976" y="1403"/>
                </a:lnTo>
                <a:lnTo>
                  <a:pt x="3977" y="1403"/>
                </a:lnTo>
                <a:lnTo>
                  <a:pt x="3976" y="1402"/>
                </a:lnTo>
                <a:lnTo>
                  <a:pt x="3977" y="1403"/>
                </a:lnTo>
                <a:lnTo>
                  <a:pt x="3979" y="1403"/>
                </a:lnTo>
                <a:lnTo>
                  <a:pt x="3978" y="1402"/>
                </a:lnTo>
                <a:lnTo>
                  <a:pt x="3976" y="1400"/>
                </a:lnTo>
                <a:lnTo>
                  <a:pt x="3976" y="1402"/>
                </a:lnTo>
                <a:lnTo>
                  <a:pt x="3974" y="1399"/>
                </a:lnTo>
                <a:lnTo>
                  <a:pt x="3975" y="1399"/>
                </a:lnTo>
                <a:lnTo>
                  <a:pt x="3979" y="1401"/>
                </a:lnTo>
                <a:lnTo>
                  <a:pt x="3977" y="1396"/>
                </a:lnTo>
                <a:lnTo>
                  <a:pt x="3975" y="1394"/>
                </a:lnTo>
                <a:lnTo>
                  <a:pt x="3975" y="1392"/>
                </a:lnTo>
                <a:lnTo>
                  <a:pt x="3971" y="1391"/>
                </a:lnTo>
                <a:lnTo>
                  <a:pt x="3967" y="1391"/>
                </a:lnTo>
                <a:lnTo>
                  <a:pt x="3967" y="1394"/>
                </a:lnTo>
                <a:lnTo>
                  <a:pt x="3963" y="1391"/>
                </a:lnTo>
                <a:lnTo>
                  <a:pt x="3967" y="1391"/>
                </a:lnTo>
                <a:lnTo>
                  <a:pt x="3967" y="1391"/>
                </a:lnTo>
                <a:lnTo>
                  <a:pt x="3963" y="1387"/>
                </a:lnTo>
                <a:lnTo>
                  <a:pt x="3966" y="1381"/>
                </a:lnTo>
                <a:lnTo>
                  <a:pt x="3962" y="1388"/>
                </a:lnTo>
                <a:lnTo>
                  <a:pt x="3958" y="1385"/>
                </a:lnTo>
                <a:lnTo>
                  <a:pt x="3959" y="1384"/>
                </a:lnTo>
                <a:lnTo>
                  <a:pt x="3959" y="1384"/>
                </a:lnTo>
                <a:lnTo>
                  <a:pt x="3956" y="1379"/>
                </a:lnTo>
                <a:lnTo>
                  <a:pt x="3955" y="1373"/>
                </a:lnTo>
                <a:lnTo>
                  <a:pt x="3952" y="1370"/>
                </a:lnTo>
                <a:lnTo>
                  <a:pt x="3952" y="1369"/>
                </a:lnTo>
                <a:lnTo>
                  <a:pt x="3950" y="1370"/>
                </a:lnTo>
                <a:lnTo>
                  <a:pt x="3951" y="1373"/>
                </a:lnTo>
                <a:lnTo>
                  <a:pt x="3951" y="1377"/>
                </a:lnTo>
                <a:lnTo>
                  <a:pt x="3949" y="1371"/>
                </a:lnTo>
                <a:lnTo>
                  <a:pt x="3948" y="1369"/>
                </a:lnTo>
                <a:lnTo>
                  <a:pt x="3950" y="1365"/>
                </a:lnTo>
                <a:lnTo>
                  <a:pt x="3946" y="1363"/>
                </a:lnTo>
                <a:lnTo>
                  <a:pt x="3947" y="1363"/>
                </a:lnTo>
                <a:lnTo>
                  <a:pt x="3945" y="1352"/>
                </a:lnTo>
                <a:lnTo>
                  <a:pt x="3940" y="1348"/>
                </a:lnTo>
                <a:lnTo>
                  <a:pt x="3937" y="1351"/>
                </a:lnTo>
                <a:lnTo>
                  <a:pt x="3936" y="1351"/>
                </a:lnTo>
                <a:lnTo>
                  <a:pt x="3935" y="1351"/>
                </a:lnTo>
                <a:lnTo>
                  <a:pt x="3935" y="1351"/>
                </a:lnTo>
                <a:lnTo>
                  <a:pt x="3934" y="1351"/>
                </a:lnTo>
                <a:lnTo>
                  <a:pt x="3931" y="1349"/>
                </a:lnTo>
                <a:lnTo>
                  <a:pt x="3929" y="1347"/>
                </a:lnTo>
                <a:lnTo>
                  <a:pt x="3929" y="1347"/>
                </a:lnTo>
                <a:lnTo>
                  <a:pt x="3929" y="1347"/>
                </a:lnTo>
                <a:lnTo>
                  <a:pt x="3929" y="1348"/>
                </a:lnTo>
                <a:lnTo>
                  <a:pt x="3928" y="1347"/>
                </a:lnTo>
                <a:lnTo>
                  <a:pt x="3928" y="1347"/>
                </a:lnTo>
                <a:lnTo>
                  <a:pt x="3927" y="1348"/>
                </a:lnTo>
                <a:lnTo>
                  <a:pt x="3927" y="1347"/>
                </a:lnTo>
                <a:lnTo>
                  <a:pt x="3926" y="1347"/>
                </a:lnTo>
                <a:lnTo>
                  <a:pt x="3923" y="1347"/>
                </a:lnTo>
                <a:lnTo>
                  <a:pt x="3923" y="1348"/>
                </a:lnTo>
                <a:lnTo>
                  <a:pt x="3926" y="1351"/>
                </a:lnTo>
                <a:lnTo>
                  <a:pt x="3927" y="1352"/>
                </a:lnTo>
                <a:lnTo>
                  <a:pt x="3927" y="1355"/>
                </a:lnTo>
                <a:lnTo>
                  <a:pt x="3927" y="1356"/>
                </a:lnTo>
                <a:lnTo>
                  <a:pt x="3924" y="1358"/>
                </a:lnTo>
                <a:lnTo>
                  <a:pt x="3925" y="1363"/>
                </a:lnTo>
                <a:lnTo>
                  <a:pt x="3923" y="1363"/>
                </a:lnTo>
                <a:lnTo>
                  <a:pt x="3921" y="1363"/>
                </a:lnTo>
                <a:lnTo>
                  <a:pt x="3923" y="1358"/>
                </a:lnTo>
                <a:lnTo>
                  <a:pt x="3922" y="1359"/>
                </a:lnTo>
                <a:lnTo>
                  <a:pt x="3922" y="1359"/>
                </a:lnTo>
                <a:lnTo>
                  <a:pt x="3922" y="1359"/>
                </a:lnTo>
                <a:lnTo>
                  <a:pt x="3919" y="1358"/>
                </a:lnTo>
                <a:lnTo>
                  <a:pt x="3915" y="1356"/>
                </a:lnTo>
                <a:lnTo>
                  <a:pt x="3915" y="1359"/>
                </a:lnTo>
                <a:lnTo>
                  <a:pt x="3913" y="1363"/>
                </a:lnTo>
                <a:lnTo>
                  <a:pt x="3913" y="1363"/>
                </a:lnTo>
                <a:lnTo>
                  <a:pt x="3911" y="1367"/>
                </a:lnTo>
                <a:lnTo>
                  <a:pt x="3907" y="1367"/>
                </a:lnTo>
                <a:lnTo>
                  <a:pt x="3907" y="1362"/>
                </a:lnTo>
                <a:lnTo>
                  <a:pt x="3907" y="1359"/>
                </a:lnTo>
                <a:lnTo>
                  <a:pt x="3907" y="1358"/>
                </a:lnTo>
                <a:lnTo>
                  <a:pt x="3903" y="1344"/>
                </a:lnTo>
                <a:lnTo>
                  <a:pt x="3906" y="1341"/>
                </a:lnTo>
                <a:lnTo>
                  <a:pt x="3904" y="1341"/>
                </a:lnTo>
                <a:lnTo>
                  <a:pt x="3903" y="1344"/>
                </a:lnTo>
                <a:lnTo>
                  <a:pt x="3906" y="1357"/>
                </a:lnTo>
                <a:lnTo>
                  <a:pt x="3905" y="1360"/>
                </a:lnTo>
                <a:lnTo>
                  <a:pt x="3906" y="1366"/>
                </a:lnTo>
                <a:lnTo>
                  <a:pt x="3903" y="1367"/>
                </a:lnTo>
                <a:lnTo>
                  <a:pt x="3900" y="1368"/>
                </a:lnTo>
                <a:lnTo>
                  <a:pt x="3901" y="1365"/>
                </a:lnTo>
                <a:lnTo>
                  <a:pt x="3902" y="1363"/>
                </a:lnTo>
                <a:lnTo>
                  <a:pt x="3899" y="1363"/>
                </a:lnTo>
                <a:lnTo>
                  <a:pt x="3899" y="1363"/>
                </a:lnTo>
                <a:lnTo>
                  <a:pt x="3899" y="1364"/>
                </a:lnTo>
                <a:lnTo>
                  <a:pt x="3898" y="1367"/>
                </a:lnTo>
                <a:lnTo>
                  <a:pt x="3897" y="1367"/>
                </a:lnTo>
                <a:lnTo>
                  <a:pt x="3895" y="1367"/>
                </a:lnTo>
                <a:lnTo>
                  <a:pt x="3893" y="1365"/>
                </a:lnTo>
                <a:lnTo>
                  <a:pt x="3893" y="1364"/>
                </a:lnTo>
                <a:lnTo>
                  <a:pt x="3892" y="1361"/>
                </a:lnTo>
                <a:lnTo>
                  <a:pt x="3888" y="1363"/>
                </a:lnTo>
                <a:lnTo>
                  <a:pt x="3880" y="1367"/>
                </a:lnTo>
                <a:lnTo>
                  <a:pt x="3876" y="1369"/>
                </a:lnTo>
                <a:lnTo>
                  <a:pt x="3873" y="1372"/>
                </a:lnTo>
                <a:lnTo>
                  <a:pt x="3876" y="1379"/>
                </a:lnTo>
                <a:lnTo>
                  <a:pt x="3875" y="1379"/>
                </a:lnTo>
                <a:lnTo>
                  <a:pt x="3875" y="1382"/>
                </a:lnTo>
                <a:lnTo>
                  <a:pt x="3871" y="1383"/>
                </a:lnTo>
                <a:lnTo>
                  <a:pt x="3871" y="1385"/>
                </a:lnTo>
                <a:lnTo>
                  <a:pt x="3869" y="1387"/>
                </a:lnTo>
                <a:lnTo>
                  <a:pt x="3867" y="1389"/>
                </a:lnTo>
                <a:lnTo>
                  <a:pt x="3867" y="1390"/>
                </a:lnTo>
                <a:lnTo>
                  <a:pt x="3865" y="1389"/>
                </a:lnTo>
                <a:lnTo>
                  <a:pt x="3866" y="1391"/>
                </a:lnTo>
                <a:lnTo>
                  <a:pt x="3867" y="1393"/>
                </a:lnTo>
                <a:lnTo>
                  <a:pt x="3854" y="1397"/>
                </a:lnTo>
                <a:lnTo>
                  <a:pt x="3855" y="1394"/>
                </a:lnTo>
                <a:lnTo>
                  <a:pt x="3854" y="1393"/>
                </a:lnTo>
                <a:lnTo>
                  <a:pt x="3850" y="1395"/>
                </a:lnTo>
                <a:lnTo>
                  <a:pt x="3849" y="1398"/>
                </a:lnTo>
                <a:lnTo>
                  <a:pt x="3850" y="1398"/>
                </a:lnTo>
                <a:lnTo>
                  <a:pt x="3851" y="1397"/>
                </a:lnTo>
                <a:lnTo>
                  <a:pt x="3851" y="1397"/>
                </a:lnTo>
                <a:lnTo>
                  <a:pt x="3843" y="1407"/>
                </a:lnTo>
                <a:lnTo>
                  <a:pt x="3843" y="1407"/>
                </a:lnTo>
                <a:lnTo>
                  <a:pt x="3843" y="1407"/>
                </a:lnTo>
                <a:lnTo>
                  <a:pt x="3835" y="1416"/>
                </a:lnTo>
                <a:lnTo>
                  <a:pt x="3828" y="1421"/>
                </a:lnTo>
                <a:lnTo>
                  <a:pt x="3825" y="1425"/>
                </a:lnTo>
                <a:lnTo>
                  <a:pt x="3822" y="1428"/>
                </a:lnTo>
                <a:lnTo>
                  <a:pt x="3809" y="1437"/>
                </a:lnTo>
                <a:lnTo>
                  <a:pt x="3808" y="1439"/>
                </a:lnTo>
                <a:lnTo>
                  <a:pt x="3809" y="1440"/>
                </a:lnTo>
                <a:lnTo>
                  <a:pt x="3808" y="1445"/>
                </a:lnTo>
                <a:lnTo>
                  <a:pt x="3800" y="1451"/>
                </a:lnTo>
                <a:lnTo>
                  <a:pt x="3794" y="1451"/>
                </a:lnTo>
                <a:lnTo>
                  <a:pt x="3791" y="1457"/>
                </a:lnTo>
                <a:lnTo>
                  <a:pt x="3787" y="1454"/>
                </a:lnTo>
                <a:lnTo>
                  <a:pt x="3787" y="1455"/>
                </a:lnTo>
                <a:lnTo>
                  <a:pt x="3786" y="1454"/>
                </a:lnTo>
                <a:lnTo>
                  <a:pt x="3780" y="1458"/>
                </a:lnTo>
                <a:lnTo>
                  <a:pt x="3776" y="1468"/>
                </a:lnTo>
                <a:lnTo>
                  <a:pt x="3778" y="1474"/>
                </a:lnTo>
                <a:lnTo>
                  <a:pt x="3776" y="1481"/>
                </a:lnTo>
                <a:lnTo>
                  <a:pt x="3778" y="1487"/>
                </a:lnTo>
                <a:lnTo>
                  <a:pt x="3780" y="1493"/>
                </a:lnTo>
                <a:lnTo>
                  <a:pt x="3778" y="1487"/>
                </a:lnTo>
                <a:lnTo>
                  <a:pt x="3776" y="1490"/>
                </a:lnTo>
                <a:lnTo>
                  <a:pt x="3780" y="1494"/>
                </a:lnTo>
                <a:lnTo>
                  <a:pt x="3778" y="1508"/>
                </a:lnTo>
                <a:lnTo>
                  <a:pt x="3773" y="1514"/>
                </a:lnTo>
                <a:lnTo>
                  <a:pt x="3771" y="1519"/>
                </a:lnTo>
                <a:lnTo>
                  <a:pt x="3771" y="1528"/>
                </a:lnTo>
                <a:lnTo>
                  <a:pt x="3771" y="1543"/>
                </a:lnTo>
                <a:lnTo>
                  <a:pt x="3766" y="1543"/>
                </a:lnTo>
                <a:lnTo>
                  <a:pt x="3765" y="1545"/>
                </a:lnTo>
                <a:lnTo>
                  <a:pt x="3759" y="1552"/>
                </a:lnTo>
                <a:lnTo>
                  <a:pt x="3761" y="1555"/>
                </a:lnTo>
                <a:lnTo>
                  <a:pt x="3753" y="1558"/>
                </a:lnTo>
                <a:lnTo>
                  <a:pt x="3750" y="1561"/>
                </a:lnTo>
                <a:lnTo>
                  <a:pt x="3748" y="1569"/>
                </a:lnTo>
                <a:lnTo>
                  <a:pt x="3740" y="1575"/>
                </a:lnTo>
                <a:lnTo>
                  <a:pt x="3737" y="1575"/>
                </a:lnTo>
                <a:lnTo>
                  <a:pt x="3732" y="1569"/>
                </a:lnTo>
                <a:lnTo>
                  <a:pt x="3726" y="1563"/>
                </a:lnTo>
                <a:lnTo>
                  <a:pt x="3728" y="1563"/>
                </a:lnTo>
                <a:lnTo>
                  <a:pt x="3726" y="1563"/>
                </a:lnTo>
                <a:lnTo>
                  <a:pt x="3723" y="1557"/>
                </a:lnTo>
                <a:lnTo>
                  <a:pt x="3721" y="1550"/>
                </a:lnTo>
                <a:lnTo>
                  <a:pt x="3719" y="1544"/>
                </a:lnTo>
                <a:lnTo>
                  <a:pt x="3719" y="1543"/>
                </a:lnTo>
                <a:lnTo>
                  <a:pt x="3719" y="1542"/>
                </a:lnTo>
                <a:lnTo>
                  <a:pt x="3720" y="1543"/>
                </a:lnTo>
                <a:lnTo>
                  <a:pt x="3721" y="1543"/>
                </a:lnTo>
                <a:lnTo>
                  <a:pt x="3713" y="1521"/>
                </a:lnTo>
                <a:lnTo>
                  <a:pt x="3705" y="1514"/>
                </a:lnTo>
                <a:lnTo>
                  <a:pt x="3697" y="1501"/>
                </a:lnTo>
                <a:lnTo>
                  <a:pt x="3690" y="1475"/>
                </a:lnTo>
                <a:lnTo>
                  <a:pt x="3690" y="1474"/>
                </a:lnTo>
                <a:lnTo>
                  <a:pt x="3690" y="1474"/>
                </a:lnTo>
                <a:lnTo>
                  <a:pt x="3690" y="1471"/>
                </a:lnTo>
                <a:lnTo>
                  <a:pt x="3686" y="1463"/>
                </a:lnTo>
                <a:lnTo>
                  <a:pt x="3685" y="1461"/>
                </a:lnTo>
                <a:lnTo>
                  <a:pt x="3681" y="1452"/>
                </a:lnTo>
                <a:lnTo>
                  <a:pt x="3677" y="1436"/>
                </a:lnTo>
                <a:lnTo>
                  <a:pt x="3674" y="1424"/>
                </a:lnTo>
                <a:lnTo>
                  <a:pt x="3670" y="1412"/>
                </a:lnTo>
                <a:lnTo>
                  <a:pt x="3670" y="1411"/>
                </a:lnTo>
                <a:lnTo>
                  <a:pt x="3672" y="1411"/>
                </a:lnTo>
                <a:lnTo>
                  <a:pt x="3675" y="1411"/>
                </a:lnTo>
                <a:lnTo>
                  <a:pt x="3672" y="1409"/>
                </a:lnTo>
                <a:lnTo>
                  <a:pt x="3675" y="1405"/>
                </a:lnTo>
                <a:lnTo>
                  <a:pt x="3672" y="1404"/>
                </a:lnTo>
                <a:lnTo>
                  <a:pt x="3671" y="1407"/>
                </a:lnTo>
                <a:lnTo>
                  <a:pt x="3670" y="1407"/>
                </a:lnTo>
                <a:lnTo>
                  <a:pt x="3670" y="1406"/>
                </a:lnTo>
                <a:lnTo>
                  <a:pt x="3670" y="1402"/>
                </a:lnTo>
                <a:lnTo>
                  <a:pt x="3668" y="1401"/>
                </a:lnTo>
                <a:lnTo>
                  <a:pt x="3666" y="1400"/>
                </a:lnTo>
                <a:lnTo>
                  <a:pt x="3666" y="1394"/>
                </a:lnTo>
                <a:lnTo>
                  <a:pt x="3670" y="1378"/>
                </a:lnTo>
                <a:lnTo>
                  <a:pt x="3670" y="1377"/>
                </a:lnTo>
                <a:lnTo>
                  <a:pt x="3670" y="1375"/>
                </a:lnTo>
                <a:lnTo>
                  <a:pt x="3668" y="1375"/>
                </a:lnTo>
                <a:lnTo>
                  <a:pt x="3669" y="1372"/>
                </a:lnTo>
                <a:lnTo>
                  <a:pt x="3668" y="1369"/>
                </a:lnTo>
                <a:lnTo>
                  <a:pt x="3671" y="1366"/>
                </a:lnTo>
                <a:lnTo>
                  <a:pt x="3676" y="1363"/>
                </a:lnTo>
                <a:lnTo>
                  <a:pt x="3666" y="1367"/>
                </a:lnTo>
                <a:lnTo>
                  <a:pt x="3668" y="1364"/>
                </a:lnTo>
                <a:lnTo>
                  <a:pt x="3669" y="1363"/>
                </a:lnTo>
                <a:lnTo>
                  <a:pt x="3668" y="1363"/>
                </a:lnTo>
                <a:lnTo>
                  <a:pt x="3666" y="1363"/>
                </a:lnTo>
                <a:lnTo>
                  <a:pt x="3668" y="1359"/>
                </a:lnTo>
                <a:lnTo>
                  <a:pt x="3662" y="1359"/>
                </a:lnTo>
                <a:lnTo>
                  <a:pt x="3665" y="1360"/>
                </a:lnTo>
                <a:lnTo>
                  <a:pt x="3664" y="1361"/>
                </a:lnTo>
                <a:lnTo>
                  <a:pt x="3661" y="1363"/>
                </a:lnTo>
                <a:lnTo>
                  <a:pt x="3664" y="1366"/>
                </a:lnTo>
                <a:lnTo>
                  <a:pt x="3662" y="1372"/>
                </a:lnTo>
                <a:lnTo>
                  <a:pt x="3652" y="1377"/>
                </a:lnTo>
                <a:lnTo>
                  <a:pt x="3643" y="1381"/>
                </a:lnTo>
                <a:lnTo>
                  <a:pt x="3631" y="1374"/>
                </a:lnTo>
                <a:lnTo>
                  <a:pt x="3616" y="1355"/>
                </a:lnTo>
                <a:lnTo>
                  <a:pt x="3617" y="1352"/>
                </a:lnTo>
                <a:lnTo>
                  <a:pt x="3620" y="1355"/>
                </a:lnTo>
                <a:lnTo>
                  <a:pt x="3626" y="1353"/>
                </a:lnTo>
                <a:lnTo>
                  <a:pt x="3631" y="1351"/>
                </a:lnTo>
                <a:lnTo>
                  <a:pt x="3633" y="1347"/>
                </a:lnTo>
                <a:lnTo>
                  <a:pt x="3634" y="1344"/>
                </a:lnTo>
                <a:lnTo>
                  <a:pt x="3627" y="1345"/>
                </a:lnTo>
                <a:lnTo>
                  <a:pt x="3627" y="1347"/>
                </a:lnTo>
                <a:lnTo>
                  <a:pt x="3620" y="1345"/>
                </a:lnTo>
                <a:lnTo>
                  <a:pt x="3615" y="1343"/>
                </a:lnTo>
                <a:lnTo>
                  <a:pt x="3610" y="1340"/>
                </a:lnTo>
                <a:lnTo>
                  <a:pt x="3608" y="1339"/>
                </a:lnTo>
                <a:lnTo>
                  <a:pt x="3606" y="1337"/>
                </a:lnTo>
                <a:lnTo>
                  <a:pt x="3606" y="1334"/>
                </a:lnTo>
                <a:lnTo>
                  <a:pt x="3604" y="1334"/>
                </a:lnTo>
                <a:lnTo>
                  <a:pt x="3601" y="1334"/>
                </a:lnTo>
                <a:lnTo>
                  <a:pt x="3599" y="1331"/>
                </a:lnTo>
                <a:lnTo>
                  <a:pt x="3599" y="1330"/>
                </a:lnTo>
                <a:lnTo>
                  <a:pt x="3598" y="1330"/>
                </a:lnTo>
                <a:lnTo>
                  <a:pt x="3598" y="1334"/>
                </a:lnTo>
                <a:lnTo>
                  <a:pt x="3597" y="1334"/>
                </a:lnTo>
                <a:lnTo>
                  <a:pt x="3593" y="1331"/>
                </a:lnTo>
                <a:lnTo>
                  <a:pt x="3592" y="1328"/>
                </a:lnTo>
                <a:lnTo>
                  <a:pt x="3590" y="1325"/>
                </a:lnTo>
                <a:lnTo>
                  <a:pt x="3587" y="1318"/>
                </a:lnTo>
                <a:lnTo>
                  <a:pt x="3589" y="1317"/>
                </a:lnTo>
                <a:lnTo>
                  <a:pt x="3582" y="1314"/>
                </a:lnTo>
                <a:lnTo>
                  <a:pt x="3582" y="1310"/>
                </a:lnTo>
                <a:lnTo>
                  <a:pt x="3578" y="1306"/>
                </a:lnTo>
                <a:lnTo>
                  <a:pt x="3578" y="1305"/>
                </a:lnTo>
                <a:lnTo>
                  <a:pt x="3576" y="1305"/>
                </a:lnTo>
                <a:lnTo>
                  <a:pt x="3579" y="1310"/>
                </a:lnTo>
                <a:lnTo>
                  <a:pt x="3554" y="1310"/>
                </a:lnTo>
                <a:lnTo>
                  <a:pt x="3552" y="1312"/>
                </a:lnTo>
                <a:lnTo>
                  <a:pt x="3550" y="1309"/>
                </a:lnTo>
                <a:lnTo>
                  <a:pt x="3542" y="1306"/>
                </a:lnTo>
                <a:lnTo>
                  <a:pt x="3543" y="1310"/>
                </a:lnTo>
                <a:lnTo>
                  <a:pt x="3539" y="1310"/>
                </a:lnTo>
                <a:lnTo>
                  <a:pt x="3537" y="1310"/>
                </a:lnTo>
                <a:lnTo>
                  <a:pt x="3535" y="1309"/>
                </a:lnTo>
                <a:lnTo>
                  <a:pt x="3526" y="1310"/>
                </a:lnTo>
                <a:lnTo>
                  <a:pt x="3516" y="1312"/>
                </a:lnTo>
                <a:lnTo>
                  <a:pt x="3512" y="1314"/>
                </a:lnTo>
                <a:lnTo>
                  <a:pt x="3510" y="1314"/>
                </a:lnTo>
                <a:lnTo>
                  <a:pt x="3512" y="1310"/>
                </a:lnTo>
                <a:lnTo>
                  <a:pt x="3509" y="1310"/>
                </a:lnTo>
                <a:lnTo>
                  <a:pt x="3510" y="1302"/>
                </a:lnTo>
                <a:lnTo>
                  <a:pt x="3510" y="1302"/>
                </a:lnTo>
                <a:lnTo>
                  <a:pt x="3510" y="1294"/>
                </a:lnTo>
                <a:lnTo>
                  <a:pt x="3516" y="1290"/>
                </a:lnTo>
                <a:lnTo>
                  <a:pt x="3518" y="1290"/>
                </a:lnTo>
                <a:lnTo>
                  <a:pt x="3518" y="1288"/>
                </a:lnTo>
                <a:lnTo>
                  <a:pt x="3521" y="1290"/>
                </a:lnTo>
                <a:lnTo>
                  <a:pt x="3527" y="1290"/>
                </a:lnTo>
                <a:lnTo>
                  <a:pt x="3530" y="1290"/>
                </a:lnTo>
                <a:lnTo>
                  <a:pt x="3532" y="1282"/>
                </a:lnTo>
                <a:lnTo>
                  <a:pt x="3529" y="1282"/>
                </a:lnTo>
                <a:lnTo>
                  <a:pt x="3528" y="1286"/>
                </a:lnTo>
                <a:lnTo>
                  <a:pt x="3524" y="1286"/>
                </a:lnTo>
                <a:lnTo>
                  <a:pt x="3518" y="1286"/>
                </a:lnTo>
                <a:lnTo>
                  <a:pt x="3514" y="1287"/>
                </a:lnTo>
                <a:lnTo>
                  <a:pt x="3514" y="1290"/>
                </a:lnTo>
                <a:lnTo>
                  <a:pt x="3514" y="1290"/>
                </a:lnTo>
                <a:lnTo>
                  <a:pt x="3506" y="1293"/>
                </a:lnTo>
                <a:lnTo>
                  <a:pt x="3506" y="1302"/>
                </a:lnTo>
                <a:lnTo>
                  <a:pt x="3507" y="1302"/>
                </a:lnTo>
                <a:lnTo>
                  <a:pt x="3506" y="1305"/>
                </a:lnTo>
                <a:lnTo>
                  <a:pt x="3506" y="1309"/>
                </a:lnTo>
                <a:lnTo>
                  <a:pt x="3503" y="1310"/>
                </a:lnTo>
                <a:lnTo>
                  <a:pt x="3492" y="1308"/>
                </a:lnTo>
                <a:lnTo>
                  <a:pt x="3491" y="1306"/>
                </a:lnTo>
                <a:lnTo>
                  <a:pt x="3491" y="1304"/>
                </a:lnTo>
                <a:lnTo>
                  <a:pt x="3488" y="1305"/>
                </a:lnTo>
                <a:lnTo>
                  <a:pt x="3490" y="1308"/>
                </a:lnTo>
                <a:lnTo>
                  <a:pt x="3488" y="1307"/>
                </a:lnTo>
                <a:lnTo>
                  <a:pt x="3487" y="1306"/>
                </a:lnTo>
                <a:lnTo>
                  <a:pt x="3477" y="1306"/>
                </a:lnTo>
                <a:lnTo>
                  <a:pt x="3476" y="1306"/>
                </a:lnTo>
                <a:lnTo>
                  <a:pt x="3470" y="1307"/>
                </a:lnTo>
                <a:lnTo>
                  <a:pt x="3467" y="1306"/>
                </a:lnTo>
                <a:lnTo>
                  <a:pt x="3460" y="1306"/>
                </a:lnTo>
                <a:lnTo>
                  <a:pt x="3457" y="1306"/>
                </a:lnTo>
                <a:lnTo>
                  <a:pt x="3455" y="1303"/>
                </a:lnTo>
                <a:lnTo>
                  <a:pt x="3444" y="1299"/>
                </a:lnTo>
                <a:lnTo>
                  <a:pt x="3442" y="1294"/>
                </a:lnTo>
                <a:lnTo>
                  <a:pt x="3439" y="1283"/>
                </a:lnTo>
                <a:lnTo>
                  <a:pt x="3437" y="1282"/>
                </a:lnTo>
                <a:lnTo>
                  <a:pt x="3436" y="1282"/>
                </a:lnTo>
                <a:lnTo>
                  <a:pt x="3435" y="1282"/>
                </a:lnTo>
                <a:lnTo>
                  <a:pt x="3429" y="1282"/>
                </a:lnTo>
                <a:lnTo>
                  <a:pt x="3427" y="1284"/>
                </a:lnTo>
                <a:lnTo>
                  <a:pt x="3425" y="1285"/>
                </a:lnTo>
                <a:lnTo>
                  <a:pt x="3419" y="1286"/>
                </a:lnTo>
                <a:lnTo>
                  <a:pt x="3418" y="1286"/>
                </a:lnTo>
                <a:lnTo>
                  <a:pt x="3407" y="1289"/>
                </a:lnTo>
                <a:lnTo>
                  <a:pt x="3402" y="1286"/>
                </a:lnTo>
                <a:lnTo>
                  <a:pt x="3397" y="1286"/>
                </a:lnTo>
                <a:lnTo>
                  <a:pt x="3397" y="1286"/>
                </a:lnTo>
                <a:lnTo>
                  <a:pt x="3396" y="1286"/>
                </a:lnTo>
                <a:lnTo>
                  <a:pt x="3393" y="1286"/>
                </a:lnTo>
                <a:lnTo>
                  <a:pt x="3386" y="1280"/>
                </a:lnTo>
                <a:lnTo>
                  <a:pt x="3373" y="1275"/>
                </a:lnTo>
                <a:lnTo>
                  <a:pt x="3373" y="1274"/>
                </a:lnTo>
                <a:lnTo>
                  <a:pt x="3373" y="1271"/>
                </a:lnTo>
                <a:lnTo>
                  <a:pt x="3372" y="1270"/>
                </a:lnTo>
                <a:lnTo>
                  <a:pt x="3369" y="1270"/>
                </a:lnTo>
                <a:lnTo>
                  <a:pt x="3362" y="1270"/>
                </a:lnTo>
                <a:lnTo>
                  <a:pt x="3360" y="1266"/>
                </a:lnTo>
                <a:lnTo>
                  <a:pt x="3357" y="1259"/>
                </a:lnTo>
                <a:lnTo>
                  <a:pt x="3353" y="1255"/>
                </a:lnTo>
                <a:lnTo>
                  <a:pt x="3353" y="1252"/>
                </a:lnTo>
                <a:lnTo>
                  <a:pt x="3352" y="1250"/>
                </a:lnTo>
                <a:lnTo>
                  <a:pt x="3349" y="1250"/>
                </a:lnTo>
                <a:lnTo>
                  <a:pt x="3349" y="1247"/>
                </a:lnTo>
                <a:lnTo>
                  <a:pt x="3345" y="1245"/>
                </a:lnTo>
                <a:lnTo>
                  <a:pt x="3345" y="1240"/>
                </a:lnTo>
                <a:lnTo>
                  <a:pt x="3339" y="1232"/>
                </a:lnTo>
                <a:lnTo>
                  <a:pt x="3338" y="1228"/>
                </a:lnTo>
                <a:lnTo>
                  <a:pt x="3329" y="1230"/>
                </a:lnTo>
                <a:lnTo>
                  <a:pt x="3329" y="1229"/>
                </a:lnTo>
                <a:lnTo>
                  <a:pt x="3324" y="1228"/>
                </a:lnTo>
                <a:lnTo>
                  <a:pt x="3325" y="1226"/>
                </a:lnTo>
                <a:lnTo>
                  <a:pt x="3327" y="1226"/>
                </a:lnTo>
                <a:lnTo>
                  <a:pt x="3330" y="1225"/>
                </a:lnTo>
                <a:lnTo>
                  <a:pt x="3325" y="1222"/>
                </a:lnTo>
                <a:lnTo>
                  <a:pt x="3323" y="1226"/>
                </a:lnTo>
                <a:lnTo>
                  <a:pt x="3325" y="1231"/>
                </a:lnTo>
                <a:lnTo>
                  <a:pt x="3318" y="1234"/>
                </a:lnTo>
                <a:lnTo>
                  <a:pt x="3313" y="1234"/>
                </a:lnTo>
                <a:lnTo>
                  <a:pt x="3313" y="1230"/>
                </a:lnTo>
                <a:lnTo>
                  <a:pt x="3312" y="1230"/>
                </a:lnTo>
                <a:lnTo>
                  <a:pt x="3309" y="1230"/>
                </a:lnTo>
                <a:lnTo>
                  <a:pt x="3300" y="1230"/>
                </a:lnTo>
                <a:lnTo>
                  <a:pt x="3299" y="1234"/>
                </a:lnTo>
                <a:lnTo>
                  <a:pt x="3305" y="1234"/>
                </a:lnTo>
                <a:lnTo>
                  <a:pt x="3309" y="1234"/>
                </a:lnTo>
                <a:lnTo>
                  <a:pt x="3309" y="1235"/>
                </a:lnTo>
                <a:lnTo>
                  <a:pt x="3309" y="1238"/>
                </a:lnTo>
                <a:lnTo>
                  <a:pt x="3312" y="1238"/>
                </a:lnTo>
                <a:lnTo>
                  <a:pt x="3315" y="1239"/>
                </a:lnTo>
                <a:lnTo>
                  <a:pt x="3313" y="1241"/>
                </a:lnTo>
                <a:lnTo>
                  <a:pt x="3313" y="1241"/>
                </a:lnTo>
                <a:lnTo>
                  <a:pt x="3313" y="1241"/>
                </a:lnTo>
                <a:lnTo>
                  <a:pt x="3310" y="1240"/>
                </a:lnTo>
                <a:lnTo>
                  <a:pt x="3305" y="1246"/>
                </a:lnTo>
                <a:lnTo>
                  <a:pt x="3310" y="1246"/>
                </a:lnTo>
                <a:lnTo>
                  <a:pt x="3315" y="1258"/>
                </a:lnTo>
                <a:lnTo>
                  <a:pt x="3316" y="1258"/>
                </a:lnTo>
                <a:lnTo>
                  <a:pt x="3317" y="1264"/>
                </a:lnTo>
                <a:lnTo>
                  <a:pt x="3321" y="1266"/>
                </a:lnTo>
                <a:lnTo>
                  <a:pt x="3321" y="1267"/>
                </a:lnTo>
                <a:lnTo>
                  <a:pt x="3321" y="1270"/>
                </a:lnTo>
                <a:lnTo>
                  <a:pt x="3325" y="1271"/>
                </a:lnTo>
                <a:lnTo>
                  <a:pt x="3325" y="1274"/>
                </a:lnTo>
                <a:lnTo>
                  <a:pt x="3325" y="1274"/>
                </a:lnTo>
                <a:lnTo>
                  <a:pt x="3329" y="1278"/>
                </a:lnTo>
                <a:lnTo>
                  <a:pt x="3331" y="1275"/>
                </a:lnTo>
                <a:lnTo>
                  <a:pt x="3335" y="1279"/>
                </a:lnTo>
                <a:lnTo>
                  <a:pt x="3340" y="1286"/>
                </a:lnTo>
                <a:lnTo>
                  <a:pt x="3337" y="1285"/>
                </a:lnTo>
                <a:lnTo>
                  <a:pt x="3337" y="1287"/>
                </a:lnTo>
                <a:lnTo>
                  <a:pt x="3339" y="1290"/>
                </a:lnTo>
                <a:lnTo>
                  <a:pt x="3342" y="1291"/>
                </a:lnTo>
                <a:lnTo>
                  <a:pt x="3340" y="1293"/>
                </a:lnTo>
                <a:lnTo>
                  <a:pt x="3337" y="1293"/>
                </a:lnTo>
                <a:lnTo>
                  <a:pt x="3337" y="1296"/>
                </a:lnTo>
                <a:lnTo>
                  <a:pt x="3341" y="1302"/>
                </a:lnTo>
                <a:lnTo>
                  <a:pt x="3340" y="1301"/>
                </a:lnTo>
                <a:lnTo>
                  <a:pt x="3345" y="1306"/>
                </a:lnTo>
                <a:lnTo>
                  <a:pt x="3347" y="1311"/>
                </a:lnTo>
                <a:lnTo>
                  <a:pt x="3350" y="1316"/>
                </a:lnTo>
                <a:lnTo>
                  <a:pt x="3351" y="1319"/>
                </a:lnTo>
                <a:lnTo>
                  <a:pt x="3351" y="1319"/>
                </a:lnTo>
                <a:lnTo>
                  <a:pt x="3351" y="1317"/>
                </a:lnTo>
                <a:lnTo>
                  <a:pt x="3348" y="1306"/>
                </a:lnTo>
                <a:lnTo>
                  <a:pt x="3349" y="1306"/>
                </a:lnTo>
                <a:lnTo>
                  <a:pt x="3349" y="1303"/>
                </a:lnTo>
                <a:lnTo>
                  <a:pt x="3351" y="1302"/>
                </a:lnTo>
                <a:lnTo>
                  <a:pt x="3354" y="1294"/>
                </a:lnTo>
                <a:lnTo>
                  <a:pt x="3358" y="1293"/>
                </a:lnTo>
                <a:lnTo>
                  <a:pt x="3359" y="1297"/>
                </a:lnTo>
                <a:lnTo>
                  <a:pt x="3361" y="1298"/>
                </a:lnTo>
                <a:lnTo>
                  <a:pt x="3361" y="1302"/>
                </a:lnTo>
                <a:lnTo>
                  <a:pt x="3361" y="1306"/>
                </a:lnTo>
                <a:lnTo>
                  <a:pt x="3361" y="1308"/>
                </a:lnTo>
                <a:lnTo>
                  <a:pt x="3361" y="1312"/>
                </a:lnTo>
                <a:lnTo>
                  <a:pt x="3360" y="1321"/>
                </a:lnTo>
                <a:lnTo>
                  <a:pt x="3358" y="1319"/>
                </a:lnTo>
                <a:lnTo>
                  <a:pt x="3358" y="1319"/>
                </a:lnTo>
                <a:lnTo>
                  <a:pt x="3358" y="1319"/>
                </a:lnTo>
                <a:lnTo>
                  <a:pt x="3356" y="1322"/>
                </a:lnTo>
                <a:lnTo>
                  <a:pt x="3361" y="1324"/>
                </a:lnTo>
                <a:lnTo>
                  <a:pt x="3361" y="1325"/>
                </a:lnTo>
                <a:lnTo>
                  <a:pt x="3362" y="1326"/>
                </a:lnTo>
                <a:lnTo>
                  <a:pt x="3365" y="1326"/>
                </a:lnTo>
                <a:lnTo>
                  <a:pt x="3368" y="1329"/>
                </a:lnTo>
                <a:lnTo>
                  <a:pt x="3371" y="1329"/>
                </a:lnTo>
                <a:lnTo>
                  <a:pt x="3375" y="1328"/>
                </a:lnTo>
                <a:lnTo>
                  <a:pt x="3378" y="1324"/>
                </a:lnTo>
                <a:lnTo>
                  <a:pt x="3392" y="1328"/>
                </a:lnTo>
                <a:lnTo>
                  <a:pt x="3399" y="1325"/>
                </a:lnTo>
                <a:lnTo>
                  <a:pt x="3401" y="1324"/>
                </a:lnTo>
                <a:lnTo>
                  <a:pt x="3401" y="1322"/>
                </a:lnTo>
                <a:lnTo>
                  <a:pt x="3406" y="1322"/>
                </a:lnTo>
                <a:lnTo>
                  <a:pt x="3408" y="1317"/>
                </a:lnTo>
                <a:lnTo>
                  <a:pt x="3415" y="1310"/>
                </a:lnTo>
                <a:lnTo>
                  <a:pt x="3419" y="1302"/>
                </a:lnTo>
                <a:lnTo>
                  <a:pt x="3422" y="1302"/>
                </a:lnTo>
                <a:lnTo>
                  <a:pt x="3425" y="1301"/>
                </a:lnTo>
                <a:lnTo>
                  <a:pt x="3428" y="1294"/>
                </a:lnTo>
                <a:lnTo>
                  <a:pt x="3427" y="1293"/>
                </a:lnTo>
                <a:lnTo>
                  <a:pt x="3428" y="1289"/>
                </a:lnTo>
                <a:lnTo>
                  <a:pt x="3429" y="1290"/>
                </a:lnTo>
                <a:lnTo>
                  <a:pt x="3429" y="1289"/>
                </a:lnTo>
                <a:lnTo>
                  <a:pt x="3434" y="1290"/>
                </a:lnTo>
                <a:lnTo>
                  <a:pt x="3429" y="1290"/>
                </a:lnTo>
                <a:lnTo>
                  <a:pt x="3429" y="1294"/>
                </a:lnTo>
                <a:lnTo>
                  <a:pt x="3430" y="1294"/>
                </a:lnTo>
                <a:lnTo>
                  <a:pt x="3431" y="1294"/>
                </a:lnTo>
                <a:lnTo>
                  <a:pt x="3433" y="1294"/>
                </a:lnTo>
                <a:lnTo>
                  <a:pt x="3431" y="1297"/>
                </a:lnTo>
                <a:lnTo>
                  <a:pt x="3430" y="1302"/>
                </a:lnTo>
                <a:lnTo>
                  <a:pt x="3429" y="1302"/>
                </a:lnTo>
                <a:lnTo>
                  <a:pt x="3429" y="1312"/>
                </a:lnTo>
                <a:lnTo>
                  <a:pt x="3429" y="1313"/>
                </a:lnTo>
                <a:lnTo>
                  <a:pt x="3435" y="1320"/>
                </a:lnTo>
                <a:lnTo>
                  <a:pt x="3443" y="1329"/>
                </a:lnTo>
                <a:lnTo>
                  <a:pt x="3459" y="1334"/>
                </a:lnTo>
                <a:lnTo>
                  <a:pt x="3464" y="1334"/>
                </a:lnTo>
                <a:lnTo>
                  <a:pt x="3473" y="1350"/>
                </a:lnTo>
                <a:lnTo>
                  <a:pt x="3478" y="1351"/>
                </a:lnTo>
                <a:lnTo>
                  <a:pt x="3478" y="1356"/>
                </a:lnTo>
                <a:lnTo>
                  <a:pt x="3473" y="1369"/>
                </a:lnTo>
                <a:lnTo>
                  <a:pt x="3467" y="1376"/>
                </a:lnTo>
                <a:lnTo>
                  <a:pt x="3463" y="1383"/>
                </a:lnTo>
                <a:lnTo>
                  <a:pt x="3458" y="1386"/>
                </a:lnTo>
                <a:lnTo>
                  <a:pt x="3459" y="1383"/>
                </a:lnTo>
                <a:lnTo>
                  <a:pt x="3458" y="1383"/>
                </a:lnTo>
                <a:lnTo>
                  <a:pt x="3452" y="1387"/>
                </a:lnTo>
                <a:lnTo>
                  <a:pt x="3449" y="1395"/>
                </a:lnTo>
                <a:lnTo>
                  <a:pt x="3452" y="1407"/>
                </a:lnTo>
                <a:lnTo>
                  <a:pt x="3443" y="1409"/>
                </a:lnTo>
                <a:lnTo>
                  <a:pt x="3437" y="1410"/>
                </a:lnTo>
                <a:lnTo>
                  <a:pt x="3436" y="1414"/>
                </a:lnTo>
                <a:lnTo>
                  <a:pt x="3434" y="1420"/>
                </a:lnTo>
                <a:lnTo>
                  <a:pt x="3430" y="1424"/>
                </a:lnTo>
                <a:lnTo>
                  <a:pt x="3418" y="1425"/>
                </a:lnTo>
                <a:lnTo>
                  <a:pt x="3415" y="1430"/>
                </a:lnTo>
                <a:lnTo>
                  <a:pt x="3416" y="1433"/>
                </a:lnTo>
                <a:lnTo>
                  <a:pt x="3412" y="1437"/>
                </a:lnTo>
                <a:lnTo>
                  <a:pt x="3408" y="1441"/>
                </a:lnTo>
                <a:lnTo>
                  <a:pt x="3405" y="1439"/>
                </a:lnTo>
                <a:lnTo>
                  <a:pt x="3399" y="1439"/>
                </a:lnTo>
                <a:lnTo>
                  <a:pt x="3392" y="1443"/>
                </a:lnTo>
                <a:lnTo>
                  <a:pt x="3385" y="1444"/>
                </a:lnTo>
                <a:lnTo>
                  <a:pt x="3384" y="1441"/>
                </a:lnTo>
                <a:lnTo>
                  <a:pt x="3376" y="1445"/>
                </a:lnTo>
                <a:lnTo>
                  <a:pt x="3370" y="1446"/>
                </a:lnTo>
                <a:lnTo>
                  <a:pt x="3369" y="1451"/>
                </a:lnTo>
                <a:lnTo>
                  <a:pt x="3369" y="1457"/>
                </a:lnTo>
                <a:lnTo>
                  <a:pt x="3357" y="1463"/>
                </a:lnTo>
                <a:lnTo>
                  <a:pt x="3346" y="1467"/>
                </a:lnTo>
                <a:lnTo>
                  <a:pt x="3340" y="1471"/>
                </a:lnTo>
                <a:lnTo>
                  <a:pt x="3336" y="1471"/>
                </a:lnTo>
                <a:lnTo>
                  <a:pt x="3325" y="1475"/>
                </a:lnTo>
                <a:lnTo>
                  <a:pt x="3324" y="1475"/>
                </a:lnTo>
                <a:lnTo>
                  <a:pt x="3323" y="1477"/>
                </a:lnTo>
                <a:lnTo>
                  <a:pt x="3320" y="1480"/>
                </a:lnTo>
                <a:lnTo>
                  <a:pt x="3313" y="1483"/>
                </a:lnTo>
                <a:lnTo>
                  <a:pt x="3309" y="1480"/>
                </a:lnTo>
                <a:lnTo>
                  <a:pt x="3301" y="1488"/>
                </a:lnTo>
                <a:lnTo>
                  <a:pt x="3290" y="1490"/>
                </a:lnTo>
                <a:lnTo>
                  <a:pt x="3275" y="1491"/>
                </a:lnTo>
                <a:lnTo>
                  <a:pt x="3273" y="1493"/>
                </a:lnTo>
                <a:lnTo>
                  <a:pt x="3271" y="1495"/>
                </a:lnTo>
                <a:lnTo>
                  <a:pt x="3265" y="1496"/>
                </a:lnTo>
                <a:lnTo>
                  <a:pt x="3265" y="1503"/>
                </a:lnTo>
                <a:lnTo>
                  <a:pt x="3261" y="1503"/>
                </a:lnTo>
                <a:lnTo>
                  <a:pt x="3261" y="1499"/>
                </a:lnTo>
                <a:lnTo>
                  <a:pt x="3258" y="1498"/>
                </a:lnTo>
                <a:lnTo>
                  <a:pt x="3256" y="1502"/>
                </a:lnTo>
                <a:lnTo>
                  <a:pt x="3250" y="1503"/>
                </a:lnTo>
                <a:lnTo>
                  <a:pt x="3244" y="1500"/>
                </a:lnTo>
                <a:lnTo>
                  <a:pt x="3241" y="1502"/>
                </a:lnTo>
                <a:lnTo>
                  <a:pt x="3241" y="1498"/>
                </a:lnTo>
                <a:lnTo>
                  <a:pt x="3237" y="1494"/>
                </a:lnTo>
                <a:lnTo>
                  <a:pt x="3237" y="1485"/>
                </a:lnTo>
                <a:lnTo>
                  <a:pt x="3237" y="1483"/>
                </a:lnTo>
                <a:lnTo>
                  <a:pt x="3236" y="1475"/>
                </a:lnTo>
                <a:lnTo>
                  <a:pt x="3233" y="1468"/>
                </a:lnTo>
                <a:lnTo>
                  <a:pt x="3233" y="1465"/>
                </a:lnTo>
                <a:lnTo>
                  <a:pt x="3231" y="1463"/>
                </a:lnTo>
                <a:lnTo>
                  <a:pt x="3229" y="1462"/>
                </a:lnTo>
                <a:lnTo>
                  <a:pt x="3229" y="1461"/>
                </a:lnTo>
                <a:lnTo>
                  <a:pt x="3232" y="1462"/>
                </a:lnTo>
                <a:lnTo>
                  <a:pt x="3231" y="1456"/>
                </a:lnTo>
                <a:lnTo>
                  <a:pt x="3233" y="1452"/>
                </a:lnTo>
                <a:lnTo>
                  <a:pt x="3233" y="1445"/>
                </a:lnTo>
                <a:lnTo>
                  <a:pt x="3232" y="1444"/>
                </a:lnTo>
                <a:lnTo>
                  <a:pt x="3229" y="1442"/>
                </a:lnTo>
                <a:lnTo>
                  <a:pt x="3229" y="1440"/>
                </a:lnTo>
                <a:lnTo>
                  <a:pt x="3227" y="1438"/>
                </a:lnTo>
                <a:lnTo>
                  <a:pt x="3228" y="1439"/>
                </a:lnTo>
                <a:lnTo>
                  <a:pt x="3227" y="1439"/>
                </a:lnTo>
                <a:lnTo>
                  <a:pt x="3225" y="1439"/>
                </a:lnTo>
                <a:lnTo>
                  <a:pt x="3225" y="1431"/>
                </a:lnTo>
                <a:lnTo>
                  <a:pt x="3221" y="1428"/>
                </a:lnTo>
                <a:lnTo>
                  <a:pt x="3217" y="1425"/>
                </a:lnTo>
                <a:lnTo>
                  <a:pt x="3213" y="1417"/>
                </a:lnTo>
                <a:lnTo>
                  <a:pt x="3209" y="1413"/>
                </a:lnTo>
                <a:lnTo>
                  <a:pt x="3209" y="1411"/>
                </a:lnTo>
                <a:lnTo>
                  <a:pt x="3209" y="1408"/>
                </a:lnTo>
                <a:lnTo>
                  <a:pt x="3209" y="1407"/>
                </a:lnTo>
                <a:lnTo>
                  <a:pt x="3208" y="1406"/>
                </a:lnTo>
                <a:lnTo>
                  <a:pt x="3206" y="1402"/>
                </a:lnTo>
                <a:lnTo>
                  <a:pt x="3205" y="1398"/>
                </a:lnTo>
                <a:lnTo>
                  <a:pt x="3205" y="1396"/>
                </a:lnTo>
                <a:lnTo>
                  <a:pt x="3195" y="1391"/>
                </a:lnTo>
                <a:lnTo>
                  <a:pt x="3192" y="1391"/>
                </a:lnTo>
                <a:lnTo>
                  <a:pt x="3190" y="1387"/>
                </a:lnTo>
                <a:lnTo>
                  <a:pt x="3186" y="1380"/>
                </a:lnTo>
                <a:lnTo>
                  <a:pt x="3180" y="1375"/>
                </a:lnTo>
                <a:lnTo>
                  <a:pt x="3180" y="1372"/>
                </a:lnTo>
                <a:lnTo>
                  <a:pt x="3180" y="1369"/>
                </a:lnTo>
                <a:lnTo>
                  <a:pt x="3178" y="1364"/>
                </a:lnTo>
                <a:lnTo>
                  <a:pt x="3180" y="1355"/>
                </a:lnTo>
                <a:lnTo>
                  <a:pt x="3180" y="1353"/>
                </a:lnTo>
                <a:lnTo>
                  <a:pt x="3179" y="1352"/>
                </a:lnTo>
                <a:lnTo>
                  <a:pt x="3175" y="1342"/>
                </a:lnTo>
                <a:lnTo>
                  <a:pt x="3172" y="1332"/>
                </a:lnTo>
                <a:lnTo>
                  <a:pt x="3167" y="1328"/>
                </a:lnTo>
                <a:lnTo>
                  <a:pt x="3156" y="1322"/>
                </a:lnTo>
                <a:lnTo>
                  <a:pt x="3153" y="1314"/>
                </a:lnTo>
                <a:lnTo>
                  <a:pt x="3154" y="1314"/>
                </a:lnTo>
                <a:lnTo>
                  <a:pt x="3153" y="1309"/>
                </a:lnTo>
                <a:lnTo>
                  <a:pt x="3150" y="1301"/>
                </a:lnTo>
                <a:lnTo>
                  <a:pt x="3146" y="1298"/>
                </a:lnTo>
                <a:lnTo>
                  <a:pt x="3145" y="1297"/>
                </a:lnTo>
                <a:lnTo>
                  <a:pt x="3146" y="1296"/>
                </a:lnTo>
                <a:lnTo>
                  <a:pt x="3143" y="1293"/>
                </a:lnTo>
                <a:lnTo>
                  <a:pt x="3138" y="1286"/>
                </a:lnTo>
                <a:lnTo>
                  <a:pt x="3124" y="1262"/>
                </a:lnTo>
                <a:lnTo>
                  <a:pt x="3117" y="1261"/>
                </a:lnTo>
                <a:lnTo>
                  <a:pt x="3116" y="1262"/>
                </a:lnTo>
                <a:lnTo>
                  <a:pt x="3114" y="1261"/>
                </a:lnTo>
                <a:lnTo>
                  <a:pt x="3117" y="1254"/>
                </a:lnTo>
                <a:lnTo>
                  <a:pt x="3119" y="1241"/>
                </a:lnTo>
                <a:lnTo>
                  <a:pt x="3117" y="1242"/>
                </a:lnTo>
                <a:lnTo>
                  <a:pt x="3115" y="1253"/>
                </a:lnTo>
                <a:lnTo>
                  <a:pt x="3112" y="1259"/>
                </a:lnTo>
                <a:lnTo>
                  <a:pt x="3112" y="1264"/>
                </a:lnTo>
                <a:lnTo>
                  <a:pt x="3108" y="1269"/>
                </a:lnTo>
                <a:lnTo>
                  <a:pt x="3101" y="1264"/>
                </a:lnTo>
                <a:lnTo>
                  <a:pt x="3092" y="1256"/>
                </a:lnTo>
                <a:lnTo>
                  <a:pt x="3092" y="1248"/>
                </a:lnTo>
                <a:lnTo>
                  <a:pt x="3088" y="1241"/>
                </a:lnTo>
                <a:lnTo>
                  <a:pt x="3085" y="1231"/>
                </a:lnTo>
                <a:lnTo>
                  <a:pt x="3082" y="1239"/>
                </a:lnTo>
                <a:lnTo>
                  <a:pt x="3085" y="1242"/>
                </a:lnTo>
                <a:lnTo>
                  <a:pt x="3087" y="1251"/>
                </a:lnTo>
                <a:lnTo>
                  <a:pt x="3094" y="1260"/>
                </a:lnTo>
                <a:lnTo>
                  <a:pt x="3100" y="1265"/>
                </a:lnTo>
                <a:lnTo>
                  <a:pt x="3100" y="1270"/>
                </a:lnTo>
                <a:lnTo>
                  <a:pt x="3096" y="1270"/>
                </a:lnTo>
                <a:lnTo>
                  <a:pt x="3096" y="1271"/>
                </a:lnTo>
                <a:lnTo>
                  <a:pt x="3100" y="1274"/>
                </a:lnTo>
                <a:lnTo>
                  <a:pt x="3103" y="1276"/>
                </a:lnTo>
                <a:lnTo>
                  <a:pt x="3104" y="1282"/>
                </a:lnTo>
                <a:lnTo>
                  <a:pt x="3104" y="1286"/>
                </a:lnTo>
                <a:lnTo>
                  <a:pt x="3113" y="1302"/>
                </a:lnTo>
                <a:lnTo>
                  <a:pt x="3122" y="1320"/>
                </a:lnTo>
                <a:lnTo>
                  <a:pt x="3134" y="1330"/>
                </a:lnTo>
                <a:lnTo>
                  <a:pt x="3128" y="1330"/>
                </a:lnTo>
                <a:lnTo>
                  <a:pt x="3128" y="1337"/>
                </a:lnTo>
                <a:lnTo>
                  <a:pt x="3131" y="1346"/>
                </a:lnTo>
                <a:lnTo>
                  <a:pt x="3134" y="1349"/>
                </a:lnTo>
                <a:lnTo>
                  <a:pt x="3136" y="1350"/>
                </a:lnTo>
                <a:lnTo>
                  <a:pt x="3139" y="1351"/>
                </a:lnTo>
                <a:lnTo>
                  <a:pt x="3143" y="1357"/>
                </a:lnTo>
                <a:lnTo>
                  <a:pt x="3145" y="1359"/>
                </a:lnTo>
                <a:lnTo>
                  <a:pt x="3150" y="1359"/>
                </a:lnTo>
                <a:lnTo>
                  <a:pt x="3151" y="1366"/>
                </a:lnTo>
                <a:lnTo>
                  <a:pt x="3156" y="1373"/>
                </a:lnTo>
                <a:lnTo>
                  <a:pt x="3156" y="1375"/>
                </a:lnTo>
                <a:lnTo>
                  <a:pt x="3155" y="1374"/>
                </a:lnTo>
                <a:lnTo>
                  <a:pt x="3151" y="1372"/>
                </a:lnTo>
                <a:lnTo>
                  <a:pt x="3152" y="1382"/>
                </a:lnTo>
                <a:lnTo>
                  <a:pt x="3152" y="1387"/>
                </a:lnTo>
                <a:lnTo>
                  <a:pt x="3155" y="1397"/>
                </a:lnTo>
                <a:lnTo>
                  <a:pt x="3158" y="1409"/>
                </a:lnTo>
                <a:lnTo>
                  <a:pt x="3159" y="1409"/>
                </a:lnTo>
                <a:lnTo>
                  <a:pt x="3159" y="1410"/>
                </a:lnTo>
                <a:lnTo>
                  <a:pt x="3163" y="1412"/>
                </a:lnTo>
                <a:lnTo>
                  <a:pt x="3167" y="1416"/>
                </a:lnTo>
                <a:lnTo>
                  <a:pt x="3174" y="1420"/>
                </a:lnTo>
                <a:lnTo>
                  <a:pt x="3175" y="1421"/>
                </a:lnTo>
                <a:lnTo>
                  <a:pt x="3173" y="1425"/>
                </a:lnTo>
                <a:lnTo>
                  <a:pt x="3178" y="1435"/>
                </a:lnTo>
                <a:lnTo>
                  <a:pt x="3182" y="1453"/>
                </a:lnTo>
                <a:lnTo>
                  <a:pt x="3183" y="1456"/>
                </a:lnTo>
                <a:lnTo>
                  <a:pt x="3185" y="1460"/>
                </a:lnTo>
                <a:lnTo>
                  <a:pt x="3186" y="1462"/>
                </a:lnTo>
                <a:lnTo>
                  <a:pt x="3187" y="1464"/>
                </a:lnTo>
                <a:lnTo>
                  <a:pt x="3188" y="1467"/>
                </a:lnTo>
                <a:lnTo>
                  <a:pt x="3188" y="1469"/>
                </a:lnTo>
                <a:lnTo>
                  <a:pt x="3188" y="1467"/>
                </a:lnTo>
                <a:lnTo>
                  <a:pt x="3188" y="1464"/>
                </a:lnTo>
                <a:lnTo>
                  <a:pt x="3191" y="1463"/>
                </a:lnTo>
                <a:lnTo>
                  <a:pt x="3192" y="1463"/>
                </a:lnTo>
                <a:lnTo>
                  <a:pt x="3192" y="1463"/>
                </a:lnTo>
                <a:lnTo>
                  <a:pt x="3193" y="1465"/>
                </a:lnTo>
                <a:lnTo>
                  <a:pt x="3194" y="1469"/>
                </a:lnTo>
                <a:lnTo>
                  <a:pt x="3196" y="1471"/>
                </a:lnTo>
                <a:lnTo>
                  <a:pt x="3200" y="1469"/>
                </a:lnTo>
                <a:lnTo>
                  <a:pt x="3202" y="1471"/>
                </a:lnTo>
                <a:lnTo>
                  <a:pt x="3204" y="1474"/>
                </a:lnTo>
                <a:lnTo>
                  <a:pt x="3207" y="1475"/>
                </a:lnTo>
                <a:lnTo>
                  <a:pt x="3209" y="1475"/>
                </a:lnTo>
                <a:lnTo>
                  <a:pt x="3216" y="1486"/>
                </a:lnTo>
                <a:lnTo>
                  <a:pt x="3219" y="1487"/>
                </a:lnTo>
                <a:lnTo>
                  <a:pt x="3223" y="1491"/>
                </a:lnTo>
                <a:lnTo>
                  <a:pt x="3224" y="1491"/>
                </a:lnTo>
                <a:lnTo>
                  <a:pt x="3226" y="1497"/>
                </a:lnTo>
                <a:lnTo>
                  <a:pt x="3231" y="1498"/>
                </a:lnTo>
                <a:lnTo>
                  <a:pt x="3233" y="1502"/>
                </a:lnTo>
                <a:lnTo>
                  <a:pt x="3233" y="1503"/>
                </a:lnTo>
                <a:lnTo>
                  <a:pt x="3234" y="1502"/>
                </a:lnTo>
                <a:lnTo>
                  <a:pt x="3235" y="1502"/>
                </a:lnTo>
                <a:lnTo>
                  <a:pt x="3237" y="1499"/>
                </a:lnTo>
                <a:lnTo>
                  <a:pt x="3237" y="1499"/>
                </a:lnTo>
                <a:lnTo>
                  <a:pt x="3237" y="1499"/>
                </a:lnTo>
                <a:lnTo>
                  <a:pt x="3241" y="1507"/>
                </a:lnTo>
                <a:lnTo>
                  <a:pt x="3242" y="1514"/>
                </a:lnTo>
                <a:lnTo>
                  <a:pt x="3237" y="1519"/>
                </a:lnTo>
                <a:lnTo>
                  <a:pt x="3235" y="1519"/>
                </a:lnTo>
                <a:lnTo>
                  <a:pt x="3232" y="1523"/>
                </a:lnTo>
                <a:lnTo>
                  <a:pt x="3229" y="1523"/>
                </a:lnTo>
                <a:lnTo>
                  <a:pt x="3231" y="1524"/>
                </a:lnTo>
                <a:lnTo>
                  <a:pt x="3233" y="1523"/>
                </a:lnTo>
                <a:lnTo>
                  <a:pt x="3236" y="1523"/>
                </a:lnTo>
                <a:lnTo>
                  <a:pt x="3238" y="1523"/>
                </a:lnTo>
                <a:lnTo>
                  <a:pt x="3239" y="1522"/>
                </a:lnTo>
                <a:lnTo>
                  <a:pt x="3240" y="1518"/>
                </a:lnTo>
                <a:lnTo>
                  <a:pt x="3244" y="1520"/>
                </a:lnTo>
                <a:lnTo>
                  <a:pt x="3249" y="1529"/>
                </a:lnTo>
                <a:lnTo>
                  <a:pt x="3258" y="1533"/>
                </a:lnTo>
                <a:lnTo>
                  <a:pt x="3265" y="1535"/>
                </a:lnTo>
                <a:lnTo>
                  <a:pt x="3271" y="1532"/>
                </a:lnTo>
                <a:lnTo>
                  <a:pt x="3278" y="1528"/>
                </a:lnTo>
                <a:lnTo>
                  <a:pt x="3282" y="1529"/>
                </a:lnTo>
                <a:lnTo>
                  <a:pt x="3287" y="1531"/>
                </a:lnTo>
                <a:lnTo>
                  <a:pt x="3302" y="1527"/>
                </a:lnTo>
                <a:lnTo>
                  <a:pt x="3306" y="1527"/>
                </a:lnTo>
                <a:lnTo>
                  <a:pt x="3313" y="1527"/>
                </a:lnTo>
                <a:lnTo>
                  <a:pt x="3317" y="1522"/>
                </a:lnTo>
                <a:lnTo>
                  <a:pt x="3324" y="1522"/>
                </a:lnTo>
                <a:lnTo>
                  <a:pt x="3330" y="1520"/>
                </a:lnTo>
                <a:lnTo>
                  <a:pt x="3333" y="1519"/>
                </a:lnTo>
                <a:lnTo>
                  <a:pt x="3339" y="1519"/>
                </a:lnTo>
                <a:lnTo>
                  <a:pt x="3344" y="1516"/>
                </a:lnTo>
                <a:lnTo>
                  <a:pt x="3348" y="1512"/>
                </a:lnTo>
                <a:lnTo>
                  <a:pt x="3350" y="1509"/>
                </a:lnTo>
                <a:lnTo>
                  <a:pt x="3357" y="1512"/>
                </a:lnTo>
                <a:lnTo>
                  <a:pt x="3353" y="1520"/>
                </a:lnTo>
                <a:lnTo>
                  <a:pt x="3353" y="1522"/>
                </a:lnTo>
                <a:lnTo>
                  <a:pt x="3353" y="1523"/>
                </a:lnTo>
                <a:lnTo>
                  <a:pt x="3353" y="1524"/>
                </a:lnTo>
                <a:lnTo>
                  <a:pt x="3353" y="1531"/>
                </a:lnTo>
                <a:lnTo>
                  <a:pt x="3355" y="1531"/>
                </a:lnTo>
                <a:lnTo>
                  <a:pt x="3356" y="1531"/>
                </a:lnTo>
                <a:lnTo>
                  <a:pt x="3357" y="1533"/>
                </a:lnTo>
                <a:lnTo>
                  <a:pt x="3357" y="1533"/>
                </a:lnTo>
                <a:lnTo>
                  <a:pt x="3352" y="1535"/>
                </a:lnTo>
                <a:lnTo>
                  <a:pt x="3351" y="1550"/>
                </a:lnTo>
                <a:lnTo>
                  <a:pt x="3344" y="1558"/>
                </a:lnTo>
                <a:lnTo>
                  <a:pt x="3341" y="1568"/>
                </a:lnTo>
                <a:lnTo>
                  <a:pt x="3336" y="1570"/>
                </a:lnTo>
                <a:lnTo>
                  <a:pt x="3336" y="1574"/>
                </a:lnTo>
                <a:lnTo>
                  <a:pt x="3336" y="1577"/>
                </a:lnTo>
                <a:lnTo>
                  <a:pt x="3331" y="1584"/>
                </a:lnTo>
                <a:lnTo>
                  <a:pt x="3326" y="1590"/>
                </a:lnTo>
                <a:lnTo>
                  <a:pt x="3325" y="1599"/>
                </a:lnTo>
                <a:lnTo>
                  <a:pt x="3310" y="1624"/>
                </a:lnTo>
                <a:lnTo>
                  <a:pt x="3280" y="1655"/>
                </a:lnTo>
                <a:lnTo>
                  <a:pt x="3259" y="1667"/>
                </a:lnTo>
                <a:lnTo>
                  <a:pt x="3244" y="1682"/>
                </a:lnTo>
                <a:lnTo>
                  <a:pt x="3224" y="1704"/>
                </a:lnTo>
                <a:lnTo>
                  <a:pt x="3221" y="1710"/>
                </a:lnTo>
                <a:lnTo>
                  <a:pt x="3218" y="1715"/>
                </a:lnTo>
                <a:lnTo>
                  <a:pt x="3209" y="1704"/>
                </a:lnTo>
                <a:lnTo>
                  <a:pt x="3209" y="1649"/>
                </a:lnTo>
                <a:lnTo>
                  <a:pt x="3214" y="1644"/>
                </a:lnTo>
                <a:lnTo>
                  <a:pt x="3219" y="1635"/>
                </a:lnTo>
                <a:lnTo>
                  <a:pt x="3218" y="1635"/>
                </a:lnTo>
                <a:lnTo>
                  <a:pt x="3211" y="1644"/>
                </a:lnTo>
                <a:lnTo>
                  <a:pt x="3205" y="1649"/>
                </a:lnTo>
                <a:lnTo>
                  <a:pt x="3205" y="1708"/>
                </a:lnTo>
                <a:lnTo>
                  <a:pt x="3214" y="1719"/>
                </a:lnTo>
                <a:lnTo>
                  <a:pt x="3212" y="1723"/>
                </a:lnTo>
                <a:lnTo>
                  <a:pt x="3205" y="1724"/>
                </a:lnTo>
                <a:lnTo>
                  <a:pt x="3205" y="1728"/>
                </a:lnTo>
                <a:lnTo>
                  <a:pt x="3205" y="1730"/>
                </a:lnTo>
                <a:lnTo>
                  <a:pt x="3202" y="1736"/>
                </a:lnTo>
                <a:lnTo>
                  <a:pt x="3201" y="1736"/>
                </a:lnTo>
                <a:lnTo>
                  <a:pt x="3196" y="1736"/>
                </a:lnTo>
                <a:lnTo>
                  <a:pt x="3194" y="1743"/>
                </a:lnTo>
                <a:lnTo>
                  <a:pt x="3191" y="1744"/>
                </a:lnTo>
                <a:lnTo>
                  <a:pt x="3183" y="1765"/>
                </a:lnTo>
                <a:lnTo>
                  <a:pt x="3184" y="1767"/>
                </a:lnTo>
                <a:lnTo>
                  <a:pt x="3182" y="1768"/>
                </a:lnTo>
                <a:lnTo>
                  <a:pt x="3182" y="1768"/>
                </a:lnTo>
                <a:lnTo>
                  <a:pt x="3180" y="1768"/>
                </a:lnTo>
                <a:lnTo>
                  <a:pt x="3180" y="1768"/>
                </a:lnTo>
                <a:lnTo>
                  <a:pt x="3176" y="1786"/>
                </a:lnTo>
                <a:lnTo>
                  <a:pt x="3180" y="1791"/>
                </a:lnTo>
                <a:lnTo>
                  <a:pt x="3181" y="1792"/>
                </a:lnTo>
                <a:lnTo>
                  <a:pt x="3189" y="1800"/>
                </a:lnTo>
                <a:lnTo>
                  <a:pt x="3184" y="1809"/>
                </a:lnTo>
                <a:lnTo>
                  <a:pt x="3184" y="1811"/>
                </a:lnTo>
                <a:lnTo>
                  <a:pt x="3188" y="1812"/>
                </a:lnTo>
                <a:lnTo>
                  <a:pt x="3188" y="1813"/>
                </a:lnTo>
                <a:lnTo>
                  <a:pt x="3184" y="1820"/>
                </a:lnTo>
                <a:lnTo>
                  <a:pt x="3186" y="1828"/>
                </a:lnTo>
                <a:lnTo>
                  <a:pt x="3188" y="1833"/>
                </a:lnTo>
                <a:lnTo>
                  <a:pt x="3186" y="1833"/>
                </a:lnTo>
                <a:lnTo>
                  <a:pt x="3188" y="1834"/>
                </a:lnTo>
                <a:lnTo>
                  <a:pt x="3191" y="1847"/>
                </a:lnTo>
                <a:lnTo>
                  <a:pt x="3192" y="1849"/>
                </a:lnTo>
                <a:lnTo>
                  <a:pt x="3192" y="1849"/>
                </a:lnTo>
                <a:lnTo>
                  <a:pt x="3195" y="1849"/>
                </a:lnTo>
                <a:lnTo>
                  <a:pt x="3196" y="1849"/>
                </a:lnTo>
                <a:lnTo>
                  <a:pt x="3196" y="1849"/>
                </a:lnTo>
                <a:lnTo>
                  <a:pt x="3196" y="1849"/>
                </a:lnTo>
                <a:lnTo>
                  <a:pt x="3199" y="1849"/>
                </a:lnTo>
                <a:lnTo>
                  <a:pt x="3200" y="1849"/>
                </a:lnTo>
                <a:lnTo>
                  <a:pt x="3202" y="1851"/>
                </a:lnTo>
                <a:lnTo>
                  <a:pt x="3204" y="1853"/>
                </a:lnTo>
                <a:lnTo>
                  <a:pt x="3200" y="1856"/>
                </a:lnTo>
                <a:lnTo>
                  <a:pt x="3200" y="1857"/>
                </a:lnTo>
                <a:lnTo>
                  <a:pt x="3196" y="1857"/>
                </a:lnTo>
                <a:lnTo>
                  <a:pt x="3196" y="1861"/>
                </a:lnTo>
                <a:lnTo>
                  <a:pt x="3200" y="1861"/>
                </a:lnTo>
                <a:lnTo>
                  <a:pt x="3195" y="1865"/>
                </a:lnTo>
                <a:lnTo>
                  <a:pt x="3196" y="1865"/>
                </a:lnTo>
                <a:lnTo>
                  <a:pt x="3196" y="1867"/>
                </a:lnTo>
                <a:lnTo>
                  <a:pt x="3196" y="1872"/>
                </a:lnTo>
                <a:lnTo>
                  <a:pt x="3196" y="1881"/>
                </a:lnTo>
                <a:lnTo>
                  <a:pt x="3200" y="1884"/>
                </a:lnTo>
                <a:lnTo>
                  <a:pt x="3200" y="1886"/>
                </a:lnTo>
                <a:lnTo>
                  <a:pt x="3198" y="1887"/>
                </a:lnTo>
                <a:lnTo>
                  <a:pt x="3200" y="1889"/>
                </a:lnTo>
                <a:lnTo>
                  <a:pt x="3201" y="1887"/>
                </a:lnTo>
                <a:lnTo>
                  <a:pt x="3201" y="1887"/>
                </a:lnTo>
                <a:lnTo>
                  <a:pt x="3201" y="1887"/>
                </a:lnTo>
                <a:lnTo>
                  <a:pt x="3200" y="1895"/>
                </a:lnTo>
                <a:lnTo>
                  <a:pt x="3201" y="1904"/>
                </a:lnTo>
                <a:lnTo>
                  <a:pt x="3200" y="1907"/>
                </a:lnTo>
                <a:lnTo>
                  <a:pt x="3200" y="1909"/>
                </a:lnTo>
                <a:lnTo>
                  <a:pt x="3201" y="1909"/>
                </a:lnTo>
                <a:lnTo>
                  <a:pt x="3201" y="1910"/>
                </a:lnTo>
                <a:lnTo>
                  <a:pt x="3200" y="1910"/>
                </a:lnTo>
                <a:lnTo>
                  <a:pt x="3201" y="1910"/>
                </a:lnTo>
                <a:lnTo>
                  <a:pt x="3201" y="1909"/>
                </a:lnTo>
                <a:lnTo>
                  <a:pt x="3201" y="1913"/>
                </a:lnTo>
                <a:lnTo>
                  <a:pt x="3201" y="1921"/>
                </a:lnTo>
                <a:lnTo>
                  <a:pt x="3200" y="1921"/>
                </a:lnTo>
                <a:lnTo>
                  <a:pt x="3201" y="1922"/>
                </a:lnTo>
                <a:lnTo>
                  <a:pt x="3201" y="1923"/>
                </a:lnTo>
                <a:lnTo>
                  <a:pt x="3200" y="1925"/>
                </a:lnTo>
                <a:lnTo>
                  <a:pt x="3193" y="1933"/>
                </a:lnTo>
                <a:lnTo>
                  <a:pt x="3191" y="1936"/>
                </a:lnTo>
                <a:lnTo>
                  <a:pt x="3188" y="1938"/>
                </a:lnTo>
                <a:lnTo>
                  <a:pt x="3188" y="1940"/>
                </a:lnTo>
                <a:lnTo>
                  <a:pt x="3188" y="1941"/>
                </a:lnTo>
                <a:lnTo>
                  <a:pt x="3183" y="1944"/>
                </a:lnTo>
                <a:lnTo>
                  <a:pt x="3179" y="1946"/>
                </a:lnTo>
                <a:lnTo>
                  <a:pt x="3178" y="1947"/>
                </a:lnTo>
                <a:lnTo>
                  <a:pt x="3178" y="1948"/>
                </a:lnTo>
                <a:lnTo>
                  <a:pt x="3160" y="1955"/>
                </a:lnTo>
                <a:lnTo>
                  <a:pt x="3152" y="1961"/>
                </a:lnTo>
                <a:lnTo>
                  <a:pt x="3150" y="1962"/>
                </a:lnTo>
                <a:lnTo>
                  <a:pt x="3148" y="1964"/>
                </a:lnTo>
                <a:lnTo>
                  <a:pt x="3147" y="1963"/>
                </a:lnTo>
                <a:lnTo>
                  <a:pt x="3146" y="1963"/>
                </a:lnTo>
                <a:lnTo>
                  <a:pt x="3147" y="1965"/>
                </a:lnTo>
                <a:lnTo>
                  <a:pt x="3148" y="1967"/>
                </a:lnTo>
                <a:lnTo>
                  <a:pt x="3143" y="1974"/>
                </a:lnTo>
                <a:lnTo>
                  <a:pt x="3139" y="1981"/>
                </a:lnTo>
                <a:lnTo>
                  <a:pt x="3136" y="1981"/>
                </a:lnTo>
                <a:lnTo>
                  <a:pt x="3118" y="1996"/>
                </a:lnTo>
                <a:lnTo>
                  <a:pt x="3115" y="1989"/>
                </a:lnTo>
                <a:lnTo>
                  <a:pt x="3116" y="1992"/>
                </a:lnTo>
                <a:lnTo>
                  <a:pt x="3116" y="1998"/>
                </a:lnTo>
                <a:lnTo>
                  <a:pt x="3114" y="2002"/>
                </a:lnTo>
                <a:lnTo>
                  <a:pt x="3120" y="2010"/>
                </a:lnTo>
                <a:lnTo>
                  <a:pt x="3120" y="2016"/>
                </a:lnTo>
                <a:lnTo>
                  <a:pt x="3124" y="2020"/>
                </a:lnTo>
                <a:lnTo>
                  <a:pt x="3124" y="2033"/>
                </a:lnTo>
                <a:lnTo>
                  <a:pt x="3126" y="2033"/>
                </a:lnTo>
                <a:lnTo>
                  <a:pt x="3128" y="2028"/>
                </a:lnTo>
                <a:lnTo>
                  <a:pt x="3128" y="2030"/>
                </a:lnTo>
                <a:lnTo>
                  <a:pt x="3128" y="2040"/>
                </a:lnTo>
                <a:lnTo>
                  <a:pt x="3128" y="2045"/>
                </a:lnTo>
                <a:lnTo>
                  <a:pt x="3130" y="2045"/>
                </a:lnTo>
                <a:lnTo>
                  <a:pt x="3128" y="2046"/>
                </a:lnTo>
                <a:lnTo>
                  <a:pt x="3124" y="2056"/>
                </a:lnTo>
                <a:lnTo>
                  <a:pt x="3124" y="2058"/>
                </a:lnTo>
                <a:lnTo>
                  <a:pt x="3128" y="2055"/>
                </a:lnTo>
                <a:lnTo>
                  <a:pt x="3128" y="2059"/>
                </a:lnTo>
                <a:lnTo>
                  <a:pt x="3120" y="2067"/>
                </a:lnTo>
                <a:lnTo>
                  <a:pt x="3102" y="2077"/>
                </a:lnTo>
                <a:lnTo>
                  <a:pt x="3090" y="2086"/>
                </a:lnTo>
                <a:lnTo>
                  <a:pt x="3086" y="2090"/>
                </a:lnTo>
                <a:lnTo>
                  <a:pt x="3091" y="2095"/>
                </a:lnTo>
                <a:lnTo>
                  <a:pt x="3092" y="2093"/>
                </a:lnTo>
                <a:lnTo>
                  <a:pt x="3091" y="2106"/>
                </a:lnTo>
                <a:lnTo>
                  <a:pt x="3092" y="2106"/>
                </a:lnTo>
                <a:lnTo>
                  <a:pt x="3084" y="2132"/>
                </a:lnTo>
                <a:lnTo>
                  <a:pt x="3080" y="2138"/>
                </a:lnTo>
                <a:lnTo>
                  <a:pt x="3077" y="2138"/>
                </a:lnTo>
                <a:lnTo>
                  <a:pt x="3069" y="2146"/>
                </a:lnTo>
                <a:lnTo>
                  <a:pt x="3067" y="2148"/>
                </a:lnTo>
                <a:lnTo>
                  <a:pt x="3065" y="2152"/>
                </a:lnTo>
                <a:lnTo>
                  <a:pt x="3058" y="2164"/>
                </a:lnTo>
                <a:lnTo>
                  <a:pt x="3050" y="2175"/>
                </a:lnTo>
                <a:lnTo>
                  <a:pt x="3045" y="2178"/>
                </a:lnTo>
                <a:lnTo>
                  <a:pt x="3041" y="2181"/>
                </a:lnTo>
                <a:lnTo>
                  <a:pt x="3027" y="2196"/>
                </a:lnTo>
                <a:lnTo>
                  <a:pt x="3020" y="2203"/>
                </a:lnTo>
                <a:lnTo>
                  <a:pt x="3006" y="2212"/>
                </a:lnTo>
                <a:lnTo>
                  <a:pt x="2999" y="2218"/>
                </a:lnTo>
                <a:lnTo>
                  <a:pt x="2987" y="2218"/>
                </a:lnTo>
                <a:lnTo>
                  <a:pt x="2986" y="2221"/>
                </a:lnTo>
                <a:lnTo>
                  <a:pt x="2987" y="2222"/>
                </a:lnTo>
                <a:lnTo>
                  <a:pt x="2976" y="2222"/>
                </a:lnTo>
                <a:lnTo>
                  <a:pt x="2975" y="2225"/>
                </a:lnTo>
                <a:lnTo>
                  <a:pt x="2957" y="2222"/>
                </a:lnTo>
                <a:lnTo>
                  <a:pt x="2953" y="2222"/>
                </a:lnTo>
                <a:lnTo>
                  <a:pt x="2952" y="2222"/>
                </a:lnTo>
                <a:lnTo>
                  <a:pt x="2940" y="2219"/>
                </a:lnTo>
                <a:lnTo>
                  <a:pt x="2933" y="2221"/>
                </a:lnTo>
                <a:lnTo>
                  <a:pt x="2928" y="2226"/>
                </a:lnTo>
                <a:lnTo>
                  <a:pt x="2925" y="2226"/>
                </a:lnTo>
                <a:lnTo>
                  <a:pt x="2922" y="2226"/>
                </a:lnTo>
                <a:lnTo>
                  <a:pt x="2915" y="2226"/>
                </a:lnTo>
                <a:lnTo>
                  <a:pt x="2914" y="2230"/>
                </a:lnTo>
                <a:lnTo>
                  <a:pt x="2909" y="2230"/>
                </a:lnTo>
                <a:lnTo>
                  <a:pt x="2903" y="2234"/>
                </a:lnTo>
                <a:lnTo>
                  <a:pt x="2898" y="2234"/>
                </a:lnTo>
                <a:lnTo>
                  <a:pt x="2891" y="2229"/>
                </a:lnTo>
                <a:lnTo>
                  <a:pt x="2891" y="2226"/>
                </a:lnTo>
                <a:lnTo>
                  <a:pt x="2891" y="2226"/>
                </a:lnTo>
                <a:lnTo>
                  <a:pt x="2883" y="2226"/>
                </a:lnTo>
                <a:lnTo>
                  <a:pt x="2883" y="2222"/>
                </a:lnTo>
                <a:lnTo>
                  <a:pt x="2879" y="2222"/>
                </a:lnTo>
                <a:lnTo>
                  <a:pt x="2879" y="2225"/>
                </a:lnTo>
                <a:lnTo>
                  <a:pt x="2877" y="2224"/>
                </a:lnTo>
                <a:lnTo>
                  <a:pt x="2876" y="2219"/>
                </a:lnTo>
                <a:lnTo>
                  <a:pt x="2879" y="2218"/>
                </a:lnTo>
                <a:lnTo>
                  <a:pt x="2879" y="2214"/>
                </a:lnTo>
                <a:lnTo>
                  <a:pt x="2873" y="2206"/>
                </a:lnTo>
                <a:lnTo>
                  <a:pt x="2872" y="2206"/>
                </a:lnTo>
                <a:lnTo>
                  <a:pt x="2870" y="2200"/>
                </a:lnTo>
                <a:lnTo>
                  <a:pt x="2873" y="2198"/>
                </a:lnTo>
                <a:lnTo>
                  <a:pt x="2875" y="2199"/>
                </a:lnTo>
                <a:lnTo>
                  <a:pt x="2877" y="2196"/>
                </a:lnTo>
                <a:lnTo>
                  <a:pt x="2878" y="2191"/>
                </a:lnTo>
                <a:lnTo>
                  <a:pt x="2877" y="2184"/>
                </a:lnTo>
                <a:lnTo>
                  <a:pt x="2862" y="2158"/>
                </a:lnTo>
                <a:lnTo>
                  <a:pt x="2855" y="2139"/>
                </a:lnTo>
                <a:lnTo>
                  <a:pt x="2852" y="2135"/>
                </a:lnTo>
                <a:lnTo>
                  <a:pt x="2852" y="2133"/>
                </a:lnTo>
                <a:lnTo>
                  <a:pt x="2851" y="2133"/>
                </a:lnTo>
                <a:lnTo>
                  <a:pt x="2850" y="2132"/>
                </a:lnTo>
                <a:lnTo>
                  <a:pt x="2840" y="2125"/>
                </a:lnTo>
                <a:lnTo>
                  <a:pt x="2833" y="2113"/>
                </a:lnTo>
                <a:lnTo>
                  <a:pt x="2831" y="2107"/>
                </a:lnTo>
                <a:lnTo>
                  <a:pt x="2829" y="2103"/>
                </a:lnTo>
                <a:lnTo>
                  <a:pt x="2831" y="2102"/>
                </a:lnTo>
                <a:lnTo>
                  <a:pt x="2829" y="2098"/>
                </a:lnTo>
                <a:lnTo>
                  <a:pt x="2827" y="2098"/>
                </a:lnTo>
                <a:lnTo>
                  <a:pt x="2827" y="2092"/>
                </a:lnTo>
                <a:lnTo>
                  <a:pt x="2827" y="2087"/>
                </a:lnTo>
                <a:lnTo>
                  <a:pt x="2827" y="2076"/>
                </a:lnTo>
                <a:lnTo>
                  <a:pt x="2819" y="2060"/>
                </a:lnTo>
                <a:lnTo>
                  <a:pt x="2819" y="2049"/>
                </a:lnTo>
                <a:lnTo>
                  <a:pt x="2825" y="2049"/>
                </a:lnTo>
                <a:lnTo>
                  <a:pt x="2824" y="2045"/>
                </a:lnTo>
                <a:lnTo>
                  <a:pt x="2819" y="2045"/>
                </a:lnTo>
                <a:lnTo>
                  <a:pt x="2819" y="2039"/>
                </a:lnTo>
                <a:lnTo>
                  <a:pt x="2819" y="2036"/>
                </a:lnTo>
                <a:lnTo>
                  <a:pt x="2819" y="2033"/>
                </a:lnTo>
                <a:lnTo>
                  <a:pt x="2813" y="2025"/>
                </a:lnTo>
                <a:lnTo>
                  <a:pt x="2812" y="2020"/>
                </a:lnTo>
                <a:lnTo>
                  <a:pt x="2805" y="2009"/>
                </a:lnTo>
                <a:lnTo>
                  <a:pt x="2801" y="2000"/>
                </a:lnTo>
                <a:lnTo>
                  <a:pt x="2790" y="1980"/>
                </a:lnTo>
                <a:lnTo>
                  <a:pt x="2782" y="1972"/>
                </a:lnTo>
                <a:lnTo>
                  <a:pt x="2779" y="1967"/>
                </a:lnTo>
                <a:lnTo>
                  <a:pt x="2779" y="1959"/>
                </a:lnTo>
                <a:lnTo>
                  <a:pt x="2779" y="1954"/>
                </a:lnTo>
                <a:lnTo>
                  <a:pt x="2779" y="1953"/>
                </a:lnTo>
                <a:lnTo>
                  <a:pt x="2779" y="1943"/>
                </a:lnTo>
                <a:lnTo>
                  <a:pt x="2779" y="1934"/>
                </a:lnTo>
                <a:lnTo>
                  <a:pt x="2779" y="1933"/>
                </a:lnTo>
                <a:lnTo>
                  <a:pt x="2782" y="1930"/>
                </a:lnTo>
                <a:lnTo>
                  <a:pt x="2785" y="1923"/>
                </a:lnTo>
                <a:lnTo>
                  <a:pt x="2787" y="1916"/>
                </a:lnTo>
                <a:lnTo>
                  <a:pt x="2787" y="1907"/>
                </a:lnTo>
                <a:lnTo>
                  <a:pt x="2791" y="1903"/>
                </a:lnTo>
                <a:lnTo>
                  <a:pt x="2791" y="1895"/>
                </a:lnTo>
                <a:lnTo>
                  <a:pt x="2795" y="1889"/>
                </a:lnTo>
                <a:lnTo>
                  <a:pt x="2795" y="1885"/>
                </a:lnTo>
                <a:lnTo>
                  <a:pt x="2803" y="1882"/>
                </a:lnTo>
                <a:lnTo>
                  <a:pt x="2809" y="1870"/>
                </a:lnTo>
                <a:lnTo>
                  <a:pt x="2811" y="1859"/>
                </a:lnTo>
                <a:lnTo>
                  <a:pt x="2807" y="1856"/>
                </a:lnTo>
                <a:lnTo>
                  <a:pt x="2807" y="1854"/>
                </a:lnTo>
                <a:lnTo>
                  <a:pt x="2804" y="1850"/>
                </a:lnTo>
                <a:lnTo>
                  <a:pt x="2798" y="1830"/>
                </a:lnTo>
                <a:lnTo>
                  <a:pt x="2803" y="1823"/>
                </a:lnTo>
                <a:lnTo>
                  <a:pt x="2803" y="1819"/>
                </a:lnTo>
                <a:lnTo>
                  <a:pt x="2795" y="1803"/>
                </a:lnTo>
                <a:lnTo>
                  <a:pt x="2795" y="1798"/>
                </a:lnTo>
                <a:lnTo>
                  <a:pt x="2791" y="1793"/>
                </a:lnTo>
                <a:lnTo>
                  <a:pt x="2787" y="1785"/>
                </a:lnTo>
                <a:lnTo>
                  <a:pt x="2787" y="1780"/>
                </a:lnTo>
                <a:lnTo>
                  <a:pt x="2786" y="1778"/>
                </a:lnTo>
                <a:lnTo>
                  <a:pt x="2787" y="1776"/>
                </a:lnTo>
                <a:lnTo>
                  <a:pt x="2784" y="1769"/>
                </a:lnTo>
                <a:lnTo>
                  <a:pt x="2788" y="1768"/>
                </a:lnTo>
                <a:lnTo>
                  <a:pt x="2788" y="1768"/>
                </a:lnTo>
                <a:lnTo>
                  <a:pt x="2783" y="1762"/>
                </a:lnTo>
                <a:lnTo>
                  <a:pt x="2783" y="1759"/>
                </a:lnTo>
                <a:lnTo>
                  <a:pt x="2775" y="1750"/>
                </a:lnTo>
                <a:lnTo>
                  <a:pt x="2777" y="1747"/>
                </a:lnTo>
                <a:lnTo>
                  <a:pt x="2782" y="1744"/>
                </a:lnTo>
                <a:lnTo>
                  <a:pt x="2781" y="1744"/>
                </a:lnTo>
                <a:lnTo>
                  <a:pt x="2775" y="1746"/>
                </a:lnTo>
                <a:lnTo>
                  <a:pt x="2774" y="1749"/>
                </a:lnTo>
                <a:lnTo>
                  <a:pt x="2763" y="1738"/>
                </a:lnTo>
                <a:lnTo>
                  <a:pt x="2755" y="1732"/>
                </a:lnTo>
                <a:lnTo>
                  <a:pt x="2754" y="1732"/>
                </a:lnTo>
                <a:lnTo>
                  <a:pt x="2750" y="1730"/>
                </a:lnTo>
                <a:lnTo>
                  <a:pt x="2746" y="1724"/>
                </a:lnTo>
                <a:lnTo>
                  <a:pt x="2749" y="1724"/>
                </a:lnTo>
                <a:lnTo>
                  <a:pt x="2745" y="1720"/>
                </a:lnTo>
                <a:lnTo>
                  <a:pt x="2747" y="1720"/>
                </a:lnTo>
                <a:lnTo>
                  <a:pt x="2747" y="1716"/>
                </a:lnTo>
                <a:lnTo>
                  <a:pt x="2747" y="1714"/>
                </a:lnTo>
                <a:lnTo>
                  <a:pt x="2745" y="1716"/>
                </a:lnTo>
                <a:lnTo>
                  <a:pt x="2745" y="1715"/>
                </a:lnTo>
                <a:lnTo>
                  <a:pt x="2746" y="1711"/>
                </a:lnTo>
                <a:lnTo>
                  <a:pt x="2745" y="1712"/>
                </a:lnTo>
                <a:lnTo>
                  <a:pt x="2742" y="1711"/>
                </a:lnTo>
                <a:lnTo>
                  <a:pt x="2742" y="1711"/>
                </a:lnTo>
                <a:lnTo>
                  <a:pt x="2741" y="1711"/>
                </a:lnTo>
                <a:lnTo>
                  <a:pt x="2736" y="1702"/>
                </a:lnTo>
                <a:lnTo>
                  <a:pt x="2740" y="1705"/>
                </a:lnTo>
                <a:lnTo>
                  <a:pt x="2741" y="1704"/>
                </a:lnTo>
                <a:lnTo>
                  <a:pt x="2743" y="1705"/>
                </a:lnTo>
                <a:lnTo>
                  <a:pt x="2743" y="1702"/>
                </a:lnTo>
                <a:lnTo>
                  <a:pt x="2742" y="1702"/>
                </a:lnTo>
                <a:lnTo>
                  <a:pt x="2743" y="1699"/>
                </a:lnTo>
                <a:lnTo>
                  <a:pt x="2743" y="1688"/>
                </a:lnTo>
                <a:lnTo>
                  <a:pt x="2747" y="1692"/>
                </a:lnTo>
                <a:lnTo>
                  <a:pt x="2753" y="1693"/>
                </a:lnTo>
                <a:lnTo>
                  <a:pt x="2754" y="1692"/>
                </a:lnTo>
                <a:lnTo>
                  <a:pt x="2747" y="1689"/>
                </a:lnTo>
                <a:lnTo>
                  <a:pt x="2743" y="1686"/>
                </a:lnTo>
                <a:lnTo>
                  <a:pt x="2743" y="1685"/>
                </a:lnTo>
                <a:lnTo>
                  <a:pt x="2747" y="1684"/>
                </a:lnTo>
                <a:lnTo>
                  <a:pt x="2747" y="1680"/>
                </a:lnTo>
                <a:lnTo>
                  <a:pt x="2749" y="1680"/>
                </a:lnTo>
                <a:lnTo>
                  <a:pt x="2751" y="1680"/>
                </a:lnTo>
                <a:lnTo>
                  <a:pt x="2751" y="1676"/>
                </a:lnTo>
                <a:lnTo>
                  <a:pt x="2752" y="1676"/>
                </a:lnTo>
                <a:lnTo>
                  <a:pt x="2747" y="1674"/>
                </a:lnTo>
                <a:lnTo>
                  <a:pt x="2751" y="1663"/>
                </a:lnTo>
                <a:lnTo>
                  <a:pt x="2751" y="1656"/>
                </a:lnTo>
                <a:lnTo>
                  <a:pt x="2754" y="1658"/>
                </a:lnTo>
                <a:lnTo>
                  <a:pt x="2760" y="1649"/>
                </a:lnTo>
                <a:lnTo>
                  <a:pt x="2757" y="1648"/>
                </a:lnTo>
                <a:lnTo>
                  <a:pt x="2754" y="1642"/>
                </a:lnTo>
                <a:lnTo>
                  <a:pt x="2753" y="1638"/>
                </a:lnTo>
                <a:lnTo>
                  <a:pt x="2754" y="1637"/>
                </a:lnTo>
                <a:lnTo>
                  <a:pt x="2752" y="1633"/>
                </a:lnTo>
                <a:lnTo>
                  <a:pt x="2753" y="1636"/>
                </a:lnTo>
                <a:lnTo>
                  <a:pt x="2752" y="1637"/>
                </a:lnTo>
                <a:lnTo>
                  <a:pt x="2745" y="1633"/>
                </a:lnTo>
                <a:lnTo>
                  <a:pt x="2742" y="1627"/>
                </a:lnTo>
                <a:lnTo>
                  <a:pt x="2739" y="1626"/>
                </a:lnTo>
                <a:lnTo>
                  <a:pt x="2739" y="1630"/>
                </a:lnTo>
                <a:lnTo>
                  <a:pt x="2736" y="1627"/>
                </a:lnTo>
                <a:lnTo>
                  <a:pt x="2738" y="1626"/>
                </a:lnTo>
                <a:lnTo>
                  <a:pt x="2735" y="1622"/>
                </a:lnTo>
                <a:lnTo>
                  <a:pt x="2736" y="1626"/>
                </a:lnTo>
                <a:lnTo>
                  <a:pt x="2735" y="1627"/>
                </a:lnTo>
                <a:lnTo>
                  <a:pt x="2726" y="1630"/>
                </a:lnTo>
                <a:lnTo>
                  <a:pt x="2723" y="1627"/>
                </a:lnTo>
                <a:lnTo>
                  <a:pt x="2724" y="1628"/>
                </a:lnTo>
                <a:lnTo>
                  <a:pt x="2721" y="1628"/>
                </a:lnTo>
                <a:lnTo>
                  <a:pt x="2721" y="1627"/>
                </a:lnTo>
                <a:lnTo>
                  <a:pt x="2720" y="1628"/>
                </a:lnTo>
                <a:lnTo>
                  <a:pt x="2717" y="1627"/>
                </a:lnTo>
                <a:lnTo>
                  <a:pt x="2719" y="1632"/>
                </a:lnTo>
                <a:lnTo>
                  <a:pt x="2717" y="1632"/>
                </a:lnTo>
                <a:lnTo>
                  <a:pt x="2714" y="1632"/>
                </a:lnTo>
                <a:lnTo>
                  <a:pt x="2712" y="1632"/>
                </a:lnTo>
                <a:lnTo>
                  <a:pt x="2706" y="1634"/>
                </a:lnTo>
                <a:lnTo>
                  <a:pt x="2708" y="1632"/>
                </a:lnTo>
                <a:lnTo>
                  <a:pt x="2706" y="1632"/>
                </a:lnTo>
                <a:lnTo>
                  <a:pt x="2704" y="1632"/>
                </a:lnTo>
                <a:lnTo>
                  <a:pt x="2702" y="1632"/>
                </a:lnTo>
                <a:lnTo>
                  <a:pt x="2697" y="1630"/>
                </a:lnTo>
                <a:lnTo>
                  <a:pt x="2694" y="1622"/>
                </a:lnTo>
                <a:lnTo>
                  <a:pt x="2691" y="1618"/>
                </a:lnTo>
                <a:lnTo>
                  <a:pt x="2691" y="1615"/>
                </a:lnTo>
                <a:lnTo>
                  <a:pt x="2691" y="1615"/>
                </a:lnTo>
                <a:lnTo>
                  <a:pt x="2690" y="1614"/>
                </a:lnTo>
                <a:lnTo>
                  <a:pt x="2686" y="1606"/>
                </a:lnTo>
                <a:lnTo>
                  <a:pt x="2680" y="1602"/>
                </a:lnTo>
                <a:lnTo>
                  <a:pt x="2665" y="1600"/>
                </a:lnTo>
                <a:lnTo>
                  <a:pt x="2664" y="1604"/>
                </a:lnTo>
                <a:lnTo>
                  <a:pt x="2654" y="1604"/>
                </a:lnTo>
                <a:lnTo>
                  <a:pt x="2654" y="1589"/>
                </a:lnTo>
                <a:lnTo>
                  <a:pt x="2653" y="1577"/>
                </a:lnTo>
                <a:lnTo>
                  <a:pt x="2654" y="1559"/>
                </a:lnTo>
                <a:lnTo>
                  <a:pt x="2653" y="1559"/>
                </a:lnTo>
                <a:lnTo>
                  <a:pt x="2651" y="1576"/>
                </a:lnTo>
                <a:lnTo>
                  <a:pt x="2650" y="1587"/>
                </a:lnTo>
                <a:lnTo>
                  <a:pt x="2650" y="1598"/>
                </a:lnTo>
                <a:lnTo>
                  <a:pt x="2636" y="1600"/>
                </a:lnTo>
                <a:lnTo>
                  <a:pt x="2638" y="1598"/>
                </a:lnTo>
                <a:lnTo>
                  <a:pt x="2634" y="1593"/>
                </a:lnTo>
                <a:lnTo>
                  <a:pt x="2634" y="1588"/>
                </a:lnTo>
                <a:lnTo>
                  <a:pt x="2630" y="1588"/>
                </a:lnTo>
                <a:lnTo>
                  <a:pt x="2630" y="1592"/>
                </a:lnTo>
                <a:lnTo>
                  <a:pt x="2635" y="1598"/>
                </a:lnTo>
                <a:lnTo>
                  <a:pt x="2635" y="1599"/>
                </a:lnTo>
                <a:lnTo>
                  <a:pt x="2631" y="1600"/>
                </a:lnTo>
                <a:lnTo>
                  <a:pt x="2631" y="1601"/>
                </a:lnTo>
                <a:lnTo>
                  <a:pt x="2629" y="1608"/>
                </a:lnTo>
                <a:lnTo>
                  <a:pt x="2623" y="1608"/>
                </a:lnTo>
                <a:lnTo>
                  <a:pt x="2618" y="1608"/>
                </a:lnTo>
                <a:lnTo>
                  <a:pt x="2603" y="1614"/>
                </a:lnTo>
                <a:lnTo>
                  <a:pt x="2588" y="1617"/>
                </a:lnTo>
                <a:lnTo>
                  <a:pt x="2582" y="1622"/>
                </a:lnTo>
                <a:lnTo>
                  <a:pt x="2579" y="1618"/>
                </a:lnTo>
                <a:lnTo>
                  <a:pt x="2570" y="1616"/>
                </a:lnTo>
                <a:lnTo>
                  <a:pt x="2570" y="1620"/>
                </a:lnTo>
                <a:lnTo>
                  <a:pt x="2569" y="1620"/>
                </a:lnTo>
                <a:lnTo>
                  <a:pt x="2562" y="1614"/>
                </a:lnTo>
                <a:lnTo>
                  <a:pt x="2562" y="1616"/>
                </a:lnTo>
                <a:lnTo>
                  <a:pt x="2555" y="1616"/>
                </a:lnTo>
                <a:lnTo>
                  <a:pt x="2558" y="1616"/>
                </a:lnTo>
                <a:lnTo>
                  <a:pt x="2546" y="1614"/>
                </a:lnTo>
                <a:lnTo>
                  <a:pt x="2542" y="1617"/>
                </a:lnTo>
                <a:lnTo>
                  <a:pt x="2540" y="1616"/>
                </a:lnTo>
                <a:lnTo>
                  <a:pt x="2538" y="1616"/>
                </a:lnTo>
                <a:lnTo>
                  <a:pt x="2539" y="1616"/>
                </a:lnTo>
                <a:lnTo>
                  <a:pt x="2536" y="1617"/>
                </a:lnTo>
                <a:lnTo>
                  <a:pt x="2534" y="1620"/>
                </a:lnTo>
                <a:lnTo>
                  <a:pt x="2534" y="1620"/>
                </a:lnTo>
                <a:lnTo>
                  <a:pt x="2534" y="1617"/>
                </a:lnTo>
                <a:lnTo>
                  <a:pt x="2526" y="1618"/>
                </a:lnTo>
                <a:lnTo>
                  <a:pt x="2504" y="1627"/>
                </a:lnTo>
                <a:lnTo>
                  <a:pt x="2501" y="1619"/>
                </a:lnTo>
                <a:lnTo>
                  <a:pt x="2505" y="1612"/>
                </a:lnTo>
                <a:lnTo>
                  <a:pt x="2503" y="1611"/>
                </a:lnTo>
                <a:lnTo>
                  <a:pt x="2502" y="1610"/>
                </a:lnTo>
                <a:lnTo>
                  <a:pt x="2502" y="1610"/>
                </a:lnTo>
                <a:lnTo>
                  <a:pt x="2502" y="1611"/>
                </a:lnTo>
                <a:lnTo>
                  <a:pt x="2504" y="1612"/>
                </a:lnTo>
                <a:lnTo>
                  <a:pt x="2501" y="1619"/>
                </a:lnTo>
                <a:lnTo>
                  <a:pt x="2503" y="1627"/>
                </a:lnTo>
                <a:lnTo>
                  <a:pt x="2492" y="1624"/>
                </a:lnTo>
                <a:lnTo>
                  <a:pt x="2480" y="1618"/>
                </a:lnTo>
                <a:lnTo>
                  <a:pt x="2464" y="1600"/>
                </a:lnTo>
                <a:lnTo>
                  <a:pt x="2458" y="1600"/>
                </a:lnTo>
                <a:lnTo>
                  <a:pt x="2456" y="1597"/>
                </a:lnTo>
                <a:lnTo>
                  <a:pt x="2451" y="1593"/>
                </a:lnTo>
                <a:lnTo>
                  <a:pt x="2448" y="1589"/>
                </a:lnTo>
                <a:lnTo>
                  <a:pt x="2451" y="1586"/>
                </a:lnTo>
                <a:lnTo>
                  <a:pt x="2455" y="1581"/>
                </a:lnTo>
                <a:lnTo>
                  <a:pt x="2458" y="1576"/>
                </a:lnTo>
                <a:lnTo>
                  <a:pt x="2458" y="1575"/>
                </a:lnTo>
                <a:lnTo>
                  <a:pt x="2454" y="1579"/>
                </a:lnTo>
                <a:lnTo>
                  <a:pt x="2449" y="1584"/>
                </a:lnTo>
                <a:lnTo>
                  <a:pt x="2447" y="1589"/>
                </a:lnTo>
                <a:lnTo>
                  <a:pt x="2440" y="1587"/>
                </a:lnTo>
                <a:lnTo>
                  <a:pt x="2432" y="1581"/>
                </a:lnTo>
                <a:lnTo>
                  <a:pt x="2432" y="1579"/>
                </a:lnTo>
                <a:lnTo>
                  <a:pt x="2430" y="1579"/>
                </a:lnTo>
                <a:lnTo>
                  <a:pt x="2430" y="1579"/>
                </a:lnTo>
                <a:lnTo>
                  <a:pt x="2425" y="1575"/>
                </a:lnTo>
                <a:lnTo>
                  <a:pt x="2426" y="1573"/>
                </a:lnTo>
                <a:lnTo>
                  <a:pt x="2425" y="1568"/>
                </a:lnTo>
                <a:lnTo>
                  <a:pt x="2424" y="1570"/>
                </a:lnTo>
                <a:lnTo>
                  <a:pt x="2421" y="1567"/>
                </a:lnTo>
                <a:lnTo>
                  <a:pt x="2417" y="1567"/>
                </a:lnTo>
                <a:lnTo>
                  <a:pt x="2417" y="1563"/>
                </a:lnTo>
                <a:lnTo>
                  <a:pt x="2424" y="1563"/>
                </a:lnTo>
                <a:lnTo>
                  <a:pt x="2420" y="1559"/>
                </a:lnTo>
                <a:lnTo>
                  <a:pt x="2417" y="1559"/>
                </a:lnTo>
                <a:lnTo>
                  <a:pt x="2417" y="1554"/>
                </a:lnTo>
                <a:lnTo>
                  <a:pt x="2414" y="1550"/>
                </a:lnTo>
                <a:lnTo>
                  <a:pt x="2413" y="1548"/>
                </a:lnTo>
                <a:lnTo>
                  <a:pt x="2413" y="1547"/>
                </a:lnTo>
                <a:lnTo>
                  <a:pt x="2412" y="1547"/>
                </a:lnTo>
                <a:lnTo>
                  <a:pt x="2414" y="1544"/>
                </a:lnTo>
                <a:lnTo>
                  <a:pt x="2411" y="1546"/>
                </a:lnTo>
                <a:lnTo>
                  <a:pt x="2403" y="1540"/>
                </a:lnTo>
                <a:lnTo>
                  <a:pt x="2401" y="1539"/>
                </a:lnTo>
                <a:lnTo>
                  <a:pt x="2399" y="1539"/>
                </a:lnTo>
                <a:lnTo>
                  <a:pt x="2401" y="1533"/>
                </a:lnTo>
                <a:lnTo>
                  <a:pt x="2397" y="1535"/>
                </a:lnTo>
                <a:lnTo>
                  <a:pt x="2396" y="1531"/>
                </a:lnTo>
                <a:lnTo>
                  <a:pt x="2397" y="1531"/>
                </a:lnTo>
                <a:lnTo>
                  <a:pt x="2396" y="1531"/>
                </a:lnTo>
                <a:lnTo>
                  <a:pt x="2395" y="1531"/>
                </a:lnTo>
                <a:lnTo>
                  <a:pt x="2393" y="1533"/>
                </a:lnTo>
                <a:lnTo>
                  <a:pt x="2393" y="1531"/>
                </a:lnTo>
                <a:lnTo>
                  <a:pt x="2390" y="1531"/>
                </a:lnTo>
                <a:lnTo>
                  <a:pt x="2389" y="1531"/>
                </a:lnTo>
                <a:lnTo>
                  <a:pt x="2389" y="1530"/>
                </a:lnTo>
                <a:lnTo>
                  <a:pt x="2389" y="1530"/>
                </a:lnTo>
                <a:lnTo>
                  <a:pt x="2389" y="1526"/>
                </a:lnTo>
                <a:lnTo>
                  <a:pt x="2389" y="1525"/>
                </a:lnTo>
                <a:lnTo>
                  <a:pt x="2390" y="1524"/>
                </a:lnTo>
                <a:lnTo>
                  <a:pt x="2387" y="1526"/>
                </a:lnTo>
                <a:lnTo>
                  <a:pt x="2390" y="1523"/>
                </a:lnTo>
                <a:lnTo>
                  <a:pt x="2393" y="1523"/>
                </a:lnTo>
                <a:lnTo>
                  <a:pt x="2390" y="1521"/>
                </a:lnTo>
                <a:lnTo>
                  <a:pt x="2389" y="1521"/>
                </a:lnTo>
                <a:lnTo>
                  <a:pt x="2389" y="1523"/>
                </a:lnTo>
                <a:lnTo>
                  <a:pt x="2387" y="1523"/>
                </a:lnTo>
                <a:lnTo>
                  <a:pt x="2389" y="1519"/>
                </a:lnTo>
                <a:lnTo>
                  <a:pt x="2392" y="1519"/>
                </a:lnTo>
                <a:lnTo>
                  <a:pt x="2394" y="1520"/>
                </a:lnTo>
                <a:lnTo>
                  <a:pt x="2393" y="1517"/>
                </a:lnTo>
                <a:lnTo>
                  <a:pt x="2394" y="1515"/>
                </a:lnTo>
                <a:lnTo>
                  <a:pt x="2392" y="1517"/>
                </a:lnTo>
                <a:lnTo>
                  <a:pt x="2389" y="1515"/>
                </a:lnTo>
                <a:lnTo>
                  <a:pt x="2386" y="1519"/>
                </a:lnTo>
                <a:lnTo>
                  <a:pt x="2382" y="1519"/>
                </a:lnTo>
                <a:lnTo>
                  <a:pt x="2382" y="1515"/>
                </a:lnTo>
                <a:lnTo>
                  <a:pt x="2376" y="1516"/>
                </a:lnTo>
                <a:lnTo>
                  <a:pt x="2373" y="1518"/>
                </a:lnTo>
                <a:lnTo>
                  <a:pt x="2373" y="1516"/>
                </a:lnTo>
                <a:lnTo>
                  <a:pt x="2374" y="1514"/>
                </a:lnTo>
                <a:lnTo>
                  <a:pt x="2379" y="1510"/>
                </a:lnTo>
                <a:lnTo>
                  <a:pt x="2372" y="1511"/>
                </a:lnTo>
                <a:lnTo>
                  <a:pt x="2370" y="1510"/>
                </a:lnTo>
                <a:lnTo>
                  <a:pt x="2373" y="1509"/>
                </a:lnTo>
                <a:lnTo>
                  <a:pt x="2370" y="1509"/>
                </a:lnTo>
                <a:lnTo>
                  <a:pt x="2368" y="1509"/>
                </a:lnTo>
                <a:lnTo>
                  <a:pt x="2369" y="1506"/>
                </a:lnTo>
                <a:lnTo>
                  <a:pt x="2369" y="1499"/>
                </a:lnTo>
                <a:lnTo>
                  <a:pt x="2371" y="1499"/>
                </a:lnTo>
                <a:lnTo>
                  <a:pt x="2370" y="1495"/>
                </a:lnTo>
                <a:lnTo>
                  <a:pt x="2372" y="1491"/>
                </a:lnTo>
                <a:lnTo>
                  <a:pt x="2369" y="1491"/>
                </a:lnTo>
                <a:lnTo>
                  <a:pt x="2369" y="1487"/>
                </a:lnTo>
                <a:lnTo>
                  <a:pt x="2369" y="1485"/>
                </a:lnTo>
                <a:lnTo>
                  <a:pt x="2375" y="1483"/>
                </a:lnTo>
                <a:lnTo>
                  <a:pt x="2372" y="1483"/>
                </a:lnTo>
                <a:lnTo>
                  <a:pt x="2371" y="1483"/>
                </a:lnTo>
                <a:lnTo>
                  <a:pt x="2368" y="1483"/>
                </a:lnTo>
                <a:lnTo>
                  <a:pt x="2364" y="1475"/>
                </a:lnTo>
                <a:lnTo>
                  <a:pt x="2360" y="1475"/>
                </a:lnTo>
                <a:lnTo>
                  <a:pt x="2359" y="1475"/>
                </a:lnTo>
                <a:lnTo>
                  <a:pt x="2363" y="1470"/>
                </a:lnTo>
                <a:lnTo>
                  <a:pt x="2367" y="1463"/>
                </a:lnTo>
                <a:lnTo>
                  <a:pt x="2369" y="1455"/>
                </a:lnTo>
                <a:lnTo>
                  <a:pt x="2369" y="1450"/>
                </a:lnTo>
                <a:lnTo>
                  <a:pt x="2369" y="1449"/>
                </a:lnTo>
                <a:lnTo>
                  <a:pt x="2369" y="1450"/>
                </a:lnTo>
                <a:lnTo>
                  <a:pt x="2369" y="1442"/>
                </a:lnTo>
                <a:lnTo>
                  <a:pt x="2377" y="1427"/>
                </a:lnTo>
                <a:lnTo>
                  <a:pt x="2377" y="1415"/>
                </a:lnTo>
                <a:lnTo>
                  <a:pt x="2377" y="1409"/>
                </a:lnTo>
                <a:lnTo>
                  <a:pt x="2372" y="1400"/>
                </a:lnTo>
                <a:lnTo>
                  <a:pt x="2374" y="1397"/>
                </a:lnTo>
                <a:lnTo>
                  <a:pt x="2371" y="1395"/>
                </a:lnTo>
                <a:lnTo>
                  <a:pt x="2373" y="1394"/>
                </a:lnTo>
                <a:lnTo>
                  <a:pt x="2373" y="1395"/>
                </a:lnTo>
                <a:lnTo>
                  <a:pt x="2374" y="1394"/>
                </a:lnTo>
                <a:lnTo>
                  <a:pt x="2376" y="1387"/>
                </a:lnTo>
                <a:lnTo>
                  <a:pt x="2370" y="1382"/>
                </a:lnTo>
                <a:lnTo>
                  <a:pt x="2370" y="1382"/>
                </a:lnTo>
                <a:lnTo>
                  <a:pt x="2367" y="1375"/>
                </a:lnTo>
                <a:lnTo>
                  <a:pt x="2367" y="1371"/>
                </a:lnTo>
                <a:lnTo>
                  <a:pt x="2361" y="1377"/>
                </a:lnTo>
                <a:lnTo>
                  <a:pt x="2361" y="1374"/>
                </a:lnTo>
                <a:lnTo>
                  <a:pt x="2365" y="1359"/>
                </a:lnTo>
                <a:lnTo>
                  <a:pt x="2370" y="1356"/>
                </a:lnTo>
                <a:lnTo>
                  <a:pt x="2372" y="1354"/>
                </a:lnTo>
                <a:lnTo>
                  <a:pt x="2378" y="1339"/>
                </a:lnTo>
                <a:lnTo>
                  <a:pt x="2381" y="1331"/>
                </a:lnTo>
                <a:lnTo>
                  <a:pt x="2381" y="1329"/>
                </a:lnTo>
                <a:lnTo>
                  <a:pt x="2397" y="1318"/>
                </a:lnTo>
                <a:lnTo>
                  <a:pt x="2398" y="1305"/>
                </a:lnTo>
                <a:lnTo>
                  <a:pt x="2401" y="1298"/>
                </a:lnTo>
                <a:lnTo>
                  <a:pt x="2401" y="1294"/>
                </a:lnTo>
                <a:lnTo>
                  <a:pt x="2416" y="1287"/>
                </a:lnTo>
                <a:lnTo>
                  <a:pt x="2421" y="1274"/>
                </a:lnTo>
                <a:lnTo>
                  <a:pt x="2420" y="1274"/>
                </a:lnTo>
                <a:lnTo>
                  <a:pt x="2426" y="1267"/>
                </a:lnTo>
                <a:lnTo>
                  <a:pt x="2438" y="1264"/>
                </a:lnTo>
                <a:lnTo>
                  <a:pt x="2446" y="1260"/>
                </a:lnTo>
                <a:lnTo>
                  <a:pt x="2451" y="1253"/>
                </a:lnTo>
                <a:lnTo>
                  <a:pt x="2460" y="1250"/>
                </a:lnTo>
                <a:lnTo>
                  <a:pt x="2464" y="1242"/>
                </a:lnTo>
                <a:lnTo>
                  <a:pt x="2472" y="1230"/>
                </a:lnTo>
                <a:lnTo>
                  <a:pt x="2473" y="1225"/>
                </a:lnTo>
                <a:lnTo>
                  <a:pt x="2470" y="1222"/>
                </a:lnTo>
                <a:lnTo>
                  <a:pt x="2470" y="1210"/>
                </a:lnTo>
                <a:lnTo>
                  <a:pt x="2471" y="1203"/>
                </a:lnTo>
                <a:lnTo>
                  <a:pt x="2478" y="1197"/>
                </a:lnTo>
                <a:lnTo>
                  <a:pt x="2478" y="1191"/>
                </a:lnTo>
                <a:lnTo>
                  <a:pt x="2487" y="1179"/>
                </a:lnTo>
                <a:lnTo>
                  <a:pt x="2505" y="1173"/>
                </a:lnTo>
                <a:lnTo>
                  <a:pt x="2513" y="1165"/>
                </a:lnTo>
                <a:lnTo>
                  <a:pt x="2521" y="1153"/>
                </a:lnTo>
                <a:lnTo>
                  <a:pt x="2526" y="1136"/>
                </a:lnTo>
                <a:lnTo>
                  <a:pt x="2531" y="1134"/>
                </a:lnTo>
                <a:lnTo>
                  <a:pt x="2525" y="1130"/>
                </a:lnTo>
                <a:lnTo>
                  <a:pt x="2521" y="1125"/>
                </a:lnTo>
                <a:lnTo>
                  <a:pt x="2522" y="1123"/>
                </a:lnTo>
                <a:lnTo>
                  <a:pt x="2518" y="1120"/>
                </a:lnTo>
                <a:lnTo>
                  <a:pt x="2518" y="1119"/>
                </a:lnTo>
                <a:lnTo>
                  <a:pt x="2513" y="1114"/>
                </a:lnTo>
                <a:lnTo>
                  <a:pt x="2508" y="1114"/>
                </a:lnTo>
                <a:lnTo>
                  <a:pt x="2501" y="1116"/>
                </a:lnTo>
                <a:lnTo>
                  <a:pt x="2489" y="1113"/>
                </a:lnTo>
                <a:lnTo>
                  <a:pt x="2484" y="1115"/>
                </a:lnTo>
                <a:lnTo>
                  <a:pt x="2486" y="1107"/>
                </a:lnTo>
                <a:lnTo>
                  <a:pt x="2486" y="1091"/>
                </a:lnTo>
                <a:lnTo>
                  <a:pt x="2489" y="1089"/>
                </a:lnTo>
                <a:lnTo>
                  <a:pt x="2486" y="1088"/>
                </a:lnTo>
                <a:lnTo>
                  <a:pt x="2483" y="1092"/>
                </a:lnTo>
                <a:lnTo>
                  <a:pt x="2482" y="1089"/>
                </a:lnTo>
                <a:lnTo>
                  <a:pt x="2483" y="1089"/>
                </a:lnTo>
                <a:lnTo>
                  <a:pt x="2485" y="1086"/>
                </a:lnTo>
                <a:lnTo>
                  <a:pt x="2485" y="1080"/>
                </a:lnTo>
                <a:lnTo>
                  <a:pt x="2483" y="1085"/>
                </a:lnTo>
                <a:lnTo>
                  <a:pt x="2478" y="1085"/>
                </a:lnTo>
                <a:lnTo>
                  <a:pt x="2478" y="1073"/>
                </a:lnTo>
                <a:lnTo>
                  <a:pt x="2482" y="1068"/>
                </a:lnTo>
                <a:lnTo>
                  <a:pt x="2485" y="1051"/>
                </a:lnTo>
                <a:lnTo>
                  <a:pt x="2486" y="1048"/>
                </a:lnTo>
                <a:lnTo>
                  <a:pt x="2486" y="1047"/>
                </a:lnTo>
                <a:lnTo>
                  <a:pt x="2486" y="1042"/>
                </a:lnTo>
                <a:lnTo>
                  <a:pt x="2484" y="1029"/>
                </a:lnTo>
                <a:lnTo>
                  <a:pt x="2486" y="1026"/>
                </a:lnTo>
                <a:lnTo>
                  <a:pt x="2484" y="1026"/>
                </a:lnTo>
                <a:lnTo>
                  <a:pt x="2482" y="1028"/>
                </a:lnTo>
                <a:lnTo>
                  <a:pt x="2482" y="1025"/>
                </a:lnTo>
                <a:lnTo>
                  <a:pt x="2488" y="1020"/>
                </a:lnTo>
                <a:lnTo>
                  <a:pt x="2484" y="1022"/>
                </a:lnTo>
                <a:lnTo>
                  <a:pt x="2484" y="1021"/>
                </a:lnTo>
                <a:lnTo>
                  <a:pt x="2485" y="1021"/>
                </a:lnTo>
                <a:lnTo>
                  <a:pt x="2485" y="1021"/>
                </a:lnTo>
                <a:lnTo>
                  <a:pt x="2485" y="1021"/>
                </a:lnTo>
                <a:lnTo>
                  <a:pt x="2484" y="1021"/>
                </a:lnTo>
                <a:lnTo>
                  <a:pt x="2487" y="1015"/>
                </a:lnTo>
                <a:lnTo>
                  <a:pt x="2482" y="1017"/>
                </a:lnTo>
                <a:lnTo>
                  <a:pt x="2482" y="1014"/>
                </a:lnTo>
                <a:lnTo>
                  <a:pt x="2482" y="1011"/>
                </a:lnTo>
                <a:lnTo>
                  <a:pt x="2478" y="1014"/>
                </a:lnTo>
                <a:lnTo>
                  <a:pt x="2478" y="1010"/>
                </a:lnTo>
                <a:lnTo>
                  <a:pt x="2478" y="1008"/>
                </a:lnTo>
                <a:lnTo>
                  <a:pt x="2478" y="1005"/>
                </a:lnTo>
                <a:lnTo>
                  <a:pt x="2483" y="1003"/>
                </a:lnTo>
                <a:lnTo>
                  <a:pt x="2488" y="1004"/>
                </a:lnTo>
                <a:lnTo>
                  <a:pt x="2492" y="1000"/>
                </a:lnTo>
                <a:lnTo>
                  <a:pt x="2494" y="999"/>
                </a:lnTo>
                <a:lnTo>
                  <a:pt x="2498" y="995"/>
                </a:lnTo>
                <a:lnTo>
                  <a:pt x="2499" y="997"/>
                </a:lnTo>
                <a:lnTo>
                  <a:pt x="2505" y="997"/>
                </a:lnTo>
                <a:lnTo>
                  <a:pt x="2508" y="1001"/>
                </a:lnTo>
                <a:lnTo>
                  <a:pt x="2511" y="1001"/>
                </a:lnTo>
                <a:lnTo>
                  <a:pt x="2513" y="998"/>
                </a:lnTo>
                <a:lnTo>
                  <a:pt x="2526" y="999"/>
                </a:lnTo>
                <a:lnTo>
                  <a:pt x="2529" y="997"/>
                </a:lnTo>
                <a:lnTo>
                  <a:pt x="2530" y="999"/>
                </a:lnTo>
                <a:lnTo>
                  <a:pt x="2548" y="1000"/>
                </a:lnTo>
                <a:lnTo>
                  <a:pt x="2561" y="999"/>
                </a:lnTo>
                <a:lnTo>
                  <a:pt x="2567" y="1002"/>
                </a:lnTo>
                <a:lnTo>
                  <a:pt x="2571" y="1000"/>
                </a:lnTo>
                <a:lnTo>
                  <a:pt x="2580" y="1003"/>
                </a:lnTo>
                <a:lnTo>
                  <a:pt x="2587" y="1003"/>
                </a:lnTo>
                <a:lnTo>
                  <a:pt x="2586" y="1002"/>
                </a:lnTo>
                <a:lnTo>
                  <a:pt x="2590" y="1001"/>
                </a:lnTo>
                <a:lnTo>
                  <a:pt x="2591" y="997"/>
                </a:lnTo>
                <a:lnTo>
                  <a:pt x="2595" y="980"/>
                </a:lnTo>
                <a:lnTo>
                  <a:pt x="2598" y="977"/>
                </a:lnTo>
                <a:lnTo>
                  <a:pt x="2595" y="976"/>
                </a:lnTo>
                <a:lnTo>
                  <a:pt x="2594" y="977"/>
                </a:lnTo>
                <a:lnTo>
                  <a:pt x="2594" y="976"/>
                </a:lnTo>
                <a:lnTo>
                  <a:pt x="2595" y="976"/>
                </a:lnTo>
                <a:lnTo>
                  <a:pt x="2596" y="961"/>
                </a:lnTo>
                <a:lnTo>
                  <a:pt x="2602" y="965"/>
                </a:lnTo>
                <a:lnTo>
                  <a:pt x="2604" y="974"/>
                </a:lnTo>
                <a:lnTo>
                  <a:pt x="2601" y="962"/>
                </a:lnTo>
                <a:lnTo>
                  <a:pt x="2594" y="960"/>
                </a:lnTo>
                <a:lnTo>
                  <a:pt x="2593" y="956"/>
                </a:lnTo>
                <a:lnTo>
                  <a:pt x="2594" y="958"/>
                </a:lnTo>
                <a:lnTo>
                  <a:pt x="2594" y="956"/>
                </a:lnTo>
                <a:lnTo>
                  <a:pt x="2594" y="956"/>
                </a:lnTo>
                <a:lnTo>
                  <a:pt x="2594" y="954"/>
                </a:lnTo>
                <a:lnTo>
                  <a:pt x="2594" y="956"/>
                </a:lnTo>
                <a:lnTo>
                  <a:pt x="2591" y="953"/>
                </a:lnTo>
                <a:lnTo>
                  <a:pt x="2594" y="954"/>
                </a:lnTo>
                <a:lnTo>
                  <a:pt x="2594" y="948"/>
                </a:lnTo>
                <a:lnTo>
                  <a:pt x="2585" y="945"/>
                </a:lnTo>
                <a:lnTo>
                  <a:pt x="2583" y="938"/>
                </a:lnTo>
                <a:lnTo>
                  <a:pt x="2584" y="934"/>
                </a:lnTo>
                <a:lnTo>
                  <a:pt x="2580" y="933"/>
                </a:lnTo>
                <a:lnTo>
                  <a:pt x="2583" y="933"/>
                </a:lnTo>
                <a:lnTo>
                  <a:pt x="2586" y="933"/>
                </a:lnTo>
                <a:lnTo>
                  <a:pt x="2583" y="929"/>
                </a:lnTo>
                <a:lnTo>
                  <a:pt x="2578" y="930"/>
                </a:lnTo>
                <a:lnTo>
                  <a:pt x="2574" y="927"/>
                </a:lnTo>
                <a:lnTo>
                  <a:pt x="2574" y="929"/>
                </a:lnTo>
                <a:lnTo>
                  <a:pt x="2570" y="929"/>
                </a:lnTo>
                <a:lnTo>
                  <a:pt x="2570" y="925"/>
                </a:lnTo>
                <a:lnTo>
                  <a:pt x="2566" y="925"/>
                </a:lnTo>
                <a:lnTo>
                  <a:pt x="2566" y="925"/>
                </a:lnTo>
                <a:lnTo>
                  <a:pt x="2564" y="922"/>
                </a:lnTo>
                <a:lnTo>
                  <a:pt x="2553" y="918"/>
                </a:lnTo>
                <a:lnTo>
                  <a:pt x="2546" y="920"/>
                </a:lnTo>
                <a:lnTo>
                  <a:pt x="2546" y="916"/>
                </a:lnTo>
                <a:lnTo>
                  <a:pt x="2542" y="915"/>
                </a:lnTo>
                <a:lnTo>
                  <a:pt x="2549" y="915"/>
                </a:lnTo>
                <a:lnTo>
                  <a:pt x="2548" y="913"/>
                </a:lnTo>
                <a:lnTo>
                  <a:pt x="2547" y="913"/>
                </a:lnTo>
                <a:lnTo>
                  <a:pt x="2544" y="911"/>
                </a:lnTo>
                <a:lnTo>
                  <a:pt x="2545" y="909"/>
                </a:lnTo>
                <a:lnTo>
                  <a:pt x="2542" y="907"/>
                </a:lnTo>
                <a:lnTo>
                  <a:pt x="2542" y="905"/>
                </a:lnTo>
                <a:lnTo>
                  <a:pt x="2548" y="904"/>
                </a:lnTo>
                <a:lnTo>
                  <a:pt x="2560" y="902"/>
                </a:lnTo>
                <a:lnTo>
                  <a:pt x="2561" y="900"/>
                </a:lnTo>
                <a:lnTo>
                  <a:pt x="2565" y="899"/>
                </a:lnTo>
                <a:lnTo>
                  <a:pt x="2573" y="906"/>
                </a:lnTo>
                <a:lnTo>
                  <a:pt x="2578" y="902"/>
                </a:lnTo>
                <a:lnTo>
                  <a:pt x="2582" y="905"/>
                </a:lnTo>
                <a:lnTo>
                  <a:pt x="2582" y="905"/>
                </a:lnTo>
                <a:lnTo>
                  <a:pt x="2593" y="905"/>
                </a:lnTo>
                <a:lnTo>
                  <a:pt x="2590" y="902"/>
                </a:lnTo>
                <a:lnTo>
                  <a:pt x="2588" y="891"/>
                </a:lnTo>
                <a:lnTo>
                  <a:pt x="2586" y="888"/>
                </a:lnTo>
                <a:lnTo>
                  <a:pt x="2585" y="884"/>
                </a:lnTo>
                <a:lnTo>
                  <a:pt x="2584" y="882"/>
                </a:lnTo>
                <a:lnTo>
                  <a:pt x="2595" y="884"/>
                </a:lnTo>
                <a:lnTo>
                  <a:pt x="2593" y="885"/>
                </a:lnTo>
                <a:lnTo>
                  <a:pt x="2596" y="888"/>
                </a:lnTo>
                <a:lnTo>
                  <a:pt x="2609" y="890"/>
                </a:lnTo>
                <a:lnTo>
                  <a:pt x="2619" y="887"/>
                </a:lnTo>
                <a:lnTo>
                  <a:pt x="2614" y="885"/>
                </a:lnTo>
                <a:lnTo>
                  <a:pt x="2616" y="882"/>
                </a:lnTo>
                <a:lnTo>
                  <a:pt x="2628" y="879"/>
                </a:lnTo>
                <a:lnTo>
                  <a:pt x="2632" y="873"/>
                </a:lnTo>
                <a:lnTo>
                  <a:pt x="2634" y="868"/>
                </a:lnTo>
                <a:lnTo>
                  <a:pt x="2634" y="858"/>
                </a:lnTo>
                <a:lnTo>
                  <a:pt x="2648" y="856"/>
                </a:lnTo>
                <a:lnTo>
                  <a:pt x="2650" y="857"/>
                </a:lnTo>
                <a:lnTo>
                  <a:pt x="2658" y="852"/>
                </a:lnTo>
                <a:lnTo>
                  <a:pt x="2658" y="856"/>
                </a:lnTo>
                <a:lnTo>
                  <a:pt x="2662" y="854"/>
                </a:lnTo>
                <a:lnTo>
                  <a:pt x="2665" y="856"/>
                </a:lnTo>
                <a:lnTo>
                  <a:pt x="2670" y="854"/>
                </a:lnTo>
                <a:lnTo>
                  <a:pt x="2670" y="853"/>
                </a:lnTo>
                <a:lnTo>
                  <a:pt x="2670" y="853"/>
                </a:lnTo>
                <a:lnTo>
                  <a:pt x="2666" y="851"/>
                </a:lnTo>
                <a:lnTo>
                  <a:pt x="2662" y="853"/>
                </a:lnTo>
                <a:lnTo>
                  <a:pt x="2662" y="849"/>
                </a:lnTo>
                <a:lnTo>
                  <a:pt x="2671" y="853"/>
                </a:lnTo>
                <a:lnTo>
                  <a:pt x="2673" y="853"/>
                </a:lnTo>
                <a:lnTo>
                  <a:pt x="2674" y="854"/>
                </a:lnTo>
                <a:lnTo>
                  <a:pt x="2674" y="853"/>
                </a:lnTo>
                <a:lnTo>
                  <a:pt x="2673" y="853"/>
                </a:lnTo>
                <a:lnTo>
                  <a:pt x="2672" y="852"/>
                </a:lnTo>
                <a:lnTo>
                  <a:pt x="2674" y="852"/>
                </a:lnTo>
                <a:lnTo>
                  <a:pt x="2674" y="852"/>
                </a:lnTo>
                <a:lnTo>
                  <a:pt x="2674" y="853"/>
                </a:lnTo>
                <a:lnTo>
                  <a:pt x="2675" y="853"/>
                </a:lnTo>
                <a:lnTo>
                  <a:pt x="2673" y="851"/>
                </a:lnTo>
                <a:lnTo>
                  <a:pt x="2674" y="851"/>
                </a:lnTo>
                <a:lnTo>
                  <a:pt x="2675" y="850"/>
                </a:lnTo>
                <a:lnTo>
                  <a:pt x="2672" y="849"/>
                </a:lnTo>
                <a:lnTo>
                  <a:pt x="2675" y="849"/>
                </a:lnTo>
                <a:lnTo>
                  <a:pt x="2669" y="844"/>
                </a:lnTo>
                <a:lnTo>
                  <a:pt x="2675" y="847"/>
                </a:lnTo>
                <a:lnTo>
                  <a:pt x="2671" y="844"/>
                </a:lnTo>
                <a:lnTo>
                  <a:pt x="2674" y="844"/>
                </a:lnTo>
                <a:lnTo>
                  <a:pt x="2672" y="839"/>
                </a:lnTo>
                <a:lnTo>
                  <a:pt x="2679" y="835"/>
                </a:lnTo>
                <a:lnTo>
                  <a:pt x="2682" y="828"/>
                </a:lnTo>
                <a:lnTo>
                  <a:pt x="2682" y="828"/>
                </a:lnTo>
                <a:lnTo>
                  <a:pt x="2682" y="829"/>
                </a:lnTo>
                <a:lnTo>
                  <a:pt x="2688" y="832"/>
                </a:lnTo>
                <a:lnTo>
                  <a:pt x="2690" y="832"/>
                </a:lnTo>
                <a:lnTo>
                  <a:pt x="2694" y="834"/>
                </a:lnTo>
                <a:lnTo>
                  <a:pt x="2692" y="831"/>
                </a:lnTo>
                <a:lnTo>
                  <a:pt x="2694" y="830"/>
                </a:lnTo>
                <a:lnTo>
                  <a:pt x="2698" y="828"/>
                </a:lnTo>
                <a:lnTo>
                  <a:pt x="2695" y="828"/>
                </a:lnTo>
                <a:lnTo>
                  <a:pt x="2695" y="828"/>
                </a:lnTo>
                <a:lnTo>
                  <a:pt x="2695" y="824"/>
                </a:lnTo>
                <a:lnTo>
                  <a:pt x="2696" y="823"/>
                </a:lnTo>
                <a:lnTo>
                  <a:pt x="2691" y="821"/>
                </a:lnTo>
                <a:lnTo>
                  <a:pt x="2691" y="818"/>
                </a:lnTo>
                <a:lnTo>
                  <a:pt x="2687" y="820"/>
                </a:lnTo>
                <a:lnTo>
                  <a:pt x="2698" y="814"/>
                </a:lnTo>
                <a:lnTo>
                  <a:pt x="2702" y="813"/>
                </a:lnTo>
                <a:lnTo>
                  <a:pt x="2713" y="810"/>
                </a:lnTo>
                <a:lnTo>
                  <a:pt x="2716" y="812"/>
                </a:lnTo>
                <a:lnTo>
                  <a:pt x="2719" y="808"/>
                </a:lnTo>
                <a:lnTo>
                  <a:pt x="2720" y="808"/>
                </a:lnTo>
                <a:lnTo>
                  <a:pt x="2730" y="808"/>
                </a:lnTo>
                <a:lnTo>
                  <a:pt x="2731" y="810"/>
                </a:lnTo>
                <a:lnTo>
                  <a:pt x="2731" y="808"/>
                </a:lnTo>
                <a:lnTo>
                  <a:pt x="2735" y="808"/>
                </a:lnTo>
                <a:lnTo>
                  <a:pt x="2735" y="808"/>
                </a:lnTo>
                <a:lnTo>
                  <a:pt x="2735" y="812"/>
                </a:lnTo>
                <a:lnTo>
                  <a:pt x="2738" y="809"/>
                </a:lnTo>
                <a:lnTo>
                  <a:pt x="2737" y="807"/>
                </a:lnTo>
                <a:lnTo>
                  <a:pt x="2741" y="804"/>
                </a:lnTo>
                <a:lnTo>
                  <a:pt x="2748" y="804"/>
                </a:lnTo>
                <a:lnTo>
                  <a:pt x="2753" y="808"/>
                </a:lnTo>
                <a:lnTo>
                  <a:pt x="2749" y="802"/>
                </a:lnTo>
                <a:lnTo>
                  <a:pt x="2743" y="801"/>
                </a:lnTo>
                <a:lnTo>
                  <a:pt x="2742" y="798"/>
                </a:lnTo>
                <a:lnTo>
                  <a:pt x="2745" y="797"/>
                </a:lnTo>
                <a:lnTo>
                  <a:pt x="2742" y="796"/>
                </a:lnTo>
                <a:lnTo>
                  <a:pt x="2741" y="796"/>
                </a:lnTo>
                <a:lnTo>
                  <a:pt x="2739" y="792"/>
                </a:lnTo>
                <a:lnTo>
                  <a:pt x="2745" y="789"/>
                </a:lnTo>
                <a:lnTo>
                  <a:pt x="2739" y="780"/>
                </a:lnTo>
                <a:lnTo>
                  <a:pt x="2741" y="780"/>
                </a:lnTo>
                <a:lnTo>
                  <a:pt x="2739" y="780"/>
                </a:lnTo>
                <a:lnTo>
                  <a:pt x="2739" y="778"/>
                </a:lnTo>
                <a:lnTo>
                  <a:pt x="2741" y="777"/>
                </a:lnTo>
                <a:lnTo>
                  <a:pt x="2740" y="776"/>
                </a:lnTo>
                <a:lnTo>
                  <a:pt x="2739" y="772"/>
                </a:lnTo>
                <a:lnTo>
                  <a:pt x="2739" y="772"/>
                </a:lnTo>
                <a:lnTo>
                  <a:pt x="2737" y="772"/>
                </a:lnTo>
                <a:lnTo>
                  <a:pt x="2736" y="772"/>
                </a:lnTo>
                <a:lnTo>
                  <a:pt x="2735" y="772"/>
                </a:lnTo>
                <a:lnTo>
                  <a:pt x="2737" y="772"/>
                </a:lnTo>
                <a:lnTo>
                  <a:pt x="2736" y="772"/>
                </a:lnTo>
                <a:lnTo>
                  <a:pt x="2731" y="769"/>
                </a:lnTo>
                <a:lnTo>
                  <a:pt x="2731" y="765"/>
                </a:lnTo>
                <a:lnTo>
                  <a:pt x="2731" y="763"/>
                </a:lnTo>
                <a:lnTo>
                  <a:pt x="2735" y="762"/>
                </a:lnTo>
                <a:lnTo>
                  <a:pt x="2734" y="760"/>
                </a:lnTo>
                <a:lnTo>
                  <a:pt x="2731" y="760"/>
                </a:lnTo>
                <a:lnTo>
                  <a:pt x="2731" y="745"/>
                </a:lnTo>
                <a:lnTo>
                  <a:pt x="2740" y="749"/>
                </a:lnTo>
                <a:lnTo>
                  <a:pt x="2741" y="747"/>
                </a:lnTo>
                <a:lnTo>
                  <a:pt x="2740" y="746"/>
                </a:lnTo>
                <a:lnTo>
                  <a:pt x="2743" y="743"/>
                </a:lnTo>
                <a:lnTo>
                  <a:pt x="2743" y="739"/>
                </a:lnTo>
                <a:lnTo>
                  <a:pt x="2747" y="738"/>
                </a:lnTo>
                <a:lnTo>
                  <a:pt x="2746" y="736"/>
                </a:lnTo>
                <a:lnTo>
                  <a:pt x="2749" y="736"/>
                </a:lnTo>
                <a:lnTo>
                  <a:pt x="2757" y="725"/>
                </a:lnTo>
                <a:lnTo>
                  <a:pt x="2767" y="722"/>
                </a:lnTo>
                <a:lnTo>
                  <a:pt x="2765" y="725"/>
                </a:lnTo>
                <a:lnTo>
                  <a:pt x="2766" y="733"/>
                </a:lnTo>
                <a:lnTo>
                  <a:pt x="2763" y="738"/>
                </a:lnTo>
                <a:lnTo>
                  <a:pt x="2763" y="743"/>
                </a:lnTo>
                <a:lnTo>
                  <a:pt x="2757" y="747"/>
                </a:lnTo>
                <a:lnTo>
                  <a:pt x="2764" y="745"/>
                </a:lnTo>
                <a:lnTo>
                  <a:pt x="2762" y="750"/>
                </a:lnTo>
                <a:lnTo>
                  <a:pt x="2764" y="748"/>
                </a:lnTo>
                <a:lnTo>
                  <a:pt x="2771" y="748"/>
                </a:lnTo>
                <a:lnTo>
                  <a:pt x="2773" y="750"/>
                </a:lnTo>
                <a:lnTo>
                  <a:pt x="2769" y="757"/>
                </a:lnTo>
                <a:lnTo>
                  <a:pt x="2767" y="754"/>
                </a:lnTo>
                <a:lnTo>
                  <a:pt x="2766" y="758"/>
                </a:lnTo>
                <a:lnTo>
                  <a:pt x="2762" y="754"/>
                </a:lnTo>
                <a:lnTo>
                  <a:pt x="2759" y="757"/>
                </a:lnTo>
                <a:lnTo>
                  <a:pt x="2759" y="759"/>
                </a:lnTo>
                <a:lnTo>
                  <a:pt x="2759" y="764"/>
                </a:lnTo>
                <a:lnTo>
                  <a:pt x="2755" y="764"/>
                </a:lnTo>
                <a:lnTo>
                  <a:pt x="2755" y="768"/>
                </a:lnTo>
                <a:lnTo>
                  <a:pt x="2752" y="768"/>
                </a:lnTo>
                <a:lnTo>
                  <a:pt x="2756" y="769"/>
                </a:lnTo>
                <a:lnTo>
                  <a:pt x="2753" y="769"/>
                </a:lnTo>
                <a:lnTo>
                  <a:pt x="2763" y="767"/>
                </a:lnTo>
                <a:lnTo>
                  <a:pt x="2763" y="769"/>
                </a:lnTo>
                <a:lnTo>
                  <a:pt x="2763" y="770"/>
                </a:lnTo>
                <a:lnTo>
                  <a:pt x="2765" y="769"/>
                </a:lnTo>
                <a:lnTo>
                  <a:pt x="2766" y="767"/>
                </a:lnTo>
                <a:lnTo>
                  <a:pt x="2767" y="773"/>
                </a:lnTo>
                <a:lnTo>
                  <a:pt x="2767" y="780"/>
                </a:lnTo>
                <a:lnTo>
                  <a:pt x="2767" y="780"/>
                </a:lnTo>
                <a:lnTo>
                  <a:pt x="2760" y="780"/>
                </a:lnTo>
                <a:lnTo>
                  <a:pt x="2753" y="770"/>
                </a:lnTo>
                <a:lnTo>
                  <a:pt x="2752" y="770"/>
                </a:lnTo>
                <a:lnTo>
                  <a:pt x="2753" y="776"/>
                </a:lnTo>
                <a:lnTo>
                  <a:pt x="2751" y="777"/>
                </a:lnTo>
                <a:lnTo>
                  <a:pt x="2756" y="782"/>
                </a:lnTo>
                <a:lnTo>
                  <a:pt x="2755" y="782"/>
                </a:lnTo>
                <a:lnTo>
                  <a:pt x="2759" y="784"/>
                </a:lnTo>
                <a:lnTo>
                  <a:pt x="2759" y="786"/>
                </a:lnTo>
                <a:lnTo>
                  <a:pt x="2757" y="790"/>
                </a:lnTo>
                <a:lnTo>
                  <a:pt x="2761" y="790"/>
                </a:lnTo>
                <a:lnTo>
                  <a:pt x="2768" y="792"/>
                </a:lnTo>
                <a:lnTo>
                  <a:pt x="2775" y="792"/>
                </a:lnTo>
                <a:lnTo>
                  <a:pt x="2775" y="795"/>
                </a:lnTo>
                <a:lnTo>
                  <a:pt x="2770" y="800"/>
                </a:lnTo>
                <a:lnTo>
                  <a:pt x="2771" y="800"/>
                </a:lnTo>
                <a:lnTo>
                  <a:pt x="2770" y="803"/>
                </a:lnTo>
                <a:lnTo>
                  <a:pt x="2775" y="798"/>
                </a:lnTo>
                <a:lnTo>
                  <a:pt x="2780" y="801"/>
                </a:lnTo>
                <a:lnTo>
                  <a:pt x="2783" y="796"/>
                </a:lnTo>
                <a:lnTo>
                  <a:pt x="2789" y="796"/>
                </a:lnTo>
                <a:lnTo>
                  <a:pt x="2793" y="793"/>
                </a:lnTo>
                <a:lnTo>
                  <a:pt x="2793" y="794"/>
                </a:lnTo>
                <a:lnTo>
                  <a:pt x="2795" y="792"/>
                </a:lnTo>
                <a:lnTo>
                  <a:pt x="2795" y="792"/>
                </a:lnTo>
                <a:lnTo>
                  <a:pt x="2796" y="791"/>
                </a:lnTo>
                <a:lnTo>
                  <a:pt x="2796" y="791"/>
                </a:lnTo>
                <a:lnTo>
                  <a:pt x="2802" y="790"/>
                </a:lnTo>
                <a:lnTo>
                  <a:pt x="2807" y="796"/>
                </a:lnTo>
                <a:lnTo>
                  <a:pt x="2807" y="796"/>
                </a:lnTo>
                <a:lnTo>
                  <a:pt x="2807" y="796"/>
                </a:lnTo>
                <a:lnTo>
                  <a:pt x="2808" y="797"/>
                </a:lnTo>
                <a:lnTo>
                  <a:pt x="2812" y="795"/>
                </a:lnTo>
                <a:lnTo>
                  <a:pt x="2815" y="801"/>
                </a:lnTo>
                <a:lnTo>
                  <a:pt x="2815" y="802"/>
                </a:lnTo>
                <a:lnTo>
                  <a:pt x="2819" y="805"/>
                </a:lnTo>
                <a:lnTo>
                  <a:pt x="2819" y="812"/>
                </a:lnTo>
                <a:lnTo>
                  <a:pt x="2819" y="817"/>
                </a:lnTo>
                <a:lnTo>
                  <a:pt x="2815" y="820"/>
                </a:lnTo>
                <a:lnTo>
                  <a:pt x="2815" y="822"/>
                </a:lnTo>
                <a:lnTo>
                  <a:pt x="2824" y="828"/>
                </a:lnTo>
                <a:lnTo>
                  <a:pt x="2824" y="832"/>
                </a:lnTo>
                <a:lnTo>
                  <a:pt x="2824" y="832"/>
                </a:lnTo>
                <a:lnTo>
                  <a:pt x="2826" y="829"/>
                </a:lnTo>
                <a:lnTo>
                  <a:pt x="2819" y="822"/>
                </a:lnTo>
                <a:lnTo>
                  <a:pt x="2819" y="821"/>
                </a:lnTo>
                <a:lnTo>
                  <a:pt x="2823" y="818"/>
                </a:lnTo>
                <a:lnTo>
                  <a:pt x="2823" y="813"/>
                </a:lnTo>
                <a:lnTo>
                  <a:pt x="2822" y="808"/>
                </a:lnTo>
                <a:lnTo>
                  <a:pt x="2824" y="808"/>
                </a:lnTo>
                <a:lnTo>
                  <a:pt x="2826" y="805"/>
                </a:lnTo>
                <a:lnTo>
                  <a:pt x="2819" y="803"/>
                </a:lnTo>
                <a:lnTo>
                  <a:pt x="2819" y="802"/>
                </a:lnTo>
                <a:lnTo>
                  <a:pt x="2848" y="794"/>
                </a:lnTo>
                <a:lnTo>
                  <a:pt x="2854" y="788"/>
                </a:lnTo>
                <a:lnTo>
                  <a:pt x="2875" y="784"/>
                </a:lnTo>
                <a:lnTo>
                  <a:pt x="2881" y="784"/>
                </a:lnTo>
                <a:lnTo>
                  <a:pt x="2885" y="787"/>
                </a:lnTo>
                <a:lnTo>
                  <a:pt x="2881" y="785"/>
                </a:lnTo>
                <a:lnTo>
                  <a:pt x="2883" y="791"/>
                </a:lnTo>
                <a:lnTo>
                  <a:pt x="2887" y="792"/>
                </a:lnTo>
                <a:lnTo>
                  <a:pt x="2898" y="791"/>
                </a:lnTo>
                <a:lnTo>
                  <a:pt x="2896" y="790"/>
                </a:lnTo>
                <a:lnTo>
                  <a:pt x="2900" y="786"/>
                </a:lnTo>
                <a:lnTo>
                  <a:pt x="2898" y="792"/>
                </a:lnTo>
                <a:lnTo>
                  <a:pt x="2899" y="792"/>
                </a:lnTo>
                <a:lnTo>
                  <a:pt x="2900" y="792"/>
                </a:lnTo>
                <a:lnTo>
                  <a:pt x="2899" y="792"/>
                </a:lnTo>
                <a:lnTo>
                  <a:pt x="2909" y="788"/>
                </a:lnTo>
                <a:lnTo>
                  <a:pt x="2904" y="788"/>
                </a:lnTo>
                <a:lnTo>
                  <a:pt x="2902" y="785"/>
                </a:lnTo>
                <a:lnTo>
                  <a:pt x="2900" y="786"/>
                </a:lnTo>
                <a:lnTo>
                  <a:pt x="2902" y="780"/>
                </a:lnTo>
                <a:lnTo>
                  <a:pt x="2909" y="780"/>
                </a:lnTo>
                <a:lnTo>
                  <a:pt x="2915" y="776"/>
                </a:lnTo>
                <a:lnTo>
                  <a:pt x="2918" y="776"/>
                </a:lnTo>
                <a:lnTo>
                  <a:pt x="2911" y="780"/>
                </a:lnTo>
                <a:lnTo>
                  <a:pt x="2919" y="780"/>
                </a:lnTo>
                <a:lnTo>
                  <a:pt x="2919" y="776"/>
                </a:lnTo>
                <a:lnTo>
                  <a:pt x="2919" y="774"/>
                </a:lnTo>
                <a:lnTo>
                  <a:pt x="2919" y="771"/>
                </a:lnTo>
                <a:lnTo>
                  <a:pt x="2919" y="768"/>
                </a:lnTo>
                <a:lnTo>
                  <a:pt x="2915" y="763"/>
                </a:lnTo>
                <a:lnTo>
                  <a:pt x="2915" y="760"/>
                </a:lnTo>
                <a:lnTo>
                  <a:pt x="2920" y="760"/>
                </a:lnTo>
                <a:lnTo>
                  <a:pt x="2921" y="756"/>
                </a:lnTo>
                <a:lnTo>
                  <a:pt x="2921" y="756"/>
                </a:lnTo>
                <a:lnTo>
                  <a:pt x="2919" y="756"/>
                </a:lnTo>
                <a:lnTo>
                  <a:pt x="2919" y="746"/>
                </a:lnTo>
                <a:lnTo>
                  <a:pt x="2919" y="742"/>
                </a:lnTo>
                <a:lnTo>
                  <a:pt x="2920" y="744"/>
                </a:lnTo>
                <a:lnTo>
                  <a:pt x="2920" y="737"/>
                </a:lnTo>
                <a:lnTo>
                  <a:pt x="2924" y="734"/>
                </a:lnTo>
                <a:lnTo>
                  <a:pt x="2925" y="727"/>
                </a:lnTo>
                <a:lnTo>
                  <a:pt x="2931" y="723"/>
                </a:lnTo>
                <a:lnTo>
                  <a:pt x="2944" y="718"/>
                </a:lnTo>
                <a:lnTo>
                  <a:pt x="2944" y="720"/>
                </a:lnTo>
                <a:lnTo>
                  <a:pt x="2951" y="725"/>
                </a:lnTo>
                <a:lnTo>
                  <a:pt x="2952" y="731"/>
                </a:lnTo>
                <a:lnTo>
                  <a:pt x="2960" y="734"/>
                </a:lnTo>
                <a:lnTo>
                  <a:pt x="2970" y="729"/>
                </a:lnTo>
                <a:lnTo>
                  <a:pt x="2969" y="716"/>
                </a:lnTo>
                <a:lnTo>
                  <a:pt x="2978" y="712"/>
                </a:lnTo>
                <a:lnTo>
                  <a:pt x="2978" y="711"/>
                </a:lnTo>
                <a:lnTo>
                  <a:pt x="2967" y="715"/>
                </a:lnTo>
                <a:lnTo>
                  <a:pt x="2969" y="706"/>
                </a:lnTo>
                <a:lnTo>
                  <a:pt x="2967" y="705"/>
                </a:lnTo>
                <a:lnTo>
                  <a:pt x="2963" y="707"/>
                </a:lnTo>
                <a:lnTo>
                  <a:pt x="2958" y="705"/>
                </a:lnTo>
                <a:lnTo>
                  <a:pt x="2956" y="700"/>
                </a:lnTo>
                <a:lnTo>
                  <a:pt x="2956" y="698"/>
                </a:lnTo>
                <a:lnTo>
                  <a:pt x="2959" y="697"/>
                </a:lnTo>
                <a:lnTo>
                  <a:pt x="2952" y="696"/>
                </a:lnTo>
                <a:lnTo>
                  <a:pt x="2952" y="693"/>
                </a:lnTo>
                <a:lnTo>
                  <a:pt x="2956" y="692"/>
                </a:lnTo>
                <a:lnTo>
                  <a:pt x="2952" y="690"/>
                </a:lnTo>
                <a:lnTo>
                  <a:pt x="2952" y="687"/>
                </a:lnTo>
                <a:lnTo>
                  <a:pt x="2960" y="686"/>
                </a:lnTo>
                <a:lnTo>
                  <a:pt x="2963" y="683"/>
                </a:lnTo>
                <a:lnTo>
                  <a:pt x="2964" y="684"/>
                </a:lnTo>
                <a:lnTo>
                  <a:pt x="2965" y="681"/>
                </a:lnTo>
                <a:lnTo>
                  <a:pt x="2968" y="683"/>
                </a:lnTo>
                <a:lnTo>
                  <a:pt x="2968" y="679"/>
                </a:lnTo>
                <a:lnTo>
                  <a:pt x="2979" y="681"/>
                </a:lnTo>
                <a:lnTo>
                  <a:pt x="2983" y="678"/>
                </a:lnTo>
                <a:lnTo>
                  <a:pt x="2985" y="679"/>
                </a:lnTo>
                <a:lnTo>
                  <a:pt x="2986" y="679"/>
                </a:lnTo>
                <a:lnTo>
                  <a:pt x="2986" y="678"/>
                </a:lnTo>
                <a:lnTo>
                  <a:pt x="2995" y="681"/>
                </a:lnTo>
                <a:lnTo>
                  <a:pt x="3003" y="684"/>
                </a:lnTo>
                <a:lnTo>
                  <a:pt x="3015" y="684"/>
                </a:lnTo>
                <a:lnTo>
                  <a:pt x="3017" y="681"/>
                </a:lnTo>
                <a:lnTo>
                  <a:pt x="3016" y="682"/>
                </a:lnTo>
                <a:lnTo>
                  <a:pt x="3016" y="680"/>
                </a:lnTo>
                <a:lnTo>
                  <a:pt x="3017" y="678"/>
                </a:lnTo>
                <a:lnTo>
                  <a:pt x="3018" y="677"/>
                </a:lnTo>
                <a:lnTo>
                  <a:pt x="3019" y="677"/>
                </a:lnTo>
                <a:lnTo>
                  <a:pt x="3019" y="676"/>
                </a:lnTo>
                <a:lnTo>
                  <a:pt x="3022" y="677"/>
                </a:lnTo>
                <a:lnTo>
                  <a:pt x="3024" y="679"/>
                </a:lnTo>
                <a:lnTo>
                  <a:pt x="3026" y="673"/>
                </a:lnTo>
                <a:lnTo>
                  <a:pt x="3031" y="676"/>
                </a:lnTo>
                <a:lnTo>
                  <a:pt x="3035" y="671"/>
                </a:lnTo>
                <a:lnTo>
                  <a:pt x="3049" y="673"/>
                </a:lnTo>
                <a:lnTo>
                  <a:pt x="3051" y="672"/>
                </a:lnTo>
                <a:lnTo>
                  <a:pt x="3044" y="671"/>
                </a:lnTo>
                <a:lnTo>
                  <a:pt x="3044" y="668"/>
                </a:lnTo>
                <a:lnTo>
                  <a:pt x="3034" y="668"/>
                </a:lnTo>
                <a:lnTo>
                  <a:pt x="3029" y="665"/>
                </a:lnTo>
                <a:lnTo>
                  <a:pt x="3030" y="668"/>
                </a:lnTo>
                <a:lnTo>
                  <a:pt x="3024" y="668"/>
                </a:lnTo>
                <a:lnTo>
                  <a:pt x="3024" y="662"/>
                </a:lnTo>
                <a:lnTo>
                  <a:pt x="3025" y="662"/>
                </a:lnTo>
                <a:lnTo>
                  <a:pt x="3026" y="661"/>
                </a:lnTo>
                <a:lnTo>
                  <a:pt x="3025" y="660"/>
                </a:lnTo>
                <a:lnTo>
                  <a:pt x="3028" y="661"/>
                </a:lnTo>
                <a:lnTo>
                  <a:pt x="3028" y="657"/>
                </a:lnTo>
                <a:lnTo>
                  <a:pt x="3028" y="654"/>
                </a:lnTo>
                <a:lnTo>
                  <a:pt x="3021" y="660"/>
                </a:lnTo>
                <a:lnTo>
                  <a:pt x="3019" y="660"/>
                </a:lnTo>
                <a:lnTo>
                  <a:pt x="3017" y="662"/>
                </a:lnTo>
                <a:lnTo>
                  <a:pt x="3012" y="663"/>
                </a:lnTo>
                <a:lnTo>
                  <a:pt x="3008" y="661"/>
                </a:lnTo>
                <a:lnTo>
                  <a:pt x="3004" y="664"/>
                </a:lnTo>
                <a:lnTo>
                  <a:pt x="2998" y="664"/>
                </a:lnTo>
                <a:lnTo>
                  <a:pt x="2995" y="665"/>
                </a:lnTo>
                <a:lnTo>
                  <a:pt x="2988" y="663"/>
                </a:lnTo>
                <a:lnTo>
                  <a:pt x="2988" y="666"/>
                </a:lnTo>
                <a:lnTo>
                  <a:pt x="2990" y="668"/>
                </a:lnTo>
                <a:lnTo>
                  <a:pt x="2987" y="667"/>
                </a:lnTo>
                <a:lnTo>
                  <a:pt x="2989" y="668"/>
                </a:lnTo>
                <a:lnTo>
                  <a:pt x="2987" y="668"/>
                </a:lnTo>
                <a:lnTo>
                  <a:pt x="2986" y="665"/>
                </a:lnTo>
                <a:lnTo>
                  <a:pt x="2984" y="668"/>
                </a:lnTo>
                <a:lnTo>
                  <a:pt x="2972" y="671"/>
                </a:lnTo>
                <a:lnTo>
                  <a:pt x="2970" y="673"/>
                </a:lnTo>
                <a:lnTo>
                  <a:pt x="2967" y="671"/>
                </a:lnTo>
                <a:lnTo>
                  <a:pt x="2954" y="674"/>
                </a:lnTo>
                <a:lnTo>
                  <a:pt x="2955" y="673"/>
                </a:lnTo>
                <a:lnTo>
                  <a:pt x="2956" y="671"/>
                </a:lnTo>
                <a:lnTo>
                  <a:pt x="2951" y="675"/>
                </a:lnTo>
                <a:lnTo>
                  <a:pt x="2950" y="676"/>
                </a:lnTo>
                <a:lnTo>
                  <a:pt x="2951" y="676"/>
                </a:lnTo>
                <a:lnTo>
                  <a:pt x="2950" y="676"/>
                </a:lnTo>
                <a:lnTo>
                  <a:pt x="2950" y="676"/>
                </a:lnTo>
                <a:lnTo>
                  <a:pt x="2946" y="678"/>
                </a:lnTo>
                <a:lnTo>
                  <a:pt x="2949" y="675"/>
                </a:lnTo>
                <a:lnTo>
                  <a:pt x="2949" y="675"/>
                </a:lnTo>
                <a:lnTo>
                  <a:pt x="2949" y="675"/>
                </a:lnTo>
                <a:lnTo>
                  <a:pt x="2952" y="673"/>
                </a:lnTo>
                <a:lnTo>
                  <a:pt x="2950" y="674"/>
                </a:lnTo>
                <a:lnTo>
                  <a:pt x="2949" y="674"/>
                </a:lnTo>
                <a:lnTo>
                  <a:pt x="2948" y="673"/>
                </a:lnTo>
                <a:lnTo>
                  <a:pt x="2946" y="670"/>
                </a:lnTo>
                <a:lnTo>
                  <a:pt x="2950" y="667"/>
                </a:lnTo>
                <a:lnTo>
                  <a:pt x="2942" y="668"/>
                </a:lnTo>
                <a:lnTo>
                  <a:pt x="2944" y="668"/>
                </a:lnTo>
                <a:lnTo>
                  <a:pt x="2944" y="669"/>
                </a:lnTo>
                <a:lnTo>
                  <a:pt x="2944" y="671"/>
                </a:lnTo>
                <a:lnTo>
                  <a:pt x="2942" y="676"/>
                </a:lnTo>
                <a:lnTo>
                  <a:pt x="2939" y="676"/>
                </a:lnTo>
                <a:lnTo>
                  <a:pt x="2939" y="672"/>
                </a:lnTo>
                <a:lnTo>
                  <a:pt x="2939" y="672"/>
                </a:lnTo>
                <a:lnTo>
                  <a:pt x="2939" y="673"/>
                </a:lnTo>
                <a:lnTo>
                  <a:pt x="2939" y="672"/>
                </a:lnTo>
                <a:lnTo>
                  <a:pt x="2939" y="672"/>
                </a:lnTo>
                <a:lnTo>
                  <a:pt x="2939" y="668"/>
                </a:lnTo>
                <a:lnTo>
                  <a:pt x="2942" y="665"/>
                </a:lnTo>
                <a:lnTo>
                  <a:pt x="2931" y="663"/>
                </a:lnTo>
                <a:lnTo>
                  <a:pt x="2931" y="663"/>
                </a:lnTo>
                <a:lnTo>
                  <a:pt x="2927" y="663"/>
                </a:lnTo>
                <a:lnTo>
                  <a:pt x="2927" y="660"/>
                </a:lnTo>
                <a:lnTo>
                  <a:pt x="2925" y="662"/>
                </a:lnTo>
                <a:lnTo>
                  <a:pt x="2923" y="658"/>
                </a:lnTo>
                <a:lnTo>
                  <a:pt x="2923" y="652"/>
                </a:lnTo>
                <a:lnTo>
                  <a:pt x="2927" y="644"/>
                </a:lnTo>
                <a:lnTo>
                  <a:pt x="2925" y="640"/>
                </a:lnTo>
                <a:lnTo>
                  <a:pt x="2928" y="640"/>
                </a:lnTo>
                <a:lnTo>
                  <a:pt x="2922" y="629"/>
                </a:lnTo>
                <a:lnTo>
                  <a:pt x="2923" y="624"/>
                </a:lnTo>
                <a:lnTo>
                  <a:pt x="2923" y="621"/>
                </a:lnTo>
                <a:lnTo>
                  <a:pt x="2919" y="617"/>
                </a:lnTo>
                <a:lnTo>
                  <a:pt x="2919" y="613"/>
                </a:lnTo>
                <a:lnTo>
                  <a:pt x="2919" y="610"/>
                </a:lnTo>
                <a:lnTo>
                  <a:pt x="2923" y="608"/>
                </a:lnTo>
                <a:lnTo>
                  <a:pt x="2925" y="608"/>
                </a:lnTo>
                <a:lnTo>
                  <a:pt x="2928" y="608"/>
                </a:lnTo>
                <a:lnTo>
                  <a:pt x="2925" y="599"/>
                </a:lnTo>
                <a:lnTo>
                  <a:pt x="2932" y="599"/>
                </a:lnTo>
                <a:lnTo>
                  <a:pt x="2932" y="600"/>
                </a:lnTo>
                <a:lnTo>
                  <a:pt x="2935" y="598"/>
                </a:lnTo>
                <a:lnTo>
                  <a:pt x="2935" y="598"/>
                </a:lnTo>
                <a:lnTo>
                  <a:pt x="2934" y="595"/>
                </a:lnTo>
                <a:lnTo>
                  <a:pt x="2935" y="595"/>
                </a:lnTo>
                <a:lnTo>
                  <a:pt x="2935" y="595"/>
                </a:lnTo>
                <a:lnTo>
                  <a:pt x="2934" y="592"/>
                </a:lnTo>
                <a:lnTo>
                  <a:pt x="2937" y="592"/>
                </a:lnTo>
                <a:lnTo>
                  <a:pt x="2939" y="593"/>
                </a:lnTo>
                <a:lnTo>
                  <a:pt x="2942" y="587"/>
                </a:lnTo>
                <a:lnTo>
                  <a:pt x="2945" y="589"/>
                </a:lnTo>
                <a:lnTo>
                  <a:pt x="2946" y="585"/>
                </a:lnTo>
                <a:lnTo>
                  <a:pt x="2953" y="583"/>
                </a:lnTo>
                <a:lnTo>
                  <a:pt x="2954" y="579"/>
                </a:lnTo>
                <a:lnTo>
                  <a:pt x="2958" y="579"/>
                </a:lnTo>
                <a:lnTo>
                  <a:pt x="2962" y="571"/>
                </a:lnTo>
                <a:lnTo>
                  <a:pt x="2967" y="567"/>
                </a:lnTo>
                <a:lnTo>
                  <a:pt x="2970" y="560"/>
                </a:lnTo>
                <a:lnTo>
                  <a:pt x="2978" y="559"/>
                </a:lnTo>
                <a:lnTo>
                  <a:pt x="2980" y="560"/>
                </a:lnTo>
                <a:lnTo>
                  <a:pt x="2982" y="559"/>
                </a:lnTo>
                <a:lnTo>
                  <a:pt x="2979" y="559"/>
                </a:lnTo>
                <a:lnTo>
                  <a:pt x="2982" y="559"/>
                </a:lnTo>
                <a:lnTo>
                  <a:pt x="2980" y="553"/>
                </a:lnTo>
                <a:lnTo>
                  <a:pt x="2982" y="546"/>
                </a:lnTo>
                <a:lnTo>
                  <a:pt x="2980" y="544"/>
                </a:lnTo>
                <a:lnTo>
                  <a:pt x="2972" y="541"/>
                </a:lnTo>
                <a:lnTo>
                  <a:pt x="2970" y="537"/>
                </a:lnTo>
                <a:lnTo>
                  <a:pt x="2972" y="535"/>
                </a:lnTo>
                <a:lnTo>
                  <a:pt x="2968" y="537"/>
                </a:lnTo>
                <a:lnTo>
                  <a:pt x="2965" y="536"/>
                </a:lnTo>
                <a:lnTo>
                  <a:pt x="2964" y="532"/>
                </a:lnTo>
                <a:lnTo>
                  <a:pt x="2958" y="533"/>
                </a:lnTo>
                <a:lnTo>
                  <a:pt x="2950" y="533"/>
                </a:lnTo>
                <a:lnTo>
                  <a:pt x="2947" y="536"/>
                </a:lnTo>
                <a:lnTo>
                  <a:pt x="2939" y="531"/>
                </a:lnTo>
                <a:lnTo>
                  <a:pt x="2939" y="533"/>
                </a:lnTo>
                <a:lnTo>
                  <a:pt x="2939" y="535"/>
                </a:lnTo>
                <a:lnTo>
                  <a:pt x="2938" y="535"/>
                </a:lnTo>
                <a:lnTo>
                  <a:pt x="2935" y="539"/>
                </a:lnTo>
                <a:lnTo>
                  <a:pt x="2928" y="536"/>
                </a:lnTo>
                <a:lnTo>
                  <a:pt x="2935" y="539"/>
                </a:lnTo>
                <a:lnTo>
                  <a:pt x="2931" y="542"/>
                </a:lnTo>
                <a:lnTo>
                  <a:pt x="2933" y="544"/>
                </a:lnTo>
                <a:lnTo>
                  <a:pt x="2931" y="547"/>
                </a:lnTo>
                <a:lnTo>
                  <a:pt x="2927" y="547"/>
                </a:lnTo>
                <a:lnTo>
                  <a:pt x="2927" y="547"/>
                </a:lnTo>
                <a:lnTo>
                  <a:pt x="2926" y="547"/>
                </a:lnTo>
                <a:lnTo>
                  <a:pt x="2925" y="547"/>
                </a:lnTo>
                <a:lnTo>
                  <a:pt x="2926" y="548"/>
                </a:lnTo>
                <a:lnTo>
                  <a:pt x="2924" y="552"/>
                </a:lnTo>
                <a:lnTo>
                  <a:pt x="2919" y="554"/>
                </a:lnTo>
                <a:lnTo>
                  <a:pt x="2919" y="559"/>
                </a:lnTo>
                <a:lnTo>
                  <a:pt x="2923" y="559"/>
                </a:lnTo>
                <a:lnTo>
                  <a:pt x="2923" y="563"/>
                </a:lnTo>
                <a:lnTo>
                  <a:pt x="2920" y="563"/>
                </a:lnTo>
                <a:lnTo>
                  <a:pt x="2923" y="564"/>
                </a:lnTo>
                <a:lnTo>
                  <a:pt x="2923" y="567"/>
                </a:lnTo>
                <a:lnTo>
                  <a:pt x="2917" y="574"/>
                </a:lnTo>
                <a:lnTo>
                  <a:pt x="2916" y="580"/>
                </a:lnTo>
                <a:lnTo>
                  <a:pt x="2911" y="582"/>
                </a:lnTo>
                <a:lnTo>
                  <a:pt x="2909" y="586"/>
                </a:lnTo>
                <a:lnTo>
                  <a:pt x="2902" y="586"/>
                </a:lnTo>
                <a:lnTo>
                  <a:pt x="2899" y="590"/>
                </a:lnTo>
                <a:lnTo>
                  <a:pt x="2895" y="589"/>
                </a:lnTo>
                <a:lnTo>
                  <a:pt x="2895" y="591"/>
                </a:lnTo>
                <a:lnTo>
                  <a:pt x="2891" y="591"/>
                </a:lnTo>
                <a:lnTo>
                  <a:pt x="2891" y="594"/>
                </a:lnTo>
                <a:lnTo>
                  <a:pt x="2887" y="595"/>
                </a:lnTo>
                <a:lnTo>
                  <a:pt x="2887" y="597"/>
                </a:lnTo>
                <a:lnTo>
                  <a:pt x="2888" y="599"/>
                </a:lnTo>
                <a:lnTo>
                  <a:pt x="2886" y="599"/>
                </a:lnTo>
                <a:lnTo>
                  <a:pt x="2885" y="599"/>
                </a:lnTo>
                <a:lnTo>
                  <a:pt x="2879" y="603"/>
                </a:lnTo>
                <a:lnTo>
                  <a:pt x="2883" y="603"/>
                </a:lnTo>
                <a:lnTo>
                  <a:pt x="2879" y="608"/>
                </a:lnTo>
                <a:lnTo>
                  <a:pt x="2875" y="607"/>
                </a:lnTo>
                <a:lnTo>
                  <a:pt x="2876" y="608"/>
                </a:lnTo>
                <a:lnTo>
                  <a:pt x="2877" y="608"/>
                </a:lnTo>
                <a:lnTo>
                  <a:pt x="2876" y="612"/>
                </a:lnTo>
                <a:lnTo>
                  <a:pt x="2875" y="612"/>
                </a:lnTo>
                <a:lnTo>
                  <a:pt x="2875" y="613"/>
                </a:lnTo>
                <a:lnTo>
                  <a:pt x="2870" y="614"/>
                </a:lnTo>
                <a:lnTo>
                  <a:pt x="2863" y="613"/>
                </a:lnTo>
                <a:lnTo>
                  <a:pt x="2863" y="614"/>
                </a:lnTo>
                <a:lnTo>
                  <a:pt x="2863" y="618"/>
                </a:lnTo>
                <a:lnTo>
                  <a:pt x="2871" y="620"/>
                </a:lnTo>
                <a:lnTo>
                  <a:pt x="2867" y="620"/>
                </a:lnTo>
                <a:lnTo>
                  <a:pt x="2867" y="628"/>
                </a:lnTo>
                <a:lnTo>
                  <a:pt x="2863" y="628"/>
                </a:lnTo>
                <a:lnTo>
                  <a:pt x="2863" y="629"/>
                </a:lnTo>
                <a:lnTo>
                  <a:pt x="2867" y="633"/>
                </a:lnTo>
                <a:lnTo>
                  <a:pt x="2867" y="634"/>
                </a:lnTo>
                <a:lnTo>
                  <a:pt x="2863" y="633"/>
                </a:lnTo>
                <a:lnTo>
                  <a:pt x="2862" y="634"/>
                </a:lnTo>
                <a:lnTo>
                  <a:pt x="2864" y="638"/>
                </a:lnTo>
                <a:lnTo>
                  <a:pt x="2861" y="639"/>
                </a:lnTo>
                <a:lnTo>
                  <a:pt x="2864" y="641"/>
                </a:lnTo>
                <a:lnTo>
                  <a:pt x="2863" y="649"/>
                </a:lnTo>
                <a:lnTo>
                  <a:pt x="2863" y="652"/>
                </a:lnTo>
                <a:lnTo>
                  <a:pt x="2863" y="656"/>
                </a:lnTo>
                <a:lnTo>
                  <a:pt x="2868" y="657"/>
                </a:lnTo>
                <a:lnTo>
                  <a:pt x="2871" y="661"/>
                </a:lnTo>
                <a:lnTo>
                  <a:pt x="2875" y="659"/>
                </a:lnTo>
                <a:lnTo>
                  <a:pt x="2879" y="668"/>
                </a:lnTo>
                <a:lnTo>
                  <a:pt x="2879" y="668"/>
                </a:lnTo>
                <a:lnTo>
                  <a:pt x="2879" y="667"/>
                </a:lnTo>
                <a:lnTo>
                  <a:pt x="2885" y="668"/>
                </a:lnTo>
                <a:lnTo>
                  <a:pt x="2887" y="672"/>
                </a:lnTo>
                <a:lnTo>
                  <a:pt x="2887" y="673"/>
                </a:lnTo>
                <a:lnTo>
                  <a:pt x="2887" y="676"/>
                </a:lnTo>
                <a:lnTo>
                  <a:pt x="2887" y="673"/>
                </a:lnTo>
                <a:lnTo>
                  <a:pt x="2886" y="676"/>
                </a:lnTo>
                <a:lnTo>
                  <a:pt x="2890" y="677"/>
                </a:lnTo>
                <a:lnTo>
                  <a:pt x="2879" y="683"/>
                </a:lnTo>
                <a:lnTo>
                  <a:pt x="2879" y="684"/>
                </a:lnTo>
                <a:lnTo>
                  <a:pt x="2882" y="685"/>
                </a:lnTo>
                <a:lnTo>
                  <a:pt x="2879" y="686"/>
                </a:lnTo>
                <a:lnTo>
                  <a:pt x="2879" y="684"/>
                </a:lnTo>
                <a:lnTo>
                  <a:pt x="2877" y="684"/>
                </a:lnTo>
                <a:lnTo>
                  <a:pt x="2875" y="685"/>
                </a:lnTo>
                <a:lnTo>
                  <a:pt x="2871" y="684"/>
                </a:lnTo>
                <a:lnTo>
                  <a:pt x="2871" y="683"/>
                </a:lnTo>
                <a:lnTo>
                  <a:pt x="2871" y="682"/>
                </a:lnTo>
                <a:lnTo>
                  <a:pt x="2870" y="684"/>
                </a:lnTo>
                <a:lnTo>
                  <a:pt x="2868" y="683"/>
                </a:lnTo>
                <a:lnTo>
                  <a:pt x="2863" y="679"/>
                </a:lnTo>
                <a:lnTo>
                  <a:pt x="2863" y="683"/>
                </a:lnTo>
                <a:lnTo>
                  <a:pt x="2851" y="681"/>
                </a:lnTo>
                <a:lnTo>
                  <a:pt x="2851" y="684"/>
                </a:lnTo>
                <a:lnTo>
                  <a:pt x="2857" y="684"/>
                </a:lnTo>
                <a:lnTo>
                  <a:pt x="2858" y="684"/>
                </a:lnTo>
                <a:lnTo>
                  <a:pt x="2863" y="685"/>
                </a:lnTo>
                <a:lnTo>
                  <a:pt x="2868" y="686"/>
                </a:lnTo>
                <a:lnTo>
                  <a:pt x="2868" y="684"/>
                </a:lnTo>
                <a:lnTo>
                  <a:pt x="2872" y="689"/>
                </a:lnTo>
                <a:lnTo>
                  <a:pt x="2875" y="689"/>
                </a:lnTo>
                <a:lnTo>
                  <a:pt x="2875" y="691"/>
                </a:lnTo>
                <a:lnTo>
                  <a:pt x="2874" y="692"/>
                </a:lnTo>
                <a:lnTo>
                  <a:pt x="2875" y="698"/>
                </a:lnTo>
                <a:lnTo>
                  <a:pt x="2871" y="689"/>
                </a:lnTo>
                <a:lnTo>
                  <a:pt x="2869" y="696"/>
                </a:lnTo>
                <a:lnTo>
                  <a:pt x="2865" y="700"/>
                </a:lnTo>
                <a:lnTo>
                  <a:pt x="2862" y="700"/>
                </a:lnTo>
                <a:lnTo>
                  <a:pt x="2863" y="701"/>
                </a:lnTo>
                <a:lnTo>
                  <a:pt x="2860" y="704"/>
                </a:lnTo>
                <a:lnTo>
                  <a:pt x="2855" y="704"/>
                </a:lnTo>
                <a:lnTo>
                  <a:pt x="2860" y="708"/>
                </a:lnTo>
                <a:lnTo>
                  <a:pt x="2852" y="708"/>
                </a:lnTo>
                <a:lnTo>
                  <a:pt x="2857" y="709"/>
                </a:lnTo>
                <a:lnTo>
                  <a:pt x="2858" y="711"/>
                </a:lnTo>
                <a:lnTo>
                  <a:pt x="2857" y="716"/>
                </a:lnTo>
                <a:lnTo>
                  <a:pt x="2855" y="716"/>
                </a:lnTo>
                <a:lnTo>
                  <a:pt x="2857" y="719"/>
                </a:lnTo>
                <a:lnTo>
                  <a:pt x="2853" y="715"/>
                </a:lnTo>
                <a:lnTo>
                  <a:pt x="2857" y="721"/>
                </a:lnTo>
                <a:lnTo>
                  <a:pt x="2852" y="718"/>
                </a:lnTo>
                <a:lnTo>
                  <a:pt x="2857" y="722"/>
                </a:lnTo>
                <a:lnTo>
                  <a:pt x="2854" y="724"/>
                </a:lnTo>
                <a:lnTo>
                  <a:pt x="2856" y="726"/>
                </a:lnTo>
                <a:lnTo>
                  <a:pt x="2851" y="730"/>
                </a:lnTo>
                <a:lnTo>
                  <a:pt x="2851" y="734"/>
                </a:lnTo>
                <a:lnTo>
                  <a:pt x="2854" y="735"/>
                </a:lnTo>
                <a:lnTo>
                  <a:pt x="2853" y="737"/>
                </a:lnTo>
                <a:lnTo>
                  <a:pt x="2852" y="744"/>
                </a:lnTo>
                <a:lnTo>
                  <a:pt x="2844" y="757"/>
                </a:lnTo>
                <a:lnTo>
                  <a:pt x="2842" y="756"/>
                </a:lnTo>
                <a:lnTo>
                  <a:pt x="2827" y="756"/>
                </a:lnTo>
                <a:lnTo>
                  <a:pt x="2827" y="758"/>
                </a:lnTo>
                <a:lnTo>
                  <a:pt x="2823" y="757"/>
                </a:lnTo>
                <a:lnTo>
                  <a:pt x="2819" y="762"/>
                </a:lnTo>
                <a:lnTo>
                  <a:pt x="2819" y="764"/>
                </a:lnTo>
                <a:lnTo>
                  <a:pt x="2823" y="769"/>
                </a:lnTo>
                <a:lnTo>
                  <a:pt x="2821" y="773"/>
                </a:lnTo>
                <a:lnTo>
                  <a:pt x="2814" y="771"/>
                </a:lnTo>
                <a:lnTo>
                  <a:pt x="2808" y="776"/>
                </a:lnTo>
                <a:lnTo>
                  <a:pt x="2803" y="776"/>
                </a:lnTo>
                <a:lnTo>
                  <a:pt x="2802" y="770"/>
                </a:lnTo>
                <a:lnTo>
                  <a:pt x="2804" y="764"/>
                </a:lnTo>
                <a:lnTo>
                  <a:pt x="2795" y="752"/>
                </a:lnTo>
                <a:lnTo>
                  <a:pt x="2801" y="753"/>
                </a:lnTo>
                <a:lnTo>
                  <a:pt x="2797" y="750"/>
                </a:lnTo>
                <a:lnTo>
                  <a:pt x="2799" y="748"/>
                </a:lnTo>
                <a:lnTo>
                  <a:pt x="2799" y="748"/>
                </a:lnTo>
                <a:lnTo>
                  <a:pt x="2799" y="748"/>
                </a:lnTo>
                <a:lnTo>
                  <a:pt x="2796" y="742"/>
                </a:lnTo>
                <a:lnTo>
                  <a:pt x="2792" y="738"/>
                </a:lnTo>
                <a:lnTo>
                  <a:pt x="2787" y="732"/>
                </a:lnTo>
                <a:lnTo>
                  <a:pt x="2787" y="730"/>
                </a:lnTo>
                <a:lnTo>
                  <a:pt x="2787" y="729"/>
                </a:lnTo>
                <a:lnTo>
                  <a:pt x="2787" y="726"/>
                </a:lnTo>
                <a:lnTo>
                  <a:pt x="2787" y="724"/>
                </a:lnTo>
                <a:lnTo>
                  <a:pt x="2783" y="724"/>
                </a:lnTo>
                <a:lnTo>
                  <a:pt x="2783" y="719"/>
                </a:lnTo>
                <a:lnTo>
                  <a:pt x="2783" y="715"/>
                </a:lnTo>
                <a:lnTo>
                  <a:pt x="2779" y="718"/>
                </a:lnTo>
                <a:lnTo>
                  <a:pt x="2779" y="715"/>
                </a:lnTo>
                <a:lnTo>
                  <a:pt x="2784" y="714"/>
                </a:lnTo>
                <a:lnTo>
                  <a:pt x="2779" y="714"/>
                </a:lnTo>
                <a:lnTo>
                  <a:pt x="2779" y="711"/>
                </a:lnTo>
                <a:lnTo>
                  <a:pt x="2781" y="710"/>
                </a:lnTo>
                <a:lnTo>
                  <a:pt x="2775" y="707"/>
                </a:lnTo>
                <a:lnTo>
                  <a:pt x="2775" y="700"/>
                </a:lnTo>
                <a:lnTo>
                  <a:pt x="2775" y="698"/>
                </a:lnTo>
                <a:lnTo>
                  <a:pt x="2775" y="696"/>
                </a:lnTo>
                <a:lnTo>
                  <a:pt x="2775" y="694"/>
                </a:lnTo>
                <a:lnTo>
                  <a:pt x="2776" y="694"/>
                </a:lnTo>
                <a:lnTo>
                  <a:pt x="2776" y="692"/>
                </a:lnTo>
                <a:lnTo>
                  <a:pt x="2768" y="690"/>
                </a:lnTo>
                <a:lnTo>
                  <a:pt x="2764" y="678"/>
                </a:lnTo>
                <a:lnTo>
                  <a:pt x="2765" y="675"/>
                </a:lnTo>
                <a:lnTo>
                  <a:pt x="2768" y="677"/>
                </a:lnTo>
                <a:lnTo>
                  <a:pt x="2765" y="674"/>
                </a:lnTo>
                <a:lnTo>
                  <a:pt x="2762" y="675"/>
                </a:lnTo>
                <a:lnTo>
                  <a:pt x="2763" y="682"/>
                </a:lnTo>
                <a:lnTo>
                  <a:pt x="2763" y="684"/>
                </a:lnTo>
                <a:lnTo>
                  <a:pt x="2763" y="684"/>
                </a:lnTo>
                <a:lnTo>
                  <a:pt x="2763" y="684"/>
                </a:lnTo>
                <a:lnTo>
                  <a:pt x="2763" y="687"/>
                </a:lnTo>
                <a:lnTo>
                  <a:pt x="2764" y="692"/>
                </a:lnTo>
                <a:lnTo>
                  <a:pt x="2761" y="692"/>
                </a:lnTo>
                <a:lnTo>
                  <a:pt x="2760" y="695"/>
                </a:lnTo>
                <a:lnTo>
                  <a:pt x="2755" y="696"/>
                </a:lnTo>
                <a:lnTo>
                  <a:pt x="2750" y="692"/>
                </a:lnTo>
                <a:lnTo>
                  <a:pt x="2750" y="696"/>
                </a:lnTo>
                <a:lnTo>
                  <a:pt x="2733" y="710"/>
                </a:lnTo>
                <a:lnTo>
                  <a:pt x="2727" y="712"/>
                </a:lnTo>
                <a:lnTo>
                  <a:pt x="2727" y="713"/>
                </a:lnTo>
                <a:lnTo>
                  <a:pt x="2711" y="717"/>
                </a:lnTo>
                <a:lnTo>
                  <a:pt x="2710" y="716"/>
                </a:lnTo>
                <a:lnTo>
                  <a:pt x="2706" y="716"/>
                </a:lnTo>
                <a:lnTo>
                  <a:pt x="2709" y="713"/>
                </a:lnTo>
                <a:lnTo>
                  <a:pt x="2704" y="710"/>
                </a:lnTo>
                <a:lnTo>
                  <a:pt x="2699" y="709"/>
                </a:lnTo>
                <a:lnTo>
                  <a:pt x="2698" y="708"/>
                </a:lnTo>
                <a:lnTo>
                  <a:pt x="2694" y="708"/>
                </a:lnTo>
                <a:lnTo>
                  <a:pt x="2687" y="701"/>
                </a:lnTo>
                <a:lnTo>
                  <a:pt x="2687" y="693"/>
                </a:lnTo>
                <a:lnTo>
                  <a:pt x="2701" y="700"/>
                </a:lnTo>
                <a:lnTo>
                  <a:pt x="2701" y="700"/>
                </a:lnTo>
                <a:lnTo>
                  <a:pt x="2699" y="698"/>
                </a:lnTo>
                <a:lnTo>
                  <a:pt x="2695" y="693"/>
                </a:lnTo>
                <a:lnTo>
                  <a:pt x="2701" y="689"/>
                </a:lnTo>
                <a:lnTo>
                  <a:pt x="2700" y="688"/>
                </a:lnTo>
                <a:lnTo>
                  <a:pt x="2699" y="689"/>
                </a:lnTo>
                <a:lnTo>
                  <a:pt x="2699" y="688"/>
                </a:lnTo>
                <a:lnTo>
                  <a:pt x="2699" y="688"/>
                </a:lnTo>
                <a:lnTo>
                  <a:pt x="2699" y="688"/>
                </a:lnTo>
                <a:lnTo>
                  <a:pt x="2699" y="688"/>
                </a:lnTo>
                <a:lnTo>
                  <a:pt x="2695" y="688"/>
                </a:lnTo>
                <a:lnTo>
                  <a:pt x="2693" y="688"/>
                </a:lnTo>
                <a:lnTo>
                  <a:pt x="2692" y="688"/>
                </a:lnTo>
                <a:lnTo>
                  <a:pt x="2693" y="686"/>
                </a:lnTo>
                <a:lnTo>
                  <a:pt x="2691" y="687"/>
                </a:lnTo>
                <a:lnTo>
                  <a:pt x="2692" y="688"/>
                </a:lnTo>
                <a:lnTo>
                  <a:pt x="2691" y="688"/>
                </a:lnTo>
                <a:lnTo>
                  <a:pt x="2691" y="688"/>
                </a:lnTo>
                <a:lnTo>
                  <a:pt x="2691" y="688"/>
                </a:lnTo>
                <a:lnTo>
                  <a:pt x="2687" y="687"/>
                </a:lnTo>
                <a:lnTo>
                  <a:pt x="2687" y="686"/>
                </a:lnTo>
                <a:lnTo>
                  <a:pt x="2687" y="686"/>
                </a:lnTo>
                <a:lnTo>
                  <a:pt x="2683" y="685"/>
                </a:lnTo>
                <a:lnTo>
                  <a:pt x="2686" y="681"/>
                </a:lnTo>
                <a:lnTo>
                  <a:pt x="2687" y="682"/>
                </a:lnTo>
                <a:lnTo>
                  <a:pt x="2687" y="685"/>
                </a:lnTo>
                <a:lnTo>
                  <a:pt x="2691" y="681"/>
                </a:lnTo>
                <a:lnTo>
                  <a:pt x="2697" y="678"/>
                </a:lnTo>
                <a:lnTo>
                  <a:pt x="2695" y="676"/>
                </a:lnTo>
                <a:lnTo>
                  <a:pt x="2694" y="676"/>
                </a:lnTo>
                <a:lnTo>
                  <a:pt x="2693" y="672"/>
                </a:lnTo>
                <a:lnTo>
                  <a:pt x="2692" y="672"/>
                </a:lnTo>
                <a:lnTo>
                  <a:pt x="2693" y="670"/>
                </a:lnTo>
                <a:lnTo>
                  <a:pt x="2691" y="671"/>
                </a:lnTo>
                <a:lnTo>
                  <a:pt x="2694" y="665"/>
                </a:lnTo>
                <a:lnTo>
                  <a:pt x="2690" y="670"/>
                </a:lnTo>
                <a:lnTo>
                  <a:pt x="2686" y="668"/>
                </a:lnTo>
                <a:lnTo>
                  <a:pt x="2687" y="668"/>
                </a:lnTo>
                <a:lnTo>
                  <a:pt x="2686" y="667"/>
                </a:lnTo>
                <a:lnTo>
                  <a:pt x="2687" y="661"/>
                </a:lnTo>
                <a:lnTo>
                  <a:pt x="2691" y="663"/>
                </a:lnTo>
                <a:lnTo>
                  <a:pt x="2690" y="662"/>
                </a:lnTo>
                <a:lnTo>
                  <a:pt x="2694" y="658"/>
                </a:lnTo>
                <a:lnTo>
                  <a:pt x="2693" y="655"/>
                </a:lnTo>
                <a:lnTo>
                  <a:pt x="2689" y="658"/>
                </a:lnTo>
                <a:lnTo>
                  <a:pt x="2687" y="655"/>
                </a:lnTo>
                <a:lnTo>
                  <a:pt x="2690" y="651"/>
                </a:lnTo>
                <a:lnTo>
                  <a:pt x="2682" y="654"/>
                </a:lnTo>
                <a:lnTo>
                  <a:pt x="2682" y="649"/>
                </a:lnTo>
                <a:lnTo>
                  <a:pt x="2688" y="650"/>
                </a:lnTo>
                <a:lnTo>
                  <a:pt x="2683" y="648"/>
                </a:lnTo>
                <a:lnTo>
                  <a:pt x="2687" y="648"/>
                </a:lnTo>
                <a:lnTo>
                  <a:pt x="2681" y="646"/>
                </a:lnTo>
                <a:lnTo>
                  <a:pt x="2693" y="644"/>
                </a:lnTo>
                <a:lnTo>
                  <a:pt x="2683" y="644"/>
                </a:lnTo>
                <a:lnTo>
                  <a:pt x="2681" y="641"/>
                </a:lnTo>
                <a:lnTo>
                  <a:pt x="2695" y="640"/>
                </a:lnTo>
                <a:lnTo>
                  <a:pt x="2687" y="640"/>
                </a:lnTo>
                <a:lnTo>
                  <a:pt x="2686" y="636"/>
                </a:lnTo>
                <a:lnTo>
                  <a:pt x="2690" y="636"/>
                </a:lnTo>
                <a:lnTo>
                  <a:pt x="2681" y="635"/>
                </a:lnTo>
                <a:lnTo>
                  <a:pt x="2684" y="632"/>
                </a:lnTo>
                <a:lnTo>
                  <a:pt x="2682" y="632"/>
                </a:lnTo>
                <a:lnTo>
                  <a:pt x="2681" y="632"/>
                </a:lnTo>
                <a:lnTo>
                  <a:pt x="2680" y="631"/>
                </a:lnTo>
                <a:lnTo>
                  <a:pt x="2681" y="629"/>
                </a:lnTo>
                <a:lnTo>
                  <a:pt x="2682" y="629"/>
                </a:lnTo>
                <a:lnTo>
                  <a:pt x="2682" y="627"/>
                </a:lnTo>
                <a:lnTo>
                  <a:pt x="2687" y="627"/>
                </a:lnTo>
                <a:lnTo>
                  <a:pt x="2687" y="627"/>
                </a:lnTo>
                <a:lnTo>
                  <a:pt x="2687" y="627"/>
                </a:lnTo>
                <a:lnTo>
                  <a:pt x="2688" y="627"/>
                </a:lnTo>
                <a:lnTo>
                  <a:pt x="2687" y="626"/>
                </a:lnTo>
                <a:lnTo>
                  <a:pt x="2687" y="624"/>
                </a:lnTo>
                <a:lnTo>
                  <a:pt x="2693" y="624"/>
                </a:lnTo>
                <a:lnTo>
                  <a:pt x="2695" y="624"/>
                </a:lnTo>
                <a:lnTo>
                  <a:pt x="2698" y="624"/>
                </a:lnTo>
                <a:lnTo>
                  <a:pt x="2704" y="627"/>
                </a:lnTo>
                <a:lnTo>
                  <a:pt x="2698" y="623"/>
                </a:lnTo>
                <a:lnTo>
                  <a:pt x="2701" y="617"/>
                </a:lnTo>
                <a:lnTo>
                  <a:pt x="2705" y="624"/>
                </a:lnTo>
                <a:lnTo>
                  <a:pt x="2706" y="624"/>
                </a:lnTo>
                <a:lnTo>
                  <a:pt x="2704" y="617"/>
                </a:lnTo>
                <a:lnTo>
                  <a:pt x="2704" y="616"/>
                </a:lnTo>
                <a:lnTo>
                  <a:pt x="2704" y="616"/>
                </a:lnTo>
                <a:lnTo>
                  <a:pt x="2701" y="614"/>
                </a:lnTo>
                <a:lnTo>
                  <a:pt x="2713" y="611"/>
                </a:lnTo>
                <a:lnTo>
                  <a:pt x="2720" y="616"/>
                </a:lnTo>
                <a:lnTo>
                  <a:pt x="2724" y="615"/>
                </a:lnTo>
                <a:lnTo>
                  <a:pt x="2718" y="613"/>
                </a:lnTo>
                <a:lnTo>
                  <a:pt x="2719" y="612"/>
                </a:lnTo>
                <a:lnTo>
                  <a:pt x="2718" y="612"/>
                </a:lnTo>
                <a:lnTo>
                  <a:pt x="2723" y="608"/>
                </a:lnTo>
                <a:lnTo>
                  <a:pt x="2720" y="608"/>
                </a:lnTo>
                <a:lnTo>
                  <a:pt x="2711" y="608"/>
                </a:lnTo>
                <a:lnTo>
                  <a:pt x="2711" y="608"/>
                </a:lnTo>
                <a:lnTo>
                  <a:pt x="2711" y="608"/>
                </a:lnTo>
                <a:lnTo>
                  <a:pt x="2711" y="608"/>
                </a:lnTo>
                <a:lnTo>
                  <a:pt x="2711" y="608"/>
                </a:lnTo>
                <a:lnTo>
                  <a:pt x="2711" y="608"/>
                </a:lnTo>
                <a:lnTo>
                  <a:pt x="2711" y="605"/>
                </a:lnTo>
                <a:lnTo>
                  <a:pt x="2715" y="603"/>
                </a:lnTo>
                <a:lnTo>
                  <a:pt x="2715" y="604"/>
                </a:lnTo>
                <a:lnTo>
                  <a:pt x="2715" y="603"/>
                </a:lnTo>
                <a:lnTo>
                  <a:pt x="2719" y="602"/>
                </a:lnTo>
                <a:lnTo>
                  <a:pt x="2723" y="604"/>
                </a:lnTo>
                <a:lnTo>
                  <a:pt x="2721" y="607"/>
                </a:lnTo>
                <a:lnTo>
                  <a:pt x="2727" y="605"/>
                </a:lnTo>
                <a:lnTo>
                  <a:pt x="2727" y="605"/>
                </a:lnTo>
                <a:lnTo>
                  <a:pt x="2725" y="603"/>
                </a:lnTo>
                <a:lnTo>
                  <a:pt x="2729" y="600"/>
                </a:lnTo>
                <a:lnTo>
                  <a:pt x="2730" y="602"/>
                </a:lnTo>
                <a:lnTo>
                  <a:pt x="2740" y="599"/>
                </a:lnTo>
                <a:lnTo>
                  <a:pt x="2739" y="599"/>
                </a:lnTo>
                <a:lnTo>
                  <a:pt x="2738" y="595"/>
                </a:lnTo>
                <a:lnTo>
                  <a:pt x="2742" y="591"/>
                </a:lnTo>
                <a:lnTo>
                  <a:pt x="2745" y="593"/>
                </a:lnTo>
                <a:lnTo>
                  <a:pt x="2743" y="591"/>
                </a:lnTo>
                <a:lnTo>
                  <a:pt x="2750" y="588"/>
                </a:lnTo>
                <a:lnTo>
                  <a:pt x="2751" y="587"/>
                </a:lnTo>
                <a:lnTo>
                  <a:pt x="2756" y="593"/>
                </a:lnTo>
                <a:lnTo>
                  <a:pt x="2756" y="593"/>
                </a:lnTo>
                <a:lnTo>
                  <a:pt x="2769" y="591"/>
                </a:lnTo>
                <a:lnTo>
                  <a:pt x="2768" y="590"/>
                </a:lnTo>
                <a:lnTo>
                  <a:pt x="2769" y="588"/>
                </a:lnTo>
                <a:lnTo>
                  <a:pt x="2765" y="590"/>
                </a:lnTo>
                <a:lnTo>
                  <a:pt x="2771" y="585"/>
                </a:lnTo>
                <a:lnTo>
                  <a:pt x="2777" y="584"/>
                </a:lnTo>
                <a:lnTo>
                  <a:pt x="2773" y="582"/>
                </a:lnTo>
                <a:lnTo>
                  <a:pt x="2777" y="579"/>
                </a:lnTo>
                <a:lnTo>
                  <a:pt x="2775" y="579"/>
                </a:lnTo>
                <a:lnTo>
                  <a:pt x="2775" y="575"/>
                </a:lnTo>
                <a:lnTo>
                  <a:pt x="2764" y="584"/>
                </a:lnTo>
                <a:lnTo>
                  <a:pt x="2769" y="583"/>
                </a:lnTo>
                <a:lnTo>
                  <a:pt x="2773" y="583"/>
                </a:lnTo>
                <a:lnTo>
                  <a:pt x="2769" y="586"/>
                </a:lnTo>
                <a:lnTo>
                  <a:pt x="2757" y="591"/>
                </a:lnTo>
                <a:lnTo>
                  <a:pt x="2755" y="591"/>
                </a:lnTo>
                <a:lnTo>
                  <a:pt x="2753" y="588"/>
                </a:lnTo>
                <a:lnTo>
                  <a:pt x="2756" y="585"/>
                </a:lnTo>
                <a:lnTo>
                  <a:pt x="2747" y="587"/>
                </a:lnTo>
                <a:lnTo>
                  <a:pt x="2747" y="585"/>
                </a:lnTo>
                <a:lnTo>
                  <a:pt x="2759" y="580"/>
                </a:lnTo>
                <a:lnTo>
                  <a:pt x="2757" y="579"/>
                </a:lnTo>
                <a:lnTo>
                  <a:pt x="2758" y="574"/>
                </a:lnTo>
                <a:lnTo>
                  <a:pt x="2762" y="571"/>
                </a:lnTo>
                <a:lnTo>
                  <a:pt x="2765" y="571"/>
                </a:lnTo>
                <a:lnTo>
                  <a:pt x="2762" y="569"/>
                </a:lnTo>
                <a:lnTo>
                  <a:pt x="2769" y="569"/>
                </a:lnTo>
                <a:lnTo>
                  <a:pt x="2765" y="568"/>
                </a:lnTo>
                <a:lnTo>
                  <a:pt x="2769" y="567"/>
                </a:lnTo>
                <a:lnTo>
                  <a:pt x="2770" y="564"/>
                </a:lnTo>
                <a:lnTo>
                  <a:pt x="2775" y="565"/>
                </a:lnTo>
                <a:lnTo>
                  <a:pt x="2775" y="567"/>
                </a:lnTo>
                <a:lnTo>
                  <a:pt x="2779" y="565"/>
                </a:lnTo>
                <a:lnTo>
                  <a:pt x="2776" y="562"/>
                </a:lnTo>
                <a:lnTo>
                  <a:pt x="2780" y="560"/>
                </a:lnTo>
                <a:lnTo>
                  <a:pt x="2775" y="562"/>
                </a:lnTo>
                <a:lnTo>
                  <a:pt x="2775" y="562"/>
                </a:lnTo>
                <a:lnTo>
                  <a:pt x="2775" y="562"/>
                </a:lnTo>
                <a:lnTo>
                  <a:pt x="2774" y="563"/>
                </a:lnTo>
                <a:lnTo>
                  <a:pt x="2776" y="559"/>
                </a:lnTo>
                <a:lnTo>
                  <a:pt x="2774" y="559"/>
                </a:lnTo>
                <a:lnTo>
                  <a:pt x="2776" y="558"/>
                </a:lnTo>
                <a:lnTo>
                  <a:pt x="2787" y="553"/>
                </a:lnTo>
                <a:lnTo>
                  <a:pt x="2784" y="552"/>
                </a:lnTo>
                <a:lnTo>
                  <a:pt x="2788" y="548"/>
                </a:lnTo>
                <a:lnTo>
                  <a:pt x="2789" y="551"/>
                </a:lnTo>
                <a:lnTo>
                  <a:pt x="2794" y="549"/>
                </a:lnTo>
                <a:lnTo>
                  <a:pt x="2792" y="547"/>
                </a:lnTo>
                <a:lnTo>
                  <a:pt x="2795" y="547"/>
                </a:lnTo>
                <a:lnTo>
                  <a:pt x="2792" y="542"/>
                </a:lnTo>
                <a:lnTo>
                  <a:pt x="2790" y="538"/>
                </a:lnTo>
                <a:lnTo>
                  <a:pt x="2794" y="537"/>
                </a:lnTo>
                <a:lnTo>
                  <a:pt x="2796" y="538"/>
                </a:lnTo>
                <a:lnTo>
                  <a:pt x="2794" y="535"/>
                </a:lnTo>
                <a:lnTo>
                  <a:pt x="2795" y="532"/>
                </a:lnTo>
                <a:lnTo>
                  <a:pt x="2798" y="531"/>
                </a:lnTo>
                <a:lnTo>
                  <a:pt x="2796" y="531"/>
                </a:lnTo>
                <a:lnTo>
                  <a:pt x="2799" y="529"/>
                </a:lnTo>
                <a:lnTo>
                  <a:pt x="2797" y="530"/>
                </a:lnTo>
                <a:lnTo>
                  <a:pt x="2806" y="525"/>
                </a:lnTo>
                <a:lnTo>
                  <a:pt x="2799" y="526"/>
                </a:lnTo>
                <a:lnTo>
                  <a:pt x="2807" y="523"/>
                </a:lnTo>
                <a:lnTo>
                  <a:pt x="2799" y="523"/>
                </a:lnTo>
                <a:lnTo>
                  <a:pt x="2802" y="520"/>
                </a:lnTo>
                <a:lnTo>
                  <a:pt x="2799" y="518"/>
                </a:lnTo>
                <a:lnTo>
                  <a:pt x="2807" y="515"/>
                </a:lnTo>
                <a:lnTo>
                  <a:pt x="2807" y="515"/>
                </a:lnTo>
                <a:lnTo>
                  <a:pt x="2807" y="515"/>
                </a:lnTo>
                <a:lnTo>
                  <a:pt x="2809" y="514"/>
                </a:lnTo>
                <a:lnTo>
                  <a:pt x="2808" y="514"/>
                </a:lnTo>
                <a:lnTo>
                  <a:pt x="2811" y="511"/>
                </a:lnTo>
                <a:lnTo>
                  <a:pt x="2814" y="511"/>
                </a:lnTo>
                <a:lnTo>
                  <a:pt x="2806" y="506"/>
                </a:lnTo>
                <a:lnTo>
                  <a:pt x="2822" y="504"/>
                </a:lnTo>
                <a:lnTo>
                  <a:pt x="2818" y="503"/>
                </a:lnTo>
                <a:lnTo>
                  <a:pt x="2818" y="503"/>
                </a:lnTo>
                <a:lnTo>
                  <a:pt x="2819" y="503"/>
                </a:lnTo>
                <a:lnTo>
                  <a:pt x="2819" y="499"/>
                </a:lnTo>
                <a:lnTo>
                  <a:pt x="2820" y="499"/>
                </a:lnTo>
                <a:lnTo>
                  <a:pt x="2824" y="495"/>
                </a:lnTo>
                <a:lnTo>
                  <a:pt x="2828" y="495"/>
                </a:lnTo>
                <a:lnTo>
                  <a:pt x="2825" y="495"/>
                </a:lnTo>
                <a:lnTo>
                  <a:pt x="2830" y="495"/>
                </a:lnTo>
                <a:lnTo>
                  <a:pt x="2832" y="495"/>
                </a:lnTo>
                <a:lnTo>
                  <a:pt x="2833" y="495"/>
                </a:lnTo>
                <a:lnTo>
                  <a:pt x="2832" y="490"/>
                </a:lnTo>
                <a:lnTo>
                  <a:pt x="2833" y="487"/>
                </a:lnTo>
                <a:lnTo>
                  <a:pt x="2840" y="488"/>
                </a:lnTo>
                <a:lnTo>
                  <a:pt x="2835" y="484"/>
                </a:lnTo>
                <a:lnTo>
                  <a:pt x="2829" y="486"/>
                </a:lnTo>
                <a:lnTo>
                  <a:pt x="2829" y="486"/>
                </a:lnTo>
                <a:lnTo>
                  <a:pt x="2829" y="486"/>
                </a:lnTo>
                <a:lnTo>
                  <a:pt x="2825" y="484"/>
                </a:lnTo>
                <a:lnTo>
                  <a:pt x="2830" y="483"/>
                </a:lnTo>
                <a:lnTo>
                  <a:pt x="2828" y="483"/>
                </a:lnTo>
                <a:lnTo>
                  <a:pt x="2840" y="481"/>
                </a:lnTo>
                <a:lnTo>
                  <a:pt x="2843" y="480"/>
                </a:lnTo>
                <a:lnTo>
                  <a:pt x="2837" y="479"/>
                </a:lnTo>
                <a:lnTo>
                  <a:pt x="2839" y="479"/>
                </a:lnTo>
                <a:lnTo>
                  <a:pt x="2838" y="479"/>
                </a:lnTo>
                <a:lnTo>
                  <a:pt x="2840" y="476"/>
                </a:lnTo>
                <a:lnTo>
                  <a:pt x="2843" y="472"/>
                </a:lnTo>
                <a:lnTo>
                  <a:pt x="2844" y="475"/>
                </a:lnTo>
                <a:lnTo>
                  <a:pt x="2846" y="483"/>
                </a:lnTo>
                <a:lnTo>
                  <a:pt x="2851" y="484"/>
                </a:lnTo>
                <a:lnTo>
                  <a:pt x="2847" y="483"/>
                </a:lnTo>
                <a:lnTo>
                  <a:pt x="2846" y="479"/>
                </a:lnTo>
                <a:lnTo>
                  <a:pt x="2851" y="481"/>
                </a:lnTo>
                <a:lnTo>
                  <a:pt x="2850" y="479"/>
                </a:lnTo>
                <a:lnTo>
                  <a:pt x="2846" y="479"/>
                </a:lnTo>
                <a:lnTo>
                  <a:pt x="2847" y="475"/>
                </a:lnTo>
                <a:lnTo>
                  <a:pt x="2848" y="475"/>
                </a:lnTo>
                <a:lnTo>
                  <a:pt x="2846" y="474"/>
                </a:lnTo>
                <a:lnTo>
                  <a:pt x="2847" y="471"/>
                </a:lnTo>
                <a:lnTo>
                  <a:pt x="2860" y="471"/>
                </a:lnTo>
                <a:lnTo>
                  <a:pt x="2863" y="476"/>
                </a:lnTo>
                <a:lnTo>
                  <a:pt x="2863" y="475"/>
                </a:lnTo>
                <a:lnTo>
                  <a:pt x="2863" y="472"/>
                </a:lnTo>
                <a:lnTo>
                  <a:pt x="2860" y="471"/>
                </a:lnTo>
                <a:lnTo>
                  <a:pt x="2863" y="471"/>
                </a:lnTo>
                <a:lnTo>
                  <a:pt x="2863" y="466"/>
                </a:lnTo>
                <a:lnTo>
                  <a:pt x="2857" y="467"/>
                </a:lnTo>
                <a:lnTo>
                  <a:pt x="2858" y="467"/>
                </a:lnTo>
                <a:lnTo>
                  <a:pt x="2857" y="467"/>
                </a:lnTo>
                <a:lnTo>
                  <a:pt x="2855" y="468"/>
                </a:lnTo>
                <a:lnTo>
                  <a:pt x="2855" y="467"/>
                </a:lnTo>
                <a:lnTo>
                  <a:pt x="2851" y="467"/>
                </a:lnTo>
                <a:lnTo>
                  <a:pt x="2850" y="467"/>
                </a:lnTo>
                <a:lnTo>
                  <a:pt x="2851" y="467"/>
                </a:lnTo>
                <a:lnTo>
                  <a:pt x="2852" y="464"/>
                </a:lnTo>
                <a:lnTo>
                  <a:pt x="2852" y="463"/>
                </a:lnTo>
                <a:lnTo>
                  <a:pt x="2857" y="461"/>
                </a:lnTo>
                <a:lnTo>
                  <a:pt x="2869" y="463"/>
                </a:lnTo>
                <a:lnTo>
                  <a:pt x="2862" y="461"/>
                </a:lnTo>
                <a:lnTo>
                  <a:pt x="2864" y="459"/>
                </a:lnTo>
                <a:lnTo>
                  <a:pt x="2862" y="460"/>
                </a:lnTo>
                <a:lnTo>
                  <a:pt x="2860" y="459"/>
                </a:lnTo>
                <a:lnTo>
                  <a:pt x="2860" y="459"/>
                </a:lnTo>
                <a:lnTo>
                  <a:pt x="2863" y="459"/>
                </a:lnTo>
                <a:lnTo>
                  <a:pt x="2864" y="455"/>
                </a:lnTo>
                <a:lnTo>
                  <a:pt x="2865" y="455"/>
                </a:lnTo>
                <a:lnTo>
                  <a:pt x="2866" y="451"/>
                </a:lnTo>
                <a:lnTo>
                  <a:pt x="2865" y="451"/>
                </a:lnTo>
                <a:lnTo>
                  <a:pt x="2863" y="452"/>
                </a:lnTo>
                <a:lnTo>
                  <a:pt x="2865" y="453"/>
                </a:lnTo>
                <a:lnTo>
                  <a:pt x="2864" y="455"/>
                </a:lnTo>
                <a:lnTo>
                  <a:pt x="2863" y="455"/>
                </a:lnTo>
                <a:lnTo>
                  <a:pt x="2863" y="453"/>
                </a:lnTo>
                <a:lnTo>
                  <a:pt x="2860" y="455"/>
                </a:lnTo>
                <a:lnTo>
                  <a:pt x="2854" y="455"/>
                </a:lnTo>
                <a:lnTo>
                  <a:pt x="2860" y="451"/>
                </a:lnTo>
                <a:lnTo>
                  <a:pt x="2856" y="451"/>
                </a:lnTo>
                <a:lnTo>
                  <a:pt x="2860" y="448"/>
                </a:lnTo>
                <a:lnTo>
                  <a:pt x="2858" y="447"/>
                </a:lnTo>
                <a:lnTo>
                  <a:pt x="2858" y="447"/>
                </a:lnTo>
                <a:lnTo>
                  <a:pt x="2856" y="443"/>
                </a:lnTo>
                <a:lnTo>
                  <a:pt x="2858" y="443"/>
                </a:lnTo>
                <a:lnTo>
                  <a:pt x="2865" y="442"/>
                </a:lnTo>
                <a:lnTo>
                  <a:pt x="2860" y="440"/>
                </a:lnTo>
                <a:lnTo>
                  <a:pt x="2866" y="441"/>
                </a:lnTo>
                <a:lnTo>
                  <a:pt x="2865" y="438"/>
                </a:lnTo>
                <a:lnTo>
                  <a:pt x="2866" y="439"/>
                </a:lnTo>
                <a:lnTo>
                  <a:pt x="2870" y="439"/>
                </a:lnTo>
                <a:lnTo>
                  <a:pt x="2874" y="442"/>
                </a:lnTo>
                <a:lnTo>
                  <a:pt x="2871" y="445"/>
                </a:lnTo>
                <a:lnTo>
                  <a:pt x="2871" y="446"/>
                </a:lnTo>
                <a:lnTo>
                  <a:pt x="2873" y="451"/>
                </a:lnTo>
                <a:lnTo>
                  <a:pt x="2875" y="451"/>
                </a:lnTo>
                <a:lnTo>
                  <a:pt x="2873" y="446"/>
                </a:lnTo>
                <a:lnTo>
                  <a:pt x="2877" y="440"/>
                </a:lnTo>
                <a:lnTo>
                  <a:pt x="2883" y="446"/>
                </a:lnTo>
                <a:lnTo>
                  <a:pt x="2884" y="445"/>
                </a:lnTo>
                <a:lnTo>
                  <a:pt x="2888" y="446"/>
                </a:lnTo>
                <a:lnTo>
                  <a:pt x="2879" y="441"/>
                </a:lnTo>
                <a:lnTo>
                  <a:pt x="2879" y="440"/>
                </a:lnTo>
                <a:lnTo>
                  <a:pt x="2882" y="439"/>
                </a:lnTo>
                <a:lnTo>
                  <a:pt x="2883" y="439"/>
                </a:lnTo>
                <a:lnTo>
                  <a:pt x="2883" y="439"/>
                </a:lnTo>
                <a:lnTo>
                  <a:pt x="2884" y="438"/>
                </a:lnTo>
                <a:lnTo>
                  <a:pt x="2886" y="440"/>
                </a:lnTo>
                <a:lnTo>
                  <a:pt x="2887" y="440"/>
                </a:lnTo>
                <a:lnTo>
                  <a:pt x="2887" y="438"/>
                </a:lnTo>
                <a:lnTo>
                  <a:pt x="2886" y="440"/>
                </a:lnTo>
                <a:lnTo>
                  <a:pt x="2885" y="436"/>
                </a:lnTo>
                <a:lnTo>
                  <a:pt x="2891" y="433"/>
                </a:lnTo>
                <a:lnTo>
                  <a:pt x="2898" y="430"/>
                </a:lnTo>
                <a:lnTo>
                  <a:pt x="2897" y="436"/>
                </a:lnTo>
                <a:lnTo>
                  <a:pt x="2896" y="442"/>
                </a:lnTo>
                <a:lnTo>
                  <a:pt x="2897" y="441"/>
                </a:lnTo>
                <a:lnTo>
                  <a:pt x="2898" y="434"/>
                </a:lnTo>
                <a:lnTo>
                  <a:pt x="2907" y="429"/>
                </a:lnTo>
                <a:lnTo>
                  <a:pt x="2909" y="429"/>
                </a:lnTo>
                <a:lnTo>
                  <a:pt x="2906" y="441"/>
                </a:lnTo>
                <a:lnTo>
                  <a:pt x="2909" y="438"/>
                </a:lnTo>
                <a:lnTo>
                  <a:pt x="2915" y="440"/>
                </a:lnTo>
                <a:lnTo>
                  <a:pt x="2909" y="436"/>
                </a:lnTo>
                <a:lnTo>
                  <a:pt x="2910" y="433"/>
                </a:lnTo>
                <a:lnTo>
                  <a:pt x="2915" y="430"/>
                </a:lnTo>
                <a:lnTo>
                  <a:pt x="2917" y="430"/>
                </a:lnTo>
                <a:lnTo>
                  <a:pt x="2921" y="426"/>
                </a:lnTo>
                <a:lnTo>
                  <a:pt x="2933" y="433"/>
                </a:lnTo>
                <a:lnTo>
                  <a:pt x="2928" y="425"/>
                </a:lnTo>
                <a:lnTo>
                  <a:pt x="2933" y="423"/>
                </a:lnTo>
                <a:lnTo>
                  <a:pt x="2922" y="423"/>
                </a:lnTo>
                <a:lnTo>
                  <a:pt x="2920" y="421"/>
                </a:lnTo>
                <a:lnTo>
                  <a:pt x="2921" y="419"/>
                </a:lnTo>
                <a:lnTo>
                  <a:pt x="2925" y="418"/>
                </a:lnTo>
                <a:lnTo>
                  <a:pt x="2928" y="419"/>
                </a:lnTo>
                <a:lnTo>
                  <a:pt x="2932" y="419"/>
                </a:lnTo>
                <a:lnTo>
                  <a:pt x="2935" y="419"/>
                </a:lnTo>
                <a:lnTo>
                  <a:pt x="2935" y="421"/>
                </a:lnTo>
                <a:lnTo>
                  <a:pt x="2936" y="419"/>
                </a:lnTo>
                <a:lnTo>
                  <a:pt x="2946" y="421"/>
                </a:lnTo>
                <a:lnTo>
                  <a:pt x="2943" y="423"/>
                </a:lnTo>
                <a:lnTo>
                  <a:pt x="2936" y="425"/>
                </a:lnTo>
                <a:lnTo>
                  <a:pt x="2945" y="423"/>
                </a:lnTo>
                <a:lnTo>
                  <a:pt x="2952" y="429"/>
                </a:lnTo>
                <a:lnTo>
                  <a:pt x="2954" y="426"/>
                </a:lnTo>
                <a:lnTo>
                  <a:pt x="2948" y="425"/>
                </a:lnTo>
                <a:lnTo>
                  <a:pt x="2948" y="424"/>
                </a:lnTo>
                <a:lnTo>
                  <a:pt x="2948" y="423"/>
                </a:lnTo>
                <a:lnTo>
                  <a:pt x="2953" y="423"/>
                </a:lnTo>
                <a:lnTo>
                  <a:pt x="2954" y="419"/>
                </a:lnTo>
                <a:lnTo>
                  <a:pt x="2948" y="419"/>
                </a:lnTo>
                <a:lnTo>
                  <a:pt x="2945" y="414"/>
                </a:lnTo>
                <a:lnTo>
                  <a:pt x="2952" y="411"/>
                </a:lnTo>
                <a:lnTo>
                  <a:pt x="2952" y="410"/>
                </a:lnTo>
                <a:lnTo>
                  <a:pt x="2955" y="413"/>
                </a:lnTo>
                <a:lnTo>
                  <a:pt x="2955" y="415"/>
                </a:lnTo>
                <a:lnTo>
                  <a:pt x="2956" y="414"/>
                </a:lnTo>
                <a:lnTo>
                  <a:pt x="2960" y="413"/>
                </a:lnTo>
                <a:lnTo>
                  <a:pt x="2966" y="414"/>
                </a:lnTo>
                <a:lnTo>
                  <a:pt x="2964" y="411"/>
                </a:lnTo>
                <a:lnTo>
                  <a:pt x="2966" y="408"/>
                </a:lnTo>
                <a:lnTo>
                  <a:pt x="2972" y="410"/>
                </a:lnTo>
                <a:lnTo>
                  <a:pt x="2968" y="407"/>
                </a:lnTo>
                <a:lnTo>
                  <a:pt x="2963" y="405"/>
                </a:lnTo>
                <a:lnTo>
                  <a:pt x="2966" y="403"/>
                </a:lnTo>
                <a:lnTo>
                  <a:pt x="2968" y="405"/>
                </a:lnTo>
                <a:lnTo>
                  <a:pt x="2968" y="399"/>
                </a:lnTo>
                <a:lnTo>
                  <a:pt x="2970" y="399"/>
                </a:lnTo>
                <a:lnTo>
                  <a:pt x="2971" y="399"/>
                </a:lnTo>
                <a:lnTo>
                  <a:pt x="2972" y="400"/>
                </a:lnTo>
                <a:lnTo>
                  <a:pt x="2974" y="402"/>
                </a:lnTo>
                <a:lnTo>
                  <a:pt x="2974" y="400"/>
                </a:lnTo>
                <a:lnTo>
                  <a:pt x="2975" y="399"/>
                </a:lnTo>
                <a:lnTo>
                  <a:pt x="2975" y="399"/>
                </a:lnTo>
                <a:lnTo>
                  <a:pt x="2975" y="399"/>
                </a:lnTo>
                <a:lnTo>
                  <a:pt x="2979" y="404"/>
                </a:lnTo>
                <a:lnTo>
                  <a:pt x="2980" y="403"/>
                </a:lnTo>
                <a:lnTo>
                  <a:pt x="2980" y="400"/>
                </a:lnTo>
                <a:lnTo>
                  <a:pt x="2983" y="399"/>
                </a:lnTo>
                <a:lnTo>
                  <a:pt x="2979" y="399"/>
                </a:lnTo>
                <a:lnTo>
                  <a:pt x="2986" y="396"/>
                </a:lnTo>
                <a:lnTo>
                  <a:pt x="2991" y="396"/>
                </a:lnTo>
                <a:lnTo>
                  <a:pt x="2989" y="400"/>
                </a:lnTo>
                <a:lnTo>
                  <a:pt x="2988" y="400"/>
                </a:lnTo>
                <a:lnTo>
                  <a:pt x="2988" y="400"/>
                </a:lnTo>
                <a:lnTo>
                  <a:pt x="2986" y="402"/>
                </a:lnTo>
                <a:lnTo>
                  <a:pt x="2989" y="403"/>
                </a:lnTo>
                <a:lnTo>
                  <a:pt x="2977" y="415"/>
                </a:lnTo>
                <a:lnTo>
                  <a:pt x="2976" y="415"/>
                </a:lnTo>
                <a:lnTo>
                  <a:pt x="2976" y="417"/>
                </a:lnTo>
                <a:lnTo>
                  <a:pt x="2976" y="423"/>
                </a:lnTo>
                <a:lnTo>
                  <a:pt x="2972" y="423"/>
                </a:lnTo>
                <a:lnTo>
                  <a:pt x="2972" y="427"/>
                </a:lnTo>
                <a:lnTo>
                  <a:pt x="2977" y="427"/>
                </a:lnTo>
                <a:lnTo>
                  <a:pt x="2978" y="427"/>
                </a:lnTo>
                <a:lnTo>
                  <a:pt x="2983" y="420"/>
                </a:lnTo>
                <a:lnTo>
                  <a:pt x="2981" y="418"/>
                </a:lnTo>
                <a:lnTo>
                  <a:pt x="2999" y="403"/>
                </a:lnTo>
                <a:lnTo>
                  <a:pt x="3000" y="403"/>
                </a:lnTo>
                <a:lnTo>
                  <a:pt x="3000" y="407"/>
                </a:lnTo>
                <a:lnTo>
                  <a:pt x="2994" y="411"/>
                </a:lnTo>
                <a:lnTo>
                  <a:pt x="2999" y="411"/>
                </a:lnTo>
                <a:lnTo>
                  <a:pt x="2997" y="418"/>
                </a:lnTo>
                <a:lnTo>
                  <a:pt x="3005" y="413"/>
                </a:lnTo>
                <a:lnTo>
                  <a:pt x="3004" y="411"/>
                </a:lnTo>
                <a:lnTo>
                  <a:pt x="3005" y="410"/>
                </a:lnTo>
                <a:lnTo>
                  <a:pt x="3004" y="410"/>
                </a:lnTo>
                <a:lnTo>
                  <a:pt x="3004" y="407"/>
                </a:lnTo>
                <a:lnTo>
                  <a:pt x="3006" y="405"/>
                </a:lnTo>
                <a:lnTo>
                  <a:pt x="3008" y="403"/>
                </a:lnTo>
                <a:lnTo>
                  <a:pt x="3013" y="405"/>
                </a:lnTo>
                <a:lnTo>
                  <a:pt x="3007" y="400"/>
                </a:lnTo>
                <a:lnTo>
                  <a:pt x="3013" y="396"/>
                </a:lnTo>
                <a:lnTo>
                  <a:pt x="3016" y="398"/>
                </a:lnTo>
                <a:lnTo>
                  <a:pt x="3022" y="397"/>
                </a:lnTo>
                <a:lnTo>
                  <a:pt x="3027" y="401"/>
                </a:lnTo>
                <a:lnTo>
                  <a:pt x="3023" y="407"/>
                </a:lnTo>
                <a:lnTo>
                  <a:pt x="3020" y="407"/>
                </a:lnTo>
                <a:lnTo>
                  <a:pt x="3020" y="408"/>
                </a:lnTo>
                <a:lnTo>
                  <a:pt x="3021" y="408"/>
                </a:lnTo>
                <a:lnTo>
                  <a:pt x="3020" y="408"/>
                </a:lnTo>
                <a:lnTo>
                  <a:pt x="3020" y="410"/>
                </a:lnTo>
                <a:lnTo>
                  <a:pt x="3016" y="415"/>
                </a:lnTo>
                <a:lnTo>
                  <a:pt x="3019" y="415"/>
                </a:lnTo>
                <a:lnTo>
                  <a:pt x="3021" y="415"/>
                </a:lnTo>
                <a:lnTo>
                  <a:pt x="3021" y="415"/>
                </a:lnTo>
                <a:lnTo>
                  <a:pt x="3024" y="407"/>
                </a:lnTo>
                <a:lnTo>
                  <a:pt x="3030" y="403"/>
                </a:lnTo>
                <a:lnTo>
                  <a:pt x="3035" y="403"/>
                </a:lnTo>
                <a:lnTo>
                  <a:pt x="3037" y="403"/>
                </a:lnTo>
                <a:lnTo>
                  <a:pt x="3038" y="407"/>
                </a:lnTo>
                <a:lnTo>
                  <a:pt x="3045" y="407"/>
                </a:lnTo>
                <a:lnTo>
                  <a:pt x="3045" y="408"/>
                </a:lnTo>
                <a:lnTo>
                  <a:pt x="3044" y="410"/>
                </a:lnTo>
                <a:lnTo>
                  <a:pt x="3050" y="408"/>
                </a:lnTo>
                <a:lnTo>
                  <a:pt x="3054" y="411"/>
                </a:lnTo>
                <a:lnTo>
                  <a:pt x="3049" y="415"/>
                </a:lnTo>
                <a:lnTo>
                  <a:pt x="3056" y="415"/>
                </a:lnTo>
                <a:lnTo>
                  <a:pt x="3061" y="416"/>
                </a:lnTo>
                <a:lnTo>
                  <a:pt x="3064" y="418"/>
                </a:lnTo>
                <a:lnTo>
                  <a:pt x="3056" y="419"/>
                </a:lnTo>
                <a:lnTo>
                  <a:pt x="3050" y="425"/>
                </a:lnTo>
                <a:lnTo>
                  <a:pt x="3030" y="421"/>
                </a:lnTo>
                <a:lnTo>
                  <a:pt x="3027" y="423"/>
                </a:lnTo>
                <a:lnTo>
                  <a:pt x="3044" y="429"/>
                </a:lnTo>
                <a:lnTo>
                  <a:pt x="3038" y="431"/>
                </a:lnTo>
                <a:lnTo>
                  <a:pt x="3044" y="431"/>
                </a:lnTo>
                <a:lnTo>
                  <a:pt x="3045" y="431"/>
                </a:lnTo>
                <a:lnTo>
                  <a:pt x="3045" y="430"/>
                </a:lnTo>
                <a:lnTo>
                  <a:pt x="3045" y="430"/>
                </a:lnTo>
                <a:lnTo>
                  <a:pt x="3048" y="431"/>
                </a:lnTo>
                <a:lnTo>
                  <a:pt x="3048" y="429"/>
                </a:lnTo>
                <a:lnTo>
                  <a:pt x="3052" y="430"/>
                </a:lnTo>
                <a:lnTo>
                  <a:pt x="3052" y="431"/>
                </a:lnTo>
                <a:lnTo>
                  <a:pt x="3060" y="431"/>
                </a:lnTo>
                <a:lnTo>
                  <a:pt x="3060" y="432"/>
                </a:lnTo>
                <a:lnTo>
                  <a:pt x="3068" y="434"/>
                </a:lnTo>
                <a:lnTo>
                  <a:pt x="3068" y="435"/>
                </a:lnTo>
                <a:lnTo>
                  <a:pt x="3070" y="435"/>
                </a:lnTo>
                <a:lnTo>
                  <a:pt x="3071" y="435"/>
                </a:lnTo>
                <a:lnTo>
                  <a:pt x="3071" y="435"/>
                </a:lnTo>
                <a:lnTo>
                  <a:pt x="3078" y="435"/>
                </a:lnTo>
                <a:lnTo>
                  <a:pt x="3077" y="432"/>
                </a:lnTo>
                <a:lnTo>
                  <a:pt x="3076" y="430"/>
                </a:lnTo>
                <a:lnTo>
                  <a:pt x="3076" y="430"/>
                </a:lnTo>
                <a:lnTo>
                  <a:pt x="3076" y="429"/>
                </a:lnTo>
                <a:lnTo>
                  <a:pt x="3085" y="435"/>
                </a:lnTo>
                <a:lnTo>
                  <a:pt x="3092" y="435"/>
                </a:lnTo>
                <a:lnTo>
                  <a:pt x="3092" y="437"/>
                </a:lnTo>
                <a:lnTo>
                  <a:pt x="3091" y="438"/>
                </a:lnTo>
                <a:lnTo>
                  <a:pt x="3090" y="438"/>
                </a:lnTo>
                <a:lnTo>
                  <a:pt x="3084" y="438"/>
                </a:lnTo>
                <a:lnTo>
                  <a:pt x="3077" y="437"/>
                </a:lnTo>
                <a:lnTo>
                  <a:pt x="3083" y="442"/>
                </a:lnTo>
                <a:lnTo>
                  <a:pt x="3079" y="443"/>
                </a:lnTo>
                <a:lnTo>
                  <a:pt x="3091" y="443"/>
                </a:lnTo>
                <a:lnTo>
                  <a:pt x="3091" y="443"/>
                </a:lnTo>
                <a:lnTo>
                  <a:pt x="3095" y="443"/>
                </a:lnTo>
                <a:lnTo>
                  <a:pt x="3099" y="442"/>
                </a:lnTo>
                <a:lnTo>
                  <a:pt x="3094" y="447"/>
                </a:lnTo>
                <a:lnTo>
                  <a:pt x="3096" y="447"/>
                </a:lnTo>
                <a:lnTo>
                  <a:pt x="3097" y="447"/>
                </a:lnTo>
                <a:lnTo>
                  <a:pt x="3102" y="447"/>
                </a:lnTo>
                <a:lnTo>
                  <a:pt x="3135" y="450"/>
                </a:lnTo>
                <a:lnTo>
                  <a:pt x="3160" y="461"/>
                </a:lnTo>
                <a:lnTo>
                  <a:pt x="3164" y="466"/>
                </a:lnTo>
                <a:lnTo>
                  <a:pt x="3169" y="472"/>
                </a:lnTo>
                <a:lnTo>
                  <a:pt x="3170" y="471"/>
                </a:lnTo>
                <a:lnTo>
                  <a:pt x="3172" y="470"/>
                </a:lnTo>
                <a:lnTo>
                  <a:pt x="3185" y="479"/>
                </a:lnTo>
                <a:lnTo>
                  <a:pt x="3189" y="479"/>
                </a:lnTo>
                <a:lnTo>
                  <a:pt x="3190" y="479"/>
                </a:lnTo>
                <a:lnTo>
                  <a:pt x="3196" y="481"/>
                </a:lnTo>
                <a:lnTo>
                  <a:pt x="3196" y="483"/>
                </a:lnTo>
                <a:lnTo>
                  <a:pt x="3201" y="487"/>
                </a:lnTo>
                <a:lnTo>
                  <a:pt x="3205" y="487"/>
                </a:lnTo>
                <a:lnTo>
                  <a:pt x="3205" y="492"/>
                </a:lnTo>
                <a:lnTo>
                  <a:pt x="3209" y="494"/>
                </a:lnTo>
                <a:lnTo>
                  <a:pt x="3209" y="503"/>
                </a:lnTo>
                <a:lnTo>
                  <a:pt x="3212" y="503"/>
                </a:lnTo>
                <a:lnTo>
                  <a:pt x="3211" y="510"/>
                </a:lnTo>
                <a:lnTo>
                  <a:pt x="3202" y="519"/>
                </a:lnTo>
                <a:lnTo>
                  <a:pt x="3194" y="522"/>
                </a:lnTo>
                <a:lnTo>
                  <a:pt x="3172" y="529"/>
                </a:lnTo>
                <a:lnTo>
                  <a:pt x="3128" y="521"/>
                </a:lnTo>
                <a:lnTo>
                  <a:pt x="3118" y="514"/>
                </a:lnTo>
                <a:lnTo>
                  <a:pt x="3112" y="516"/>
                </a:lnTo>
                <a:lnTo>
                  <a:pt x="3111" y="515"/>
                </a:lnTo>
                <a:lnTo>
                  <a:pt x="3112" y="515"/>
                </a:lnTo>
                <a:lnTo>
                  <a:pt x="3104" y="512"/>
                </a:lnTo>
                <a:lnTo>
                  <a:pt x="3099" y="510"/>
                </a:lnTo>
                <a:lnTo>
                  <a:pt x="3101" y="510"/>
                </a:lnTo>
                <a:lnTo>
                  <a:pt x="3099" y="511"/>
                </a:lnTo>
                <a:lnTo>
                  <a:pt x="3094" y="510"/>
                </a:lnTo>
                <a:lnTo>
                  <a:pt x="3086" y="503"/>
                </a:lnTo>
                <a:lnTo>
                  <a:pt x="3084" y="502"/>
                </a:lnTo>
                <a:lnTo>
                  <a:pt x="3081" y="502"/>
                </a:lnTo>
                <a:lnTo>
                  <a:pt x="3084" y="504"/>
                </a:lnTo>
                <a:lnTo>
                  <a:pt x="3084" y="508"/>
                </a:lnTo>
                <a:lnTo>
                  <a:pt x="3087" y="509"/>
                </a:lnTo>
                <a:lnTo>
                  <a:pt x="3090" y="511"/>
                </a:lnTo>
                <a:lnTo>
                  <a:pt x="3089" y="511"/>
                </a:lnTo>
                <a:lnTo>
                  <a:pt x="3089" y="512"/>
                </a:lnTo>
                <a:lnTo>
                  <a:pt x="3096" y="515"/>
                </a:lnTo>
                <a:lnTo>
                  <a:pt x="3094" y="516"/>
                </a:lnTo>
                <a:lnTo>
                  <a:pt x="3099" y="519"/>
                </a:lnTo>
                <a:lnTo>
                  <a:pt x="3090" y="519"/>
                </a:lnTo>
                <a:lnTo>
                  <a:pt x="3096" y="519"/>
                </a:lnTo>
                <a:lnTo>
                  <a:pt x="3102" y="519"/>
                </a:lnTo>
                <a:lnTo>
                  <a:pt x="3096" y="522"/>
                </a:lnTo>
                <a:lnTo>
                  <a:pt x="3107" y="523"/>
                </a:lnTo>
                <a:lnTo>
                  <a:pt x="3118" y="532"/>
                </a:lnTo>
                <a:lnTo>
                  <a:pt x="3119" y="537"/>
                </a:lnTo>
                <a:lnTo>
                  <a:pt x="3115" y="533"/>
                </a:lnTo>
                <a:lnTo>
                  <a:pt x="3116" y="541"/>
                </a:lnTo>
                <a:lnTo>
                  <a:pt x="3115" y="544"/>
                </a:lnTo>
                <a:lnTo>
                  <a:pt x="3111" y="545"/>
                </a:lnTo>
                <a:lnTo>
                  <a:pt x="3114" y="549"/>
                </a:lnTo>
                <a:lnTo>
                  <a:pt x="3116" y="558"/>
                </a:lnTo>
                <a:lnTo>
                  <a:pt x="3116" y="564"/>
                </a:lnTo>
                <a:lnTo>
                  <a:pt x="3115" y="565"/>
                </a:lnTo>
                <a:lnTo>
                  <a:pt x="3124" y="570"/>
                </a:lnTo>
                <a:lnTo>
                  <a:pt x="3128" y="569"/>
                </a:lnTo>
                <a:lnTo>
                  <a:pt x="3131" y="571"/>
                </a:lnTo>
                <a:lnTo>
                  <a:pt x="3135" y="575"/>
                </a:lnTo>
                <a:lnTo>
                  <a:pt x="3135" y="575"/>
                </a:lnTo>
                <a:lnTo>
                  <a:pt x="3136" y="575"/>
                </a:lnTo>
                <a:lnTo>
                  <a:pt x="3136" y="578"/>
                </a:lnTo>
                <a:lnTo>
                  <a:pt x="3154" y="583"/>
                </a:lnTo>
                <a:lnTo>
                  <a:pt x="3160" y="580"/>
                </a:lnTo>
                <a:lnTo>
                  <a:pt x="3164" y="578"/>
                </a:lnTo>
                <a:lnTo>
                  <a:pt x="3164" y="575"/>
                </a:lnTo>
                <a:lnTo>
                  <a:pt x="3162" y="574"/>
                </a:lnTo>
                <a:lnTo>
                  <a:pt x="3160" y="572"/>
                </a:lnTo>
                <a:lnTo>
                  <a:pt x="3160" y="569"/>
                </a:lnTo>
                <a:lnTo>
                  <a:pt x="3160" y="569"/>
                </a:lnTo>
                <a:lnTo>
                  <a:pt x="3157" y="569"/>
                </a:lnTo>
                <a:lnTo>
                  <a:pt x="3153" y="569"/>
                </a:lnTo>
                <a:lnTo>
                  <a:pt x="3152" y="569"/>
                </a:lnTo>
                <a:lnTo>
                  <a:pt x="3152" y="569"/>
                </a:lnTo>
                <a:lnTo>
                  <a:pt x="3148" y="565"/>
                </a:lnTo>
                <a:lnTo>
                  <a:pt x="3145" y="560"/>
                </a:lnTo>
                <a:lnTo>
                  <a:pt x="3144" y="559"/>
                </a:lnTo>
                <a:lnTo>
                  <a:pt x="3144" y="559"/>
                </a:lnTo>
                <a:lnTo>
                  <a:pt x="3144" y="550"/>
                </a:lnTo>
                <a:lnTo>
                  <a:pt x="3149" y="549"/>
                </a:lnTo>
                <a:lnTo>
                  <a:pt x="3155" y="551"/>
                </a:lnTo>
                <a:lnTo>
                  <a:pt x="3160" y="554"/>
                </a:lnTo>
                <a:lnTo>
                  <a:pt x="3162" y="556"/>
                </a:lnTo>
                <a:lnTo>
                  <a:pt x="3163" y="559"/>
                </a:lnTo>
                <a:lnTo>
                  <a:pt x="3169" y="559"/>
                </a:lnTo>
                <a:lnTo>
                  <a:pt x="3166" y="559"/>
                </a:lnTo>
                <a:lnTo>
                  <a:pt x="3164" y="560"/>
                </a:lnTo>
                <a:lnTo>
                  <a:pt x="3164" y="564"/>
                </a:lnTo>
                <a:lnTo>
                  <a:pt x="3167" y="561"/>
                </a:lnTo>
                <a:lnTo>
                  <a:pt x="3171" y="559"/>
                </a:lnTo>
                <a:lnTo>
                  <a:pt x="3187" y="566"/>
                </a:lnTo>
                <a:lnTo>
                  <a:pt x="3188" y="567"/>
                </a:lnTo>
                <a:lnTo>
                  <a:pt x="3188" y="561"/>
                </a:lnTo>
                <a:lnTo>
                  <a:pt x="3194" y="563"/>
                </a:lnTo>
                <a:lnTo>
                  <a:pt x="3194" y="562"/>
                </a:lnTo>
                <a:lnTo>
                  <a:pt x="3198" y="565"/>
                </a:lnTo>
                <a:lnTo>
                  <a:pt x="3195" y="563"/>
                </a:lnTo>
                <a:lnTo>
                  <a:pt x="3196" y="563"/>
                </a:lnTo>
                <a:lnTo>
                  <a:pt x="3196" y="563"/>
                </a:lnTo>
                <a:lnTo>
                  <a:pt x="3200" y="564"/>
                </a:lnTo>
                <a:lnTo>
                  <a:pt x="3201" y="565"/>
                </a:lnTo>
                <a:lnTo>
                  <a:pt x="3200" y="564"/>
                </a:lnTo>
                <a:lnTo>
                  <a:pt x="3201" y="565"/>
                </a:lnTo>
                <a:lnTo>
                  <a:pt x="3201" y="565"/>
                </a:lnTo>
                <a:lnTo>
                  <a:pt x="3200" y="564"/>
                </a:lnTo>
                <a:lnTo>
                  <a:pt x="3198" y="555"/>
                </a:lnTo>
                <a:lnTo>
                  <a:pt x="3188" y="545"/>
                </a:lnTo>
                <a:lnTo>
                  <a:pt x="3188" y="541"/>
                </a:lnTo>
                <a:lnTo>
                  <a:pt x="3198" y="535"/>
                </a:lnTo>
                <a:lnTo>
                  <a:pt x="3203" y="530"/>
                </a:lnTo>
                <a:lnTo>
                  <a:pt x="3215" y="527"/>
                </a:lnTo>
                <a:lnTo>
                  <a:pt x="3224" y="517"/>
                </a:lnTo>
                <a:lnTo>
                  <a:pt x="3232" y="521"/>
                </a:lnTo>
                <a:lnTo>
                  <a:pt x="3237" y="520"/>
                </a:lnTo>
                <a:lnTo>
                  <a:pt x="3242" y="519"/>
                </a:lnTo>
                <a:lnTo>
                  <a:pt x="3244" y="521"/>
                </a:lnTo>
                <a:lnTo>
                  <a:pt x="3247" y="523"/>
                </a:lnTo>
                <a:lnTo>
                  <a:pt x="3244" y="525"/>
                </a:lnTo>
                <a:lnTo>
                  <a:pt x="3242" y="527"/>
                </a:lnTo>
                <a:lnTo>
                  <a:pt x="3249" y="526"/>
                </a:lnTo>
                <a:lnTo>
                  <a:pt x="3249" y="526"/>
                </a:lnTo>
                <a:lnTo>
                  <a:pt x="3249" y="527"/>
                </a:lnTo>
                <a:lnTo>
                  <a:pt x="3249" y="529"/>
                </a:lnTo>
                <a:lnTo>
                  <a:pt x="3254" y="532"/>
                </a:lnTo>
                <a:lnTo>
                  <a:pt x="3253" y="526"/>
                </a:lnTo>
                <a:lnTo>
                  <a:pt x="3257" y="511"/>
                </a:lnTo>
                <a:lnTo>
                  <a:pt x="3256" y="510"/>
                </a:lnTo>
                <a:lnTo>
                  <a:pt x="3258" y="508"/>
                </a:lnTo>
                <a:lnTo>
                  <a:pt x="3252" y="500"/>
                </a:lnTo>
                <a:lnTo>
                  <a:pt x="3245" y="499"/>
                </a:lnTo>
                <a:lnTo>
                  <a:pt x="3245" y="498"/>
                </a:lnTo>
                <a:lnTo>
                  <a:pt x="3253" y="488"/>
                </a:lnTo>
                <a:lnTo>
                  <a:pt x="3253" y="483"/>
                </a:lnTo>
                <a:lnTo>
                  <a:pt x="3254" y="483"/>
                </a:lnTo>
                <a:lnTo>
                  <a:pt x="3254" y="473"/>
                </a:lnTo>
                <a:lnTo>
                  <a:pt x="3241" y="465"/>
                </a:lnTo>
                <a:lnTo>
                  <a:pt x="3241" y="461"/>
                </a:lnTo>
                <a:lnTo>
                  <a:pt x="3254" y="467"/>
                </a:lnTo>
                <a:lnTo>
                  <a:pt x="3270" y="467"/>
                </a:lnTo>
                <a:lnTo>
                  <a:pt x="3278" y="467"/>
                </a:lnTo>
                <a:lnTo>
                  <a:pt x="3279" y="471"/>
                </a:lnTo>
                <a:lnTo>
                  <a:pt x="3285" y="476"/>
                </a:lnTo>
                <a:lnTo>
                  <a:pt x="3285" y="480"/>
                </a:lnTo>
                <a:lnTo>
                  <a:pt x="3289" y="481"/>
                </a:lnTo>
                <a:lnTo>
                  <a:pt x="3289" y="484"/>
                </a:lnTo>
                <a:lnTo>
                  <a:pt x="3271" y="487"/>
                </a:lnTo>
                <a:lnTo>
                  <a:pt x="3269" y="488"/>
                </a:lnTo>
                <a:lnTo>
                  <a:pt x="3269" y="489"/>
                </a:lnTo>
                <a:lnTo>
                  <a:pt x="3265" y="492"/>
                </a:lnTo>
                <a:lnTo>
                  <a:pt x="3264" y="495"/>
                </a:lnTo>
                <a:lnTo>
                  <a:pt x="3275" y="500"/>
                </a:lnTo>
                <a:lnTo>
                  <a:pt x="3276" y="508"/>
                </a:lnTo>
                <a:lnTo>
                  <a:pt x="3280" y="511"/>
                </a:lnTo>
                <a:lnTo>
                  <a:pt x="3287" y="511"/>
                </a:lnTo>
                <a:lnTo>
                  <a:pt x="3305" y="506"/>
                </a:lnTo>
                <a:lnTo>
                  <a:pt x="3305" y="503"/>
                </a:lnTo>
                <a:lnTo>
                  <a:pt x="3304" y="501"/>
                </a:lnTo>
                <a:lnTo>
                  <a:pt x="3303" y="499"/>
                </a:lnTo>
                <a:lnTo>
                  <a:pt x="3309" y="492"/>
                </a:lnTo>
                <a:lnTo>
                  <a:pt x="3307" y="489"/>
                </a:lnTo>
                <a:lnTo>
                  <a:pt x="3309" y="488"/>
                </a:lnTo>
                <a:lnTo>
                  <a:pt x="3320" y="487"/>
                </a:lnTo>
                <a:lnTo>
                  <a:pt x="3323" y="488"/>
                </a:lnTo>
                <a:lnTo>
                  <a:pt x="3325" y="489"/>
                </a:lnTo>
                <a:lnTo>
                  <a:pt x="3318" y="481"/>
                </a:lnTo>
                <a:lnTo>
                  <a:pt x="3328" y="483"/>
                </a:lnTo>
                <a:lnTo>
                  <a:pt x="3337" y="478"/>
                </a:lnTo>
                <a:lnTo>
                  <a:pt x="3337" y="478"/>
                </a:lnTo>
                <a:lnTo>
                  <a:pt x="3337" y="478"/>
                </a:lnTo>
                <a:lnTo>
                  <a:pt x="3337" y="478"/>
                </a:lnTo>
                <a:lnTo>
                  <a:pt x="3350" y="471"/>
                </a:lnTo>
                <a:lnTo>
                  <a:pt x="3353" y="471"/>
                </a:lnTo>
                <a:lnTo>
                  <a:pt x="3368" y="466"/>
                </a:lnTo>
                <a:lnTo>
                  <a:pt x="3370" y="465"/>
                </a:lnTo>
                <a:lnTo>
                  <a:pt x="3372" y="466"/>
                </a:lnTo>
                <a:lnTo>
                  <a:pt x="3392" y="456"/>
                </a:lnTo>
                <a:lnTo>
                  <a:pt x="3403" y="454"/>
                </a:lnTo>
                <a:lnTo>
                  <a:pt x="3390" y="459"/>
                </a:lnTo>
                <a:lnTo>
                  <a:pt x="3395" y="459"/>
                </a:lnTo>
                <a:lnTo>
                  <a:pt x="3392" y="465"/>
                </a:lnTo>
                <a:lnTo>
                  <a:pt x="3393" y="467"/>
                </a:lnTo>
                <a:lnTo>
                  <a:pt x="3394" y="470"/>
                </a:lnTo>
                <a:lnTo>
                  <a:pt x="3393" y="471"/>
                </a:lnTo>
                <a:lnTo>
                  <a:pt x="3393" y="471"/>
                </a:lnTo>
                <a:lnTo>
                  <a:pt x="3393" y="471"/>
                </a:lnTo>
                <a:lnTo>
                  <a:pt x="3392" y="471"/>
                </a:lnTo>
                <a:lnTo>
                  <a:pt x="3392" y="471"/>
                </a:lnTo>
                <a:lnTo>
                  <a:pt x="3391" y="471"/>
                </a:lnTo>
                <a:lnTo>
                  <a:pt x="3388" y="469"/>
                </a:lnTo>
                <a:lnTo>
                  <a:pt x="3386" y="471"/>
                </a:lnTo>
                <a:lnTo>
                  <a:pt x="3385" y="472"/>
                </a:lnTo>
                <a:lnTo>
                  <a:pt x="3392" y="474"/>
                </a:lnTo>
                <a:lnTo>
                  <a:pt x="3399" y="475"/>
                </a:lnTo>
                <a:lnTo>
                  <a:pt x="3401" y="471"/>
                </a:lnTo>
                <a:lnTo>
                  <a:pt x="3405" y="475"/>
                </a:lnTo>
                <a:lnTo>
                  <a:pt x="3405" y="472"/>
                </a:lnTo>
                <a:lnTo>
                  <a:pt x="3405" y="471"/>
                </a:lnTo>
                <a:lnTo>
                  <a:pt x="3405" y="470"/>
                </a:lnTo>
                <a:lnTo>
                  <a:pt x="3413" y="465"/>
                </a:lnTo>
                <a:lnTo>
                  <a:pt x="3425" y="462"/>
                </a:lnTo>
                <a:lnTo>
                  <a:pt x="3444" y="466"/>
                </a:lnTo>
                <a:lnTo>
                  <a:pt x="3448" y="463"/>
                </a:lnTo>
                <a:lnTo>
                  <a:pt x="3454" y="463"/>
                </a:lnTo>
                <a:lnTo>
                  <a:pt x="3454" y="458"/>
                </a:lnTo>
                <a:lnTo>
                  <a:pt x="3454" y="458"/>
                </a:lnTo>
                <a:lnTo>
                  <a:pt x="3454" y="458"/>
                </a:lnTo>
                <a:lnTo>
                  <a:pt x="3454" y="458"/>
                </a:lnTo>
                <a:lnTo>
                  <a:pt x="3458" y="457"/>
                </a:lnTo>
                <a:lnTo>
                  <a:pt x="3458" y="457"/>
                </a:lnTo>
                <a:lnTo>
                  <a:pt x="3458" y="457"/>
                </a:lnTo>
                <a:lnTo>
                  <a:pt x="3467" y="455"/>
                </a:lnTo>
                <a:lnTo>
                  <a:pt x="3467" y="455"/>
                </a:lnTo>
                <a:lnTo>
                  <a:pt x="3474" y="460"/>
                </a:lnTo>
                <a:lnTo>
                  <a:pt x="3470" y="464"/>
                </a:lnTo>
                <a:lnTo>
                  <a:pt x="3470" y="469"/>
                </a:lnTo>
                <a:lnTo>
                  <a:pt x="3481" y="470"/>
                </a:lnTo>
                <a:lnTo>
                  <a:pt x="3482" y="469"/>
                </a:lnTo>
                <a:lnTo>
                  <a:pt x="3480" y="465"/>
                </a:lnTo>
                <a:lnTo>
                  <a:pt x="3481" y="463"/>
                </a:lnTo>
                <a:lnTo>
                  <a:pt x="3491" y="463"/>
                </a:lnTo>
                <a:lnTo>
                  <a:pt x="3494" y="457"/>
                </a:lnTo>
                <a:lnTo>
                  <a:pt x="3494" y="451"/>
                </a:lnTo>
                <a:lnTo>
                  <a:pt x="3492" y="451"/>
                </a:lnTo>
                <a:lnTo>
                  <a:pt x="3491" y="446"/>
                </a:lnTo>
                <a:lnTo>
                  <a:pt x="3486" y="440"/>
                </a:lnTo>
                <a:lnTo>
                  <a:pt x="3488" y="439"/>
                </a:lnTo>
                <a:lnTo>
                  <a:pt x="3492" y="439"/>
                </a:lnTo>
                <a:lnTo>
                  <a:pt x="3493" y="433"/>
                </a:lnTo>
                <a:lnTo>
                  <a:pt x="3495" y="431"/>
                </a:lnTo>
                <a:lnTo>
                  <a:pt x="3529" y="435"/>
                </a:lnTo>
                <a:lnTo>
                  <a:pt x="3536" y="437"/>
                </a:lnTo>
                <a:lnTo>
                  <a:pt x="3543" y="438"/>
                </a:lnTo>
                <a:lnTo>
                  <a:pt x="3555" y="445"/>
                </a:lnTo>
                <a:lnTo>
                  <a:pt x="3550" y="447"/>
                </a:lnTo>
                <a:lnTo>
                  <a:pt x="3550" y="450"/>
                </a:lnTo>
                <a:lnTo>
                  <a:pt x="3557" y="447"/>
                </a:lnTo>
                <a:lnTo>
                  <a:pt x="3570" y="450"/>
                </a:lnTo>
                <a:lnTo>
                  <a:pt x="3566" y="453"/>
                </a:lnTo>
                <a:lnTo>
                  <a:pt x="3586" y="459"/>
                </a:lnTo>
                <a:lnTo>
                  <a:pt x="3585" y="459"/>
                </a:lnTo>
                <a:lnTo>
                  <a:pt x="3589" y="461"/>
                </a:lnTo>
                <a:lnTo>
                  <a:pt x="3596" y="465"/>
                </a:lnTo>
                <a:lnTo>
                  <a:pt x="3603" y="469"/>
                </a:lnTo>
                <a:lnTo>
                  <a:pt x="3603" y="470"/>
                </a:lnTo>
                <a:lnTo>
                  <a:pt x="3604" y="472"/>
                </a:lnTo>
                <a:lnTo>
                  <a:pt x="3603" y="472"/>
                </a:lnTo>
                <a:lnTo>
                  <a:pt x="3603" y="473"/>
                </a:lnTo>
                <a:lnTo>
                  <a:pt x="3603" y="474"/>
                </a:lnTo>
                <a:lnTo>
                  <a:pt x="3604" y="476"/>
                </a:lnTo>
                <a:lnTo>
                  <a:pt x="3606" y="473"/>
                </a:lnTo>
                <a:lnTo>
                  <a:pt x="3615" y="459"/>
                </a:lnTo>
                <a:lnTo>
                  <a:pt x="3613" y="459"/>
                </a:lnTo>
                <a:lnTo>
                  <a:pt x="3617" y="455"/>
                </a:lnTo>
                <a:lnTo>
                  <a:pt x="3614" y="456"/>
                </a:lnTo>
                <a:lnTo>
                  <a:pt x="3610" y="457"/>
                </a:lnTo>
                <a:lnTo>
                  <a:pt x="3608" y="455"/>
                </a:lnTo>
                <a:lnTo>
                  <a:pt x="3605" y="453"/>
                </a:lnTo>
                <a:lnTo>
                  <a:pt x="3598" y="447"/>
                </a:lnTo>
                <a:lnTo>
                  <a:pt x="3598" y="441"/>
                </a:lnTo>
                <a:lnTo>
                  <a:pt x="3591" y="438"/>
                </a:lnTo>
                <a:lnTo>
                  <a:pt x="3582" y="435"/>
                </a:lnTo>
                <a:lnTo>
                  <a:pt x="3582" y="442"/>
                </a:lnTo>
                <a:lnTo>
                  <a:pt x="3578" y="438"/>
                </a:lnTo>
                <a:lnTo>
                  <a:pt x="3578" y="433"/>
                </a:lnTo>
                <a:lnTo>
                  <a:pt x="3582" y="427"/>
                </a:lnTo>
                <a:lnTo>
                  <a:pt x="3582" y="427"/>
                </a:lnTo>
                <a:lnTo>
                  <a:pt x="3582" y="430"/>
                </a:lnTo>
                <a:lnTo>
                  <a:pt x="3587" y="427"/>
                </a:lnTo>
                <a:lnTo>
                  <a:pt x="3589" y="425"/>
                </a:lnTo>
                <a:lnTo>
                  <a:pt x="3589" y="424"/>
                </a:lnTo>
                <a:lnTo>
                  <a:pt x="3585" y="422"/>
                </a:lnTo>
                <a:lnTo>
                  <a:pt x="3589" y="408"/>
                </a:lnTo>
                <a:lnTo>
                  <a:pt x="3585" y="404"/>
                </a:lnTo>
                <a:lnTo>
                  <a:pt x="3578" y="408"/>
                </a:lnTo>
                <a:lnTo>
                  <a:pt x="3578" y="403"/>
                </a:lnTo>
                <a:lnTo>
                  <a:pt x="3581" y="400"/>
                </a:lnTo>
                <a:lnTo>
                  <a:pt x="3580" y="399"/>
                </a:lnTo>
                <a:lnTo>
                  <a:pt x="3584" y="393"/>
                </a:lnTo>
                <a:lnTo>
                  <a:pt x="3599" y="386"/>
                </a:lnTo>
                <a:lnTo>
                  <a:pt x="3602" y="382"/>
                </a:lnTo>
                <a:lnTo>
                  <a:pt x="3606" y="377"/>
                </a:lnTo>
                <a:lnTo>
                  <a:pt x="3613" y="353"/>
                </a:lnTo>
                <a:lnTo>
                  <a:pt x="3617" y="349"/>
                </a:lnTo>
                <a:lnTo>
                  <a:pt x="3618" y="347"/>
                </a:lnTo>
                <a:lnTo>
                  <a:pt x="3618" y="346"/>
                </a:lnTo>
                <a:lnTo>
                  <a:pt x="3626" y="344"/>
                </a:lnTo>
                <a:lnTo>
                  <a:pt x="3622" y="346"/>
                </a:lnTo>
                <a:lnTo>
                  <a:pt x="3622" y="347"/>
                </a:lnTo>
                <a:lnTo>
                  <a:pt x="3623" y="347"/>
                </a:lnTo>
                <a:lnTo>
                  <a:pt x="3651" y="347"/>
                </a:lnTo>
                <a:lnTo>
                  <a:pt x="3658" y="350"/>
                </a:lnTo>
                <a:lnTo>
                  <a:pt x="3655" y="350"/>
                </a:lnTo>
                <a:lnTo>
                  <a:pt x="3662" y="351"/>
                </a:lnTo>
                <a:lnTo>
                  <a:pt x="3669" y="353"/>
                </a:lnTo>
                <a:lnTo>
                  <a:pt x="3668" y="357"/>
                </a:lnTo>
                <a:lnTo>
                  <a:pt x="3669" y="361"/>
                </a:lnTo>
                <a:lnTo>
                  <a:pt x="3670" y="365"/>
                </a:lnTo>
                <a:lnTo>
                  <a:pt x="3667" y="370"/>
                </a:lnTo>
                <a:lnTo>
                  <a:pt x="3664" y="374"/>
                </a:lnTo>
                <a:lnTo>
                  <a:pt x="3663" y="375"/>
                </a:lnTo>
                <a:lnTo>
                  <a:pt x="3662" y="376"/>
                </a:lnTo>
                <a:lnTo>
                  <a:pt x="3662" y="381"/>
                </a:lnTo>
                <a:lnTo>
                  <a:pt x="3654" y="388"/>
                </a:lnTo>
                <a:lnTo>
                  <a:pt x="3656" y="390"/>
                </a:lnTo>
                <a:lnTo>
                  <a:pt x="3656" y="393"/>
                </a:lnTo>
                <a:lnTo>
                  <a:pt x="3662" y="397"/>
                </a:lnTo>
                <a:lnTo>
                  <a:pt x="3662" y="399"/>
                </a:lnTo>
                <a:lnTo>
                  <a:pt x="3668" y="404"/>
                </a:lnTo>
                <a:lnTo>
                  <a:pt x="3668" y="411"/>
                </a:lnTo>
                <a:lnTo>
                  <a:pt x="3669" y="415"/>
                </a:lnTo>
                <a:lnTo>
                  <a:pt x="3666" y="418"/>
                </a:lnTo>
                <a:lnTo>
                  <a:pt x="3663" y="420"/>
                </a:lnTo>
                <a:lnTo>
                  <a:pt x="3664" y="421"/>
                </a:lnTo>
                <a:lnTo>
                  <a:pt x="3666" y="422"/>
                </a:lnTo>
                <a:lnTo>
                  <a:pt x="3664" y="426"/>
                </a:lnTo>
                <a:lnTo>
                  <a:pt x="3668" y="431"/>
                </a:lnTo>
                <a:lnTo>
                  <a:pt x="3664" y="437"/>
                </a:lnTo>
                <a:lnTo>
                  <a:pt x="3666" y="442"/>
                </a:lnTo>
                <a:lnTo>
                  <a:pt x="3664" y="450"/>
                </a:lnTo>
                <a:lnTo>
                  <a:pt x="3666" y="454"/>
                </a:lnTo>
                <a:lnTo>
                  <a:pt x="3668" y="458"/>
                </a:lnTo>
                <a:lnTo>
                  <a:pt x="3673" y="461"/>
                </a:lnTo>
                <a:lnTo>
                  <a:pt x="3678" y="464"/>
                </a:lnTo>
                <a:lnTo>
                  <a:pt x="3682" y="467"/>
                </a:lnTo>
                <a:lnTo>
                  <a:pt x="3682" y="467"/>
                </a:lnTo>
                <a:lnTo>
                  <a:pt x="3682" y="467"/>
                </a:lnTo>
                <a:lnTo>
                  <a:pt x="3678" y="465"/>
                </a:lnTo>
                <a:lnTo>
                  <a:pt x="3674" y="475"/>
                </a:lnTo>
                <a:lnTo>
                  <a:pt x="3673" y="476"/>
                </a:lnTo>
                <a:lnTo>
                  <a:pt x="3673" y="476"/>
                </a:lnTo>
                <a:lnTo>
                  <a:pt x="3674" y="483"/>
                </a:lnTo>
                <a:lnTo>
                  <a:pt x="3671" y="487"/>
                </a:lnTo>
                <a:lnTo>
                  <a:pt x="3662" y="489"/>
                </a:lnTo>
                <a:lnTo>
                  <a:pt x="3662" y="491"/>
                </a:lnTo>
                <a:lnTo>
                  <a:pt x="3662" y="492"/>
                </a:lnTo>
                <a:lnTo>
                  <a:pt x="3663" y="492"/>
                </a:lnTo>
                <a:lnTo>
                  <a:pt x="3663" y="493"/>
                </a:lnTo>
                <a:lnTo>
                  <a:pt x="3664" y="494"/>
                </a:lnTo>
                <a:lnTo>
                  <a:pt x="3663" y="495"/>
                </a:lnTo>
                <a:lnTo>
                  <a:pt x="3663" y="495"/>
                </a:lnTo>
                <a:lnTo>
                  <a:pt x="3660" y="497"/>
                </a:lnTo>
                <a:lnTo>
                  <a:pt x="3658" y="498"/>
                </a:lnTo>
                <a:lnTo>
                  <a:pt x="3662" y="500"/>
                </a:lnTo>
                <a:lnTo>
                  <a:pt x="3660" y="500"/>
                </a:lnTo>
                <a:lnTo>
                  <a:pt x="3659" y="500"/>
                </a:lnTo>
                <a:lnTo>
                  <a:pt x="3655" y="507"/>
                </a:lnTo>
                <a:lnTo>
                  <a:pt x="3649" y="507"/>
                </a:lnTo>
                <a:lnTo>
                  <a:pt x="3650" y="511"/>
                </a:lnTo>
                <a:lnTo>
                  <a:pt x="3650" y="515"/>
                </a:lnTo>
                <a:lnTo>
                  <a:pt x="3644" y="515"/>
                </a:lnTo>
                <a:lnTo>
                  <a:pt x="3642" y="516"/>
                </a:lnTo>
                <a:lnTo>
                  <a:pt x="3639" y="517"/>
                </a:lnTo>
                <a:lnTo>
                  <a:pt x="3632" y="514"/>
                </a:lnTo>
                <a:lnTo>
                  <a:pt x="3639" y="511"/>
                </a:lnTo>
                <a:lnTo>
                  <a:pt x="3632" y="512"/>
                </a:lnTo>
                <a:lnTo>
                  <a:pt x="3626" y="511"/>
                </a:lnTo>
                <a:lnTo>
                  <a:pt x="3634" y="522"/>
                </a:lnTo>
                <a:lnTo>
                  <a:pt x="3650" y="521"/>
                </a:lnTo>
                <a:lnTo>
                  <a:pt x="3658" y="523"/>
                </a:lnTo>
                <a:lnTo>
                  <a:pt x="3660" y="522"/>
                </a:lnTo>
                <a:lnTo>
                  <a:pt x="3662" y="522"/>
                </a:lnTo>
                <a:lnTo>
                  <a:pt x="3662" y="517"/>
                </a:lnTo>
                <a:lnTo>
                  <a:pt x="3663" y="516"/>
                </a:lnTo>
                <a:lnTo>
                  <a:pt x="3664" y="515"/>
                </a:lnTo>
                <a:lnTo>
                  <a:pt x="3670" y="515"/>
                </a:lnTo>
                <a:lnTo>
                  <a:pt x="3683" y="506"/>
                </a:lnTo>
                <a:lnTo>
                  <a:pt x="3683" y="502"/>
                </a:lnTo>
                <a:lnTo>
                  <a:pt x="3682" y="499"/>
                </a:lnTo>
                <a:lnTo>
                  <a:pt x="3682" y="498"/>
                </a:lnTo>
                <a:lnTo>
                  <a:pt x="3695" y="488"/>
                </a:lnTo>
                <a:lnTo>
                  <a:pt x="3697" y="484"/>
                </a:lnTo>
                <a:lnTo>
                  <a:pt x="3697" y="481"/>
                </a:lnTo>
                <a:lnTo>
                  <a:pt x="3696" y="479"/>
                </a:lnTo>
                <a:lnTo>
                  <a:pt x="3696" y="476"/>
                </a:lnTo>
                <a:lnTo>
                  <a:pt x="3693" y="473"/>
                </a:lnTo>
                <a:lnTo>
                  <a:pt x="3691" y="470"/>
                </a:lnTo>
                <a:lnTo>
                  <a:pt x="3691" y="468"/>
                </a:lnTo>
                <a:lnTo>
                  <a:pt x="3690" y="466"/>
                </a:lnTo>
                <a:lnTo>
                  <a:pt x="3690" y="461"/>
                </a:lnTo>
                <a:lnTo>
                  <a:pt x="3694" y="460"/>
                </a:lnTo>
                <a:lnTo>
                  <a:pt x="3722" y="454"/>
                </a:lnTo>
                <a:lnTo>
                  <a:pt x="3723" y="457"/>
                </a:lnTo>
                <a:lnTo>
                  <a:pt x="3723" y="460"/>
                </a:lnTo>
                <a:lnTo>
                  <a:pt x="3735" y="466"/>
                </a:lnTo>
                <a:lnTo>
                  <a:pt x="3735" y="470"/>
                </a:lnTo>
                <a:lnTo>
                  <a:pt x="3735" y="471"/>
                </a:lnTo>
                <a:lnTo>
                  <a:pt x="3734" y="472"/>
                </a:lnTo>
                <a:lnTo>
                  <a:pt x="3735" y="472"/>
                </a:lnTo>
                <a:lnTo>
                  <a:pt x="3735" y="472"/>
                </a:lnTo>
                <a:lnTo>
                  <a:pt x="3735" y="476"/>
                </a:lnTo>
                <a:lnTo>
                  <a:pt x="3734" y="480"/>
                </a:lnTo>
                <a:lnTo>
                  <a:pt x="3735" y="481"/>
                </a:lnTo>
                <a:lnTo>
                  <a:pt x="3735" y="481"/>
                </a:lnTo>
                <a:lnTo>
                  <a:pt x="3731" y="485"/>
                </a:lnTo>
                <a:lnTo>
                  <a:pt x="3737" y="489"/>
                </a:lnTo>
                <a:lnTo>
                  <a:pt x="3742" y="495"/>
                </a:lnTo>
                <a:lnTo>
                  <a:pt x="3761" y="495"/>
                </a:lnTo>
                <a:lnTo>
                  <a:pt x="3757" y="491"/>
                </a:lnTo>
                <a:lnTo>
                  <a:pt x="3753" y="491"/>
                </a:lnTo>
                <a:lnTo>
                  <a:pt x="3751" y="491"/>
                </a:lnTo>
                <a:lnTo>
                  <a:pt x="3753" y="489"/>
                </a:lnTo>
                <a:lnTo>
                  <a:pt x="3754" y="488"/>
                </a:lnTo>
                <a:lnTo>
                  <a:pt x="3737" y="487"/>
                </a:lnTo>
                <a:lnTo>
                  <a:pt x="3737" y="481"/>
                </a:lnTo>
                <a:lnTo>
                  <a:pt x="3738" y="476"/>
                </a:lnTo>
                <a:lnTo>
                  <a:pt x="3743" y="474"/>
                </a:lnTo>
                <a:lnTo>
                  <a:pt x="3748" y="472"/>
                </a:lnTo>
                <a:lnTo>
                  <a:pt x="3743" y="470"/>
                </a:lnTo>
                <a:lnTo>
                  <a:pt x="3743" y="467"/>
                </a:lnTo>
                <a:lnTo>
                  <a:pt x="3742" y="467"/>
                </a:lnTo>
                <a:lnTo>
                  <a:pt x="3741" y="462"/>
                </a:lnTo>
                <a:lnTo>
                  <a:pt x="3741" y="457"/>
                </a:lnTo>
                <a:lnTo>
                  <a:pt x="3716" y="447"/>
                </a:lnTo>
                <a:lnTo>
                  <a:pt x="3708" y="447"/>
                </a:lnTo>
                <a:lnTo>
                  <a:pt x="3697" y="453"/>
                </a:lnTo>
                <a:lnTo>
                  <a:pt x="3691" y="450"/>
                </a:lnTo>
                <a:lnTo>
                  <a:pt x="3688" y="451"/>
                </a:lnTo>
                <a:lnTo>
                  <a:pt x="3685" y="452"/>
                </a:lnTo>
                <a:lnTo>
                  <a:pt x="3683" y="451"/>
                </a:lnTo>
                <a:lnTo>
                  <a:pt x="3682" y="449"/>
                </a:lnTo>
                <a:lnTo>
                  <a:pt x="3683" y="445"/>
                </a:lnTo>
                <a:lnTo>
                  <a:pt x="3685" y="442"/>
                </a:lnTo>
                <a:lnTo>
                  <a:pt x="3681" y="438"/>
                </a:lnTo>
                <a:lnTo>
                  <a:pt x="3678" y="433"/>
                </a:lnTo>
                <a:lnTo>
                  <a:pt x="3683" y="426"/>
                </a:lnTo>
                <a:lnTo>
                  <a:pt x="3681" y="424"/>
                </a:lnTo>
                <a:lnTo>
                  <a:pt x="3690" y="414"/>
                </a:lnTo>
                <a:lnTo>
                  <a:pt x="3690" y="409"/>
                </a:lnTo>
                <a:lnTo>
                  <a:pt x="3686" y="406"/>
                </a:lnTo>
                <a:lnTo>
                  <a:pt x="3682" y="404"/>
                </a:lnTo>
                <a:lnTo>
                  <a:pt x="3682" y="400"/>
                </a:lnTo>
                <a:lnTo>
                  <a:pt x="3680" y="396"/>
                </a:lnTo>
                <a:lnTo>
                  <a:pt x="3678" y="393"/>
                </a:lnTo>
                <a:lnTo>
                  <a:pt x="3676" y="391"/>
                </a:lnTo>
                <a:lnTo>
                  <a:pt x="3673" y="389"/>
                </a:lnTo>
                <a:lnTo>
                  <a:pt x="3676" y="386"/>
                </a:lnTo>
                <a:lnTo>
                  <a:pt x="3678" y="383"/>
                </a:lnTo>
                <a:lnTo>
                  <a:pt x="3678" y="380"/>
                </a:lnTo>
                <a:lnTo>
                  <a:pt x="3678" y="377"/>
                </a:lnTo>
                <a:lnTo>
                  <a:pt x="3689" y="374"/>
                </a:lnTo>
                <a:lnTo>
                  <a:pt x="3700" y="370"/>
                </a:lnTo>
                <a:lnTo>
                  <a:pt x="3702" y="366"/>
                </a:lnTo>
                <a:lnTo>
                  <a:pt x="3702" y="361"/>
                </a:lnTo>
                <a:lnTo>
                  <a:pt x="3700" y="353"/>
                </a:lnTo>
                <a:lnTo>
                  <a:pt x="3697" y="349"/>
                </a:lnTo>
                <a:lnTo>
                  <a:pt x="3701" y="347"/>
                </a:lnTo>
                <a:lnTo>
                  <a:pt x="3707" y="349"/>
                </a:lnTo>
                <a:lnTo>
                  <a:pt x="3708" y="351"/>
                </a:lnTo>
                <a:lnTo>
                  <a:pt x="3706" y="353"/>
                </a:lnTo>
                <a:lnTo>
                  <a:pt x="3711" y="357"/>
                </a:lnTo>
                <a:lnTo>
                  <a:pt x="3708" y="358"/>
                </a:lnTo>
                <a:lnTo>
                  <a:pt x="3711" y="365"/>
                </a:lnTo>
                <a:lnTo>
                  <a:pt x="3702" y="376"/>
                </a:lnTo>
                <a:lnTo>
                  <a:pt x="3702" y="380"/>
                </a:lnTo>
                <a:lnTo>
                  <a:pt x="3706" y="383"/>
                </a:lnTo>
                <a:lnTo>
                  <a:pt x="3706" y="386"/>
                </a:lnTo>
                <a:lnTo>
                  <a:pt x="3702" y="388"/>
                </a:lnTo>
                <a:lnTo>
                  <a:pt x="3702" y="389"/>
                </a:lnTo>
                <a:lnTo>
                  <a:pt x="3710" y="393"/>
                </a:lnTo>
                <a:lnTo>
                  <a:pt x="3727" y="394"/>
                </a:lnTo>
                <a:lnTo>
                  <a:pt x="3727" y="397"/>
                </a:lnTo>
                <a:lnTo>
                  <a:pt x="3730" y="399"/>
                </a:lnTo>
                <a:lnTo>
                  <a:pt x="3741" y="399"/>
                </a:lnTo>
                <a:lnTo>
                  <a:pt x="3743" y="399"/>
                </a:lnTo>
                <a:lnTo>
                  <a:pt x="3745" y="401"/>
                </a:lnTo>
                <a:lnTo>
                  <a:pt x="3748" y="402"/>
                </a:lnTo>
                <a:lnTo>
                  <a:pt x="3751" y="404"/>
                </a:lnTo>
                <a:lnTo>
                  <a:pt x="3761" y="403"/>
                </a:lnTo>
                <a:lnTo>
                  <a:pt x="3753" y="403"/>
                </a:lnTo>
                <a:lnTo>
                  <a:pt x="3752" y="403"/>
                </a:lnTo>
                <a:lnTo>
                  <a:pt x="3751" y="403"/>
                </a:lnTo>
                <a:lnTo>
                  <a:pt x="3750" y="400"/>
                </a:lnTo>
                <a:lnTo>
                  <a:pt x="3748" y="398"/>
                </a:lnTo>
                <a:lnTo>
                  <a:pt x="3749" y="396"/>
                </a:lnTo>
                <a:lnTo>
                  <a:pt x="3749" y="395"/>
                </a:lnTo>
                <a:lnTo>
                  <a:pt x="3743" y="395"/>
                </a:lnTo>
                <a:lnTo>
                  <a:pt x="3745" y="390"/>
                </a:lnTo>
                <a:lnTo>
                  <a:pt x="3743" y="391"/>
                </a:lnTo>
                <a:lnTo>
                  <a:pt x="3742" y="393"/>
                </a:lnTo>
                <a:lnTo>
                  <a:pt x="3739" y="392"/>
                </a:lnTo>
                <a:lnTo>
                  <a:pt x="3737" y="392"/>
                </a:lnTo>
                <a:lnTo>
                  <a:pt x="3738" y="392"/>
                </a:lnTo>
                <a:lnTo>
                  <a:pt x="3738" y="393"/>
                </a:lnTo>
                <a:lnTo>
                  <a:pt x="3738" y="393"/>
                </a:lnTo>
                <a:lnTo>
                  <a:pt x="3738" y="393"/>
                </a:lnTo>
                <a:lnTo>
                  <a:pt x="3719" y="385"/>
                </a:lnTo>
                <a:lnTo>
                  <a:pt x="3716" y="376"/>
                </a:lnTo>
                <a:lnTo>
                  <a:pt x="3718" y="374"/>
                </a:lnTo>
                <a:lnTo>
                  <a:pt x="3729" y="372"/>
                </a:lnTo>
                <a:lnTo>
                  <a:pt x="3738" y="377"/>
                </a:lnTo>
                <a:lnTo>
                  <a:pt x="3742" y="377"/>
                </a:lnTo>
                <a:lnTo>
                  <a:pt x="3747" y="377"/>
                </a:lnTo>
                <a:lnTo>
                  <a:pt x="3748" y="373"/>
                </a:lnTo>
                <a:lnTo>
                  <a:pt x="3745" y="371"/>
                </a:lnTo>
                <a:lnTo>
                  <a:pt x="3735" y="371"/>
                </a:lnTo>
                <a:lnTo>
                  <a:pt x="3738" y="367"/>
                </a:lnTo>
                <a:lnTo>
                  <a:pt x="3731" y="367"/>
                </a:lnTo>
                <a:lnTo>
                  <a:pt x="3729" y="364"/>
                </a:lnTo>
                <a:lnTo>
                  <a:pt x="3741" y="353"/>
                </a:lnTo>
                <a:lnTo>
                  <a:pt x="3752" y="358"/>
                </a:lnTo>
                <a:lnTo>
                  <a:pt x="3745" y="363"/>
                </a:lnTo>
                <a:lnTo>
                  <a:pt x="3748" y="362"/>
                </a:lnTo>
                <a:lnTo>
                  <a:pt x="3753" y="361"/>
                </a:lnTo>
                <a:lnTo>
                  <a:pt x="3759" y="362"/>
                </a:lnTo>
                <a:lnTo>
                  <a:pt x="3766" y="363"/>
                </a:lnTo>
                <a:lnTo>
                  <a:pt x="3783" y="370"/>
                </a:lnTo>
                <a:lnTo>
                  <a:pt x="3783" y="375"/>
                </a:lnTo>
                <a:lnTo>
                  <a:pt x="3783" y="375"/>
                </a:lnTo>
                <a:lnTo>
                  <a:pt x="3797" y="383"/>
                </a:lnTo>
                <a:lnTo>
                  <a:pt x="3815" y="380"/>
                </a:lnTo>
                <a:lnTo>
                  <a:pt x="3821" y="381"/>
                </a:lnTo>
                <a:lnTo>
                  <a:pt x="3819" y="385"/>
                </a:lnTo>
                <a:lnTo>
                  <a:pt x="3817" y="386"/>
                </a:lnTo>
                <a:lnTo>
                  <a:pt x="3816" y="388"/>
                </a:lnTo>
                <a:lnTo>
                  <a:pt x="3812" y="390"/>
                </a:lnTo>
                <a:lnTo>
                  <a:pt x="3807" y="393"/>
                </a:lnTo>
                <a:lnTo>
                  <a:pt x="3808" y="395"/>
                </a:lnTo>
                <a:lnTo>
                  <a:pt x="3808" y="397"/>
                </a:lnTo>
                <a:lnTo>
                  <a:pt x="3805" y="400"/>
                </a:lnTo>
                <a:lnTo>
                  <a:pt x="3808" y="405"/>
                </a:lnTo>
                <a:lnTo>
                  <a:pt x="3810" y="403"/>
                </a:lnTo>
                <a:lnTo>
                  <a:pt x="3812" y="400"/>
                </a:lnTo>
                <a:lnTo>
                  <a:pt x="3820" y="403"/>
                </a:lnTo>
                <a:lnTo>
                  <a:pt x="3819" y="409"/>
                </a:lnTo>
                <a:lnTo>
                  <a:pt x="3819" y="409"/>
                </a:lnTo>
                <a:lnTo>
                  <a:pt x="3819" y="414"/>
                </a:lnTo>
                <a:lnTo>
                  <a:pt x="3815" y="415"/>
                </a:lnTo>
                <a:lnTo>
                  <a:pt x="3815" y="415"/>
                </a:lnTo>
                <a:lnTo>
                  <a:pt x="3813" y="418"/>
                </a:lnTo>
                <a:lnTo>
                  <a:pt x="3811" y="420"/>
                </a:lnTo>
                <a:lnTo>
                  <a:pt x="3811" y="422"/>
                </a:lnTo>
                <a:lnTo>
                  <a:pt x="3819" y="426"/>
                </a:lnTo>
                <a:lnTo>
                  <a:pt x="3819" y="424"/>
                </a:lnTo>
                <a:lnTo>
                  <a:pt x="3819" y="423"/>
                </a:lnTo>
                <a:lnTo>
                  <a:pt x="3817" y="423"/>
                </a:lnTo>
                <a:lnTo>
                  <a:pt x="3824" y="423"/>
                </a:lnTo>
                <a:lnTo>
                  <a:pt x="3826" y="417"/>
                </a:lnTo>
                <a:lnTo>
                  <a:pt x="3824" y="414"/>
                </a:lnTo>
                <a:lnTo>
                  <a:pt x="3826" y="412"/>
                </a:lnTo>
                <a:lnTo>
                  <a:pt x="3824" y="403"/>
                </a:lnTo>
                <a:lnTo>
                  <a:pt x="3820" y="394"/>
                </a:lnTo>
                <a:lnTo>
                  <a:pt x="3823" y="389"/>
                </a:lnTo>
                <a:lnTo>
                  <a:pt x="3827" y="383"/>
                </a:lnTo>
                <a:lnTo>
                  <a:pt x="3823" y="377"/>
                </a:lnTo>
                <a:lnTo>
                  <a:pt x="3813" y="376"/>
                </a:lnTo>
                <a:lnTo>
                  <a:pt x="3809" y="373"/>
                </a:lnTo>
                <a:lnTo>
                  <a:pt x="3805" y="370"/>
                </a:lnTo>
                <a:lnTo>
                  <a:pt x="3806" y="369"/>
                </a:lnTo>
                <a:lnTo>
                  <a:pt x="3807" y="369"/>
                </a:lnTo>
                <a:lnTo>
                  <a:pt x="3806" y="367"/>
                </a:lnTo>
                <a:lnTo>
                  <a:pt x="3805" y="365"/>
                </a:lnTo>
                <a:lnTo>
                  <a:pt x="3790" y="363"/>
                </a:lnTo>
                <a:lnTo>
                  <a:pt x="3785" y="358"/>
                </a:lnTo>
                <a:lnTo>
                  <a:pt x="3786" y="353"/>
                </a:lnTo>
                <a:lnTo>
                  <a:pt x="3781" y="351"/>
                </a:lnTo>
                <a:lnTo>
                  <a:pt x="3783" y="347"/>
                </a:lnTo>
                <a:lnTo>
                  <a:pt x="3783" y="344"/>
                </a:lnTo>
                <a:lnTo>
                  <a:pt x="3778" y="343"/>
                </a:lnTo>
                <a:lnTo>
                  <a:pt x="3782" y="342"/>
                </a:lnTo>
                <a:lnTo>
                  <a:pt x="3776" y="342"/>
                </a:lnTo>
                <a:lnTo>
                  <a:pt x="3782" y="339"/>
                </a:lnTo>
                <a:lnTo>
                  <a:pt x="3778" y="335"/>
                </a:lnTo>
                <a:lnTo>
                  <a:pt x="3783" y="330"/>
                </a:lnTo>
                <a:lnTo>
                  <a:pt x="3779" y="330"/>
                </a:lnTo>
                <a:lnTo>
                  <a:pt x="3779" y="328"/>
                </a:lnTo>
                <a:lnTo>
                  <a:pt x="3780" y="327"/>
                </a:lnTo>
                <a:lnTo>
                  <a:pt x="3840" y="322"/>
                </a:lnTo>
                <a:lnTo>
                  <a:pt x="3849" y="324"/>
                </a:lnTo>
                <a:lnTo>
                  <a:pt x="3861" y="322"/>
                </a:lnTo>
                <a:lnTo>
                  <a:pt x="3876" y="322"/>
                </a:lnTo>
                <a:lnTo>
                  <a:pt x="3875" y="323"/>
                </a:lnTo>
                <a:lnTo>
                  <a:pt x="3868" y="325"/>
                </a:lnTo>
                <a:lnTo>
                  <a:pt x="3874" y="324"/>
                </a:lnTo>
                <a:lnTo>
                  <a:pt x="3872" y="326"/>
                </a:lnTo>
                <a:lnTo>
                  <a:pt x="3867" y="326"/>
                </a:lnTo>
                <a:lnTo>
                  <a:pt x="3860" y="330"/>
                </a:lnTo>
                <a:lnTo>
                  <a:pt x="3879" y="326"/>
                </a:lnTo>
                <a:lnTo>
                  <a:pt x="3886" y="319"/>
                </a:lnTo>
                <a:lnTo>
                  <a:pt x="3880" y="321"/>
                </a:lnTo>
                <a:lnTo>
                  <a:pt x="3875" y="318"/>
                </a:lnTo>
                <a:lnTo>
                  <a:pt x="3882" y="318"/>
                </a:lnTo>
                <a:lnTo>
                  <a:pt x="3880" y="314"/>
                </a:lnTo>
                <a:lnTo>
                  <a:pt x="3874" y="314"/>
                </a:lnTo>
                <a:lnTo>
                  <a:pt x="3872" y="310"/>
                </a:lnTo>
                <a:lnTo>
                  <a:pt x="3868" y="310"/>
                </a:lnTo>
                <a:lnTo>
                  <a:pt x="3859" y="307"/>
                </a:lnTo>
                <a:lnTo>
                  <a:pt x="3859" y="304"/>
                </a:lnTo>
                <a:lnTo>
                  <a:pt x="3865" y="307"/>
                </a:lnTo>
                <a:lnTo>
                  <a:pt x="3861" y="303"/>
                </a:lnTo>
                <a:lnTo>
                  <a:pt x="3867" y="301"/>
                </a:lnTo>
                <a:lnTo>
                  <a:pt x="3865" y="301"/>
                </a:lnTo>
                <a:lnTo>
                  <a:pt x="3865" y="301"/>
                </a:lnTo>
                <a:lnTo>
                  <a:pt x="3863" y="300"/>
                </a:lnTo>
                <a:lnTo>
                  <a:pt x="3858" y="298"/>
                </a:lnTo>
                <a:lnTo>
                  <a:pt x="3862" y="293"/>
                </a:lnTo>
                <a:lnTo>
                  <a:pt x="3871" y="296"/>
                </a:lnTo>
                <a:lnTo>
                  <a:pt x="3871" y="298"/>
                </a:lnTo>
                <a:lnTo>
                  <a:pt x="3872" y="298"/>
                </a:lnTo>
                <a:lnTo>
                  <a:pt x="3880" y="288"/>
                </a:lnTo>
                <a:lnTo>
                  <a:pt x="3879" y="285"/>
                </a:lnTo>
                <a:lnTo>
                  <a:pt x="3883" y="287"/>
                </a:lnTo>
                <a:lnTo>
                  <a:pt x="3886" y="285"/>
                </a:lnTo>
                <a:lnTo>
                  <a:pt x="3874" y="284"/>
                </a:lnTo>
                <a:lnTo>
                  <a:pt x="3875" y="280"/>
                </a:lnTo>
                <a:lnTo>
                  <a:pt x="3889" y="281"/>
                </a:lnTo>
                <a:lnTo>
                  <a:pt x="3898" y="275"/>
                </a:lnTo>
                <a:lnTo>
                  <a:pt x="3907" y="270"/>
                </a:lnTo>
                <a:lnTo>
                  <a:pt x="3910" y="271"/>
                </a:lnTo>
                <a:lnTo>
                  <a:pt x="3912" y="273"/>
                </a:lnTo>
                <a:lnTo>
                  <a:pt x="3915" y="271"/>
                </a:lnTo>
                <a:lnTo>
                  <a:pt x="3919" y="269"/>
                </a:lnTo>
                <a:lnTo>
                  <a:pt x="3931" y="266"/>
                </a:lnTo>
                <a:lnTo>
                  <a:pt x="3942" y="266"/>
                </a:lnTo>
                <a:lnTo>
                  <a:pt x="3944" y="265"/>
                </a:lnTo>
                <a:lnTo>
                  <a:pt x="3980" y="258"/>
                </a:lnTo>
                <a:lnTo>
                  <a:pt x="3969" y="258"/>
                </a:lnTo>
                <a:lnTo>
                  <a:pt x="3969" y="258"/>
                </a:lnTo>
                <a:lnTo>
                  <a:pt x="3969" y="258"/>
                </a:lnTo>
                <a:lnTo>
                  <a:pt x="3966" y="254"/>
                </a:lnTo>
                <a:lnTo>
                  <a:pt x="3963" y="257"/>
                </a:lnTo>
                <a:lnTo>
                  <a:pt x="3963" y="258"/>
                </a:lnTo>
                <a:lnTo>
                  <a:pt x="3959" y="258"/>
                </a:lnTo>
                <a:lnTo>
                  <a:pt x="3960" y="256"/>
                </a:lnTo>
                <a:lnTo>
                  <a:pt x="3961" y="254"/>
                </a:lnTo>
                <a:lnTo>
                  <a:pt x="3966" y="254"/>
                </a:lnTo>
                <a:lnTo>
                  <a:pt x="3968" y="256"/>
                </a:lnTo>
                <a:lnTo>
                  <a:pt x="3978" y="255"/>
                </a:lnTo>
                <a:lnTo>
                  <a:pt x="3972" y="254"/>
                </a:lnTo>
                <a:lnTo>
                  <a:pt x="3984" y="254"/>
                </a:lnTo>
                <a:lnTo>
                  <a:pt x="3984" y="254"/>
                </a:lnTo>
                <a:lnTo>
                  <a:pt x="3985" y="254"/>
                </a:lnTo>
                <a:lnTo>
                  <a:pt x="3985" y="254"/>
                </a:lnTo>
                <a:lnTo>
                  <a:pt x="3985" y="254"/>
                </a:lnTo>
                <a:lnTo>
                  <a:pt x="3986" y="254"/>
                </a:lnTo>
                <a:lnTo>
                  <a:pt x="4010" y="256"/>
                </a:lnTo>
                <a:lnTo>
                  <a:pt x="4000" y="262"/>
                </a:lnTo>
                <a:lnTo>
                  <a:pt x="4002" y="262"/>
                </a:lnTo>
                <a:lnTo>
                  <a:pt x="4005" y="259"/>
                </a:lnTo>
                <a:lnTo>
                  <a:pt x="4013" y="255"/>
                </a:lnTo>
                <a:lnTo>
                  <a:pt x="4014" y="258"/>
                </a:lnTo>
                <a:lnTo>
                  <a:pt x="4013" y="259"/>
                </a:lnTo>
                <a:lnTo>
                  <a:pt x="4025" y="254"/>
                </a:lnTo>
                <a:lnTo>
                  <a:pt x="4025" y="254"/>
                </a:lnTo>
                <a:lnTo>
                  <a:pt x="4023" y="258"/>
                </a:lnTo>
                <a:lnTo>
                  <a:pt x="4032" y="255"/>
                </a:lnTo>
                <a:lnTo>
                  <a:pt x="4028" y="254"/>
                </a:lnTo>
                <a:lnTo>
                  <a:pt x="4033" y="254"/>
                </a:lnTo>
                <a:lnTo>
                  <a:pt x="4037" y="254"/>
                </a:lnTo>
                <a:lnTo>
                  <a:pt x="4039" y="254"/>
                </a:lnTo>
                <a:lnTo>
                  <a:pt x="4033" y="252"/>
                </a:lnTo>
                <a:lnTo>
                  <a:pt x="4046" y="248"/>
                </a:lnTo>
                <a:lnTo>
                  <a:pt x="4044" y="250"/>
                </a:lnTo>
                <a:lnTo>
                  <a:pt x="4054" y="250"/>
                </a:lnTo>
                <a:lnTo>
                  <a:pt x="4053" y="252"/>
                </a:lnTo>
                <a:lnTo>
                  <a:pt x="4051" y="254"/>
                </a:lnTo>
                <a:lnTo>
                  <a:pt x="4056" y="254"/>
                </a:lnTo>
                <a:lnTo>
                  <a:pt x="4058" y="253"/>
                </a:lnTo>
                <a:lnTo>
                  <a:pt x="4060" y="253"/>
                </a:lnTo>
                <a:lnTo>
                  <a:pt x="4060" y="253"/>
                </a:lnTo>
                <a:lnTo>
                  <a:pt x="4057" y="247"/>
                </a:lnTo>
                <a:lnTo>
                  <a:pt x="4054" y="245"/>
                </a:lnTo>
                <a:lnTo>
                  <a:pt x="4050" y="243"/>
                </a:lnTo>
                <a:lnTo>
                  <a:pt x="4046" y="241"/>
                </a:lnTo>
                <a:lnTo>
                  <a:pt x="4076" y="239"/>
                </a:lnTo>
                <a:lnTo>
                  <a:pt x="4076" y="238"/>
                </a:lnTo>
                <a:lnTo>
                  <a:pt x="4080" y="238"/>
                </a:lnTo>
                <a:lnTo>
                  <a:pt x="4081" y="232"/>
                </a:lnTo>
                <a:lnTo>
                  <a:pt x="4077" y="228"/>
                </a:lnTo>
                <a:lnTo>
                  <a:pt x="4078" y="226"/>
                </a:lnTo>
                <a:lnTo>
                  <a:pt x="4080" y="226"/>
                </a:lnTo>
                <a:lnTo>
                  <a:pt x="4080" y="220"/>
                </a:lnTo>
                <a:lnTo>
                  <a:pt x="4095" y="212"/>
                </a:lnTo>
                <a:lnTo>
                  <a:pt x="4096" y="212"/>
                </a:lnTo>
                <a:lnTo>
                  <a:pt x="4098" y="213"/>
                </a:lnTo>
                <a:lnTo>
                  <a:pt x="4104" y="208"/>
                </a:lnTo>
                <a:lnTo>
                  <a:pt x="4110" y="204"/>
                </a:lnTo>
                <a:lnTo>
                  <a:pt x="4125" y="202"/>
                </a:lnTo>
                <a:lnTo>
                  <a:pt x="4128" y="202"/>
                </a:lnTo>
                <a:lnTo>
                  <a:pt x="4127" y="203"/>
                </a:lnTo>
                <a:lnTo>
                  <a:pt x="4125" y="204"/>
                </a:lnTo>
                <a:lnTo>
                  <a:pt x="4129" y="203"/>
                </a:lnTo>
                <a:lnTo>
                  <a:pt x="4132" y="203"/>
                </a:lnTo>
                <a:lnTo>
                  <a:pt x="4136" y="210"/>
                </a:lnTo>
                <a:lnTo>
                  <a:pt x="4143" y="210"/>
                </a:lnTo>
                <a:lnTo>
                  <a:pt x="4148" y="210"/>
                </a:lnTo>
                <a:lnTo>
                  <a:pt x="4150" y="211"/>
                </a:lnTo>
                <a:lnTo>
                  <a:pt x="4151" y="212"/>
                </a:lnTo>
                <a:lnTo>
                  <a:pt x="4155" y="214"/>
                </a:lnTo>
                <a:lnTo>
                  <a:pt x="4147" y="214"/>
                </a:lnTo>
                <a:lnTo>
                  <a:pt x="4143" y="217"/>
                </a:lnTo>
                <a:lnTo>
                  <a:pt x="4124" y="220"/>
                </a:lnTo>
                <a:lnTo>
                  <a:pt x="4137" y="220"/>
                </a:lnTo>
                <a:lnTo>
                  <a:pt x="4150" y="219"/>
                </a:lnTo>
                <a:lnTo>
                  <a:pt x="4148" y="223"/>
                </a:lnTo>
                <a:lnTo>
                  <a:pt x="4146" y="224"/>
                </a:lnTo>
                <a:lnTo>
                  <a:pt x="4143" y="224"/>
                </a:lnTo>
                <a:lnTo>
                  <a:pt x="4162" y="223"/>
                </a:lnTo>
                <a:lnTo>
                  <a:pt x="4167" y="225"/>
                </a:lnTo>
                <a:lnTo>
                  <a:pt x="4172" y="227"/>
                </a:lnTo>
                <a:lnTo>
                  <a:pt x="4171" y="228"/>
                </a:lnTo>
                <a:lnTo>
                  <a:pt x="4169" y="230"/>
                </a:lnTo>
                <a:lnTo>
                  <a:pt x="4170" y="230"/>
                </a:lnTo>
                <a:lnTo>
                  <a:pt x="4159" y="238"/>
                </a:lnTo>
                <a:lnTo>
                  <a:pt x="4152" y="238"/>
                </a:lnTo>
                <a:lnTo>
                  <a:pt x="4152" y="242"/>
                </a:lnTo>
                <a:lnTo>
                  <a:pt x="4179" y="242"/>
                </a:lnTo>
                <a:lnTo>
                  <a:pt x="4179" y="237"/>
                </a:lnTo>
                <a:lnTo>
                  <a:pt x="4176" y="235"/>
                </a:lnTo>
                <a:lnTo>
                  <a:pt x="4176" y="232"/>
                </a:lnTo>
                <a:lnTo>
                  <a:pt x="4208" y="235"/>
                </a:lnTo>
                <a:lnTo>
                  <a:pt x="4225" y="232"/>
                </a:lnTo>
                <a:lnTo>
                  <a:pt x="4242" y="241"/>
                </a:lnTo>
                <a:lnTo>
                  <a:pt x="4237" y="243"/>
                </a:lnTo>
                <a:lnTo>
                  <a:pt x="4243" y="241"/>
                </a:lnTo>
                <a:lnTo>
                  <a:pt x="4249" y="246"/>
                </a:lnTo>
                <a:lnTo>
                  <a:pt x="4248" y="248"/>
                </a:lnTo>
                <a:lnTo>
                  <a:pt x="4251" y="251"/>
                </a:lnTo>
                <a:lnTo>
                  <a:pt x="4247" y="254"/>
                </a:lnTo>
                <a:lnTo>
                  <a:pt x="4252" y="253"/>
                </a:lnTo>
                <a:lnTo>
                  <a:pt x="4257" y="252"/>
                </a:lnTo>
                <a:lnTo>
                  <a:pt x="4257" y="258"/>
                </a:lnTo>
                <a:lnTo>
                  <a:pt x="4260" y="258"/>
                </a:lnTo>
                <a:lnTo>
                  <a:pt x="4263" y="257"/>
                </a:lnTo>
                <a:lnTo>
                  <a:pt x="4265" y="260"/>
                </a:lnTo>
                <a:lnTo>
                  <a:pt x="4263" y="267"/>
                </a:lnTo>
                <a:lnTo>
                  <a:pt x="4262" y="268"/>
                </a:lnTo>
                <a:lnTo>
                  <a:pt x="4261" y="270"/>
                </a:lnTo>
                <a:lnTo>
                  <a:pt x="4262" y="270"/>
                </a:lnTo>
                <a:lnTo>
                  <a:pt x="4263" y="272"/>
                </a:lnTo>
                <a:lnTo>
                  <a:pt x="4263" y="274"/>
                </a:lnTo>
                <a:lnTo>
                  <a:pt x="4261" y="274"/>
                </a:lnTo>
                <a:lnTo>
                  <a:pt x="4262" y="276"/>
                </a:lnTo>
                <a:lnTo>
                  <a:pt x="4251" y="286"/>
                </a:lnTo>
                <a:lnTo>
                  <a:pt x="4241" y="289"/>
                </a:lnTo>
                <a:lnTo>
                  <a:pt x="4236" y="298"/>
                </a:lnTo>
                <a:lnTo>
                  <a:pt x="4230" y="298"/>
                </a:lnTo>
                <a:lnTo>
                  <a:pt x="4227" y="298"/>
                </a:lnTo>
                <a:lnTo>
                  <a:pt x="4224" y="299"/>
                </a:lnTo>
                <a:lnTo>
                  <a:pt x="4214" y="302"/>
                </a:lnTo>
                <a:lnTo>
                  <a:pt x="4215" y="302"/>
                </a:lnTo>
                <a:lnTo>
                  <a:pt x="4213" y="306"/>
                </a:lnTo>
                <a:lnTo>
                  <a:pt x="4209" y="307"/>
                </a:lnTo>
                <a:lnTo>
                  <a:pt x="4207" y="310"/>
                </a:lnTo>
                <a:lnTo>
                  <a:pt x="4196" y="314"/>
                </a:lnTo>
                <a:lnTo>
                  <a:pt x="4189" y="319"/>
                </a:lnTo>
                <a:lnTo>
                  <a:pt x="4183" y="324"/>
                </a:lnTo>
                <a:lnTo>
                  <a:pt x="4174" y="325"/>
                </a:lnTo>
                <a:lnTo>
                  <a:pt x="4164" y="326"/>
                </a:lnTo>
                <a:lnTo>
                  <a:pt x="4164" y="327"/>
                </a:lnTo>
                <a:lnTo>
                  <a:pt x="4161" y="334"/>
                </a:lnTo>
                <a:lnTo>
                  <a:pt x="4151" y="335"/>
                </a:lnTo>
                <a:lnTo>
                  <a:pt x="4150" y="340"/>
                </a:lnTo>
                <a:lnTo>
                  <a:pt x="4148" y="344"/>
                </a:lnTo>
                <a:lnTo>
                  <a:pt x="4144" y="347"/>
                </a:lnTo>
                <a:lnTo>
                  <a:pt x="4140" y="351"/>
                </a:lnTo>
                <a:lnTo>
                  <a:pt x="4155" y="344"/>
                </a:lnTo>
                <a:lnTo>
                  <a:pt x="4153" y="341"/>
                </a:lnTo>
                <a:lnTo>
                  <a:pt x="4156" y="337"/>
                </a:lnTo>
                <a:lnTo>
                  <a:pt x="4162" y="339"/>
                </a:lnTo>
                <a:lnTo>
                  <a:pt x="4184" y="337"/>
                </a:lnTo>
                <a:lnTo>
                  <a:pt x="4184" y="336"/>
                </a:lnTo>
                <a:lnTo>
                  <a:pt x="4183" y="335"/>
                </a:lnTo>
                <a:lnTo>
                  <a:pt x="4190" y="334"/>
                </a:lnTo>
                <a:lnTo>
                  <a:pt x="4196" y="334"/>
                </a:lnTo>
                <a:lnTo>
                  <a:pt x="4196" y="330"/>
                </a:lnTo>
                <a:lnTo>
                  <a:pt x="4201" y="330"/>
                </a:lnTo>
                <a:lnTo>
                  <a:pt x="4198" y="326"/>
                </a:lnTo>
                <a:lnTo>
                  <a:pt x="4198" y="326"/>
                </a:lnTo>
                <a:lnTo>
                  <a:pt x="4198" y="326"/>
                </a:lnTo>
                <a:lnTo>
                  <a:pt x="4205" y="330"/>
                </a:lnTo>
                <a:lnTo>
                  <a:pt x="4213" y="327"/>
                </a:lnTo>
                <a:lnTo>
                  <a:pt x="4221" y="324"/>
                </a:lnTo>
                <a:lnTo>
                  <a:pt x="4221" y="322"/>
                </a:lnTo>
                <a:lnTo>
                  <a:pt x="4218" y="322"/>
                </a:lnTo>
                <a:lnTo>
                  <a:pt x="4212" y="323"/>
                </a:lnTo>
                <a:lnTo>
                  <a:pt x="4205" y="324"/>
                </a:lnTo>
                <a:lnTo>
                  <a:pt x="4204" y="323"/>
                </a:lnTo>
                <a:lnTo>
                  <a:pt x="4202" y="321"/>
                </a:lnTo>
                <a:lnTo>
                  <a:pt x="4205" y="318"/>
                </a:lnTo>
                <a:lnTo>
                  <a:pt x="4207" y="315"/>
                </a:lnTo>
                <a:lnTo>
                  <a:pt x="4213" y="314"/>
                </a:lnTo>
                <a:lnTo>
                  <a:pt x="4218" y="316"/>
                </a:lnTo>
                <a:lnTo>
                  <a:pt x="4224" y="318"/>
                </a:lnTo>
                <a:lnTo>
                  <a:pt x="4225" y="316"/>
                </a:lnTo>
                <a:lnTo>
                  <a:pt x="4225" y="314"/>
                </a:lnTo>
                <a:lnTo>
                  <a:pt x="4232" y="313"/>
                </a:lnTo>
                <a:lnTo>
                  <a:pt x="4227" y="315"/>
                </a:lnTo>
                <a:lnTo>
                  <a:pt x="4230" y="319"/>
                </a:lnTo>
                <a:lnTo>
                  <a:pt x="4242" y="323"/>
                </a:lnTo>
                <a:lnTo>
                  <a:pt x="4251" y="321"/>
                </a:lnTo>
                <a:lnTo>
                  <a:pt x="4252" y="320"/>
                </a:lnTo>
                <a:lnTo>
                  <a:pt x="4252" y="319"/>
                </a:lnTo>
                <a:lnTo>
                  <a:pt x="4252" y="317"/>
                </a:lnTo>
                <a:lnTo>
                  <a:pt x="4251" y="314"/>
                </a:lnTo>
                <a:lnTo>
                  <a:pt x="4255" y="319"/>
                </a:lnTo>
                <a:lnTo>
                  <a:pt x="4259" y="324"/>
                </a:lnTo>
                <a:lnTo>
                  <a:pt x="4255" y="331"/>
                </a:lnTo>
                <a:lnTo>
                  <a:pt x="4256" y="333"/>
                </a:lnTo>
                <a:lnTo>
                  <a:pt x="4257" y="334"/>
                </a:lnTo>
                <a:lnTo>
                  <a:pt x="4257" y="335"/>
                </a:lnTo>
                <a:lnTo>
                  <a:pt x="4263" y="337"/>
                </a:lnTo>
                <a:lnTo>
                  <a:pt x="4262" y="334"/>
                </a:lnTo>
                <a:lnTo>
                  <a:pt x="4261" y="330"/>
                </a:lnTo>
                <a:lnTo>
                  <a:pt x="4289" y="323"/>
                </a:lnTo>
                <a:lnTo>
                  <a:pt x="4336" y="327"/>
                </a:lnTo>
                <a:lnTo>
                  <a:pt x="4338" y="328"/>
                </a:lnTo>
                <a:lnTo>
                  <a:pt x="4341" y="330"/>
                </a:lnTo>
                <a:lnTo>
                  <a:pt x="4333" y="330"/>
                </a:lnTo>
                <a:lnTo>
                  <a:pt x="4331" y="330"/>
                </a:lnTo>
                <a:lnTo>
                  <a:pt x="4329" y="331"/>
                </a:lnTo>
                <a:lnTo>
                  <a:pt x="4329" y="337"/>
                </a:lnTo>
                <a:lnTo>
                  <a:pt x="4339" y="340"/>
                </a:lnTo>
                <a:lnTo>
                  <a:pt x="4348" y="342"/>
                </a:lnTo>
                <a:lnTo>
                  <a:pt x="4352" y="346"/>
                </a:lnTo>
                <a:lnTo>
                  <a:pt x="4357" y="347"/>
                </a:lnTo>
                <a:lnTo>
                  <a:pt x="4362" y="347"/>
                </a:lnTo>
                <a:lnTo>
                  <a:pt x="4357" y="346"/>
                </a:lnTo>
                <a:lnTo>
                  <a:pt x="4352" y="346"/>
                </a:lnTo>
                <a:lnTo>
                  <a:pt x="4381" y="346"/>
                </a:lnTo>
                <a:lnTo>
                  <a:pt x="4390" y="348"/>
                </a:lnTo>
                <a:lnTo>
                  <a:pt x="4389" y="346"/>
                </a:lnTo>
                <a:lnTo>
                  <a:pt x="4406" y="350"/>
                </a:lnTo>
                <a:lnTo>
                  <a:pt x="4399" y="350"/>
                </a:lnTo>
                <a:lnTo>
                  <a:pt x="4402" y="354"/>
                </a:lnTo>
                <a:lnTo>
                  <a:pt x="4408" y="354"/>
                </a:lnTo>
                <a:lnTo>
                  <a:pt x="4423" y="355"/>
                </a:lnTo>
                <a:lnTo>
                  <a:pt x="4444" y="365"/>
                </a:lnTo>
                <a:lnTo>
                  <a:pt x="4444" y="365"/>
                </a:lnTo>
                <a:lnTo>
                  <a:pt x="4423" y="352"/>
                </a:lnTo>
                <a:lnTo>
                  <a:pt x="4406" y="348"/>
                </a:lnTo>
                <a:lnTo>
                  <a:pt x="4389" y="344"/>
                </a:lnTo>
                <a:lnTo>
                  <a:pt x="4391" y="343"/>
                </a:lnTo>
                <a:lnTo>
                  <a:pt x="4393" y="342"/>
                </a:lnTo>
                <a:lnTo>
                  <a:pt x="4397" y="344"/>
                </a:lnTo>
                <a:lnTo>
                  <a:pt x="4401" y="346"/>
                </a:lnTo>
                <a:lnTo>
                  <a:pt x="4401" y="345"/>
                </a:lnTo>
                <a:lnTo>
                  <a:pt x="4402" y="344"/>
                </a:lnTo>
                <a:lnTo>
                  <a:pt x="4404" y="339"/>
                </a:lnTo>
                <a:lnTo>
                  <a:pt x="4407" y="338"/>
                </a:lnTo>
                <a:lnTo>
                  <a:pt x="4405" y="338"/>
                </a:lnTo>
                <a:lnTo>
                  <a:pt x="4397" y="333"/>
                </a:lnTo>
                <a:lnTo>
                  <a:pt x="4397" y="327"/>
                </a:lnTo>
                <a:lnTo>
                  <a:pt x="4401" y="325"/>
                </a:lnTo>
                <a:lnTo>
                  <a:pt x="4404" y="324"/>
                </a:lnTo>
                <a:lnTo>
                  <a:pt x="4408" y="325"/>
                </a:lnTo>
                <a:lnTo>
                  <a:pt x="4411" y="326"/>
                </a:lnTo>
                <a:lnTo>
                  <a:pt x="4410" y="323"/>
                </a:lnTo>
                <a:lnTo>
                  <a:pt x="4409" y="321"/>
                </a:lnTo>
                <a:lnTo>
                  <a:pt x="4413" y="324"/>
                </a:lnTo>
                <a:lnTo>
                  <a:pt x="4419" y="321"/>
                </a:lnTo>
                <a:lnTo>
                  <a:pt x="4422" y="324"/>
                </a:lnTo>
                <a:lnTo>
                  <a:pt x="4426" y="326"/>
                </a:lnTo>
                <a:lnTo>
                  <a:pt x="4429" y="325"/>
                </a:lnTo>
                <a:lnTo>
                  <a:pt x="4431" y="330"/>
                </a:lnTo>
                <a:lnTo>
                  <a:pt x="4437" y="330"/>
                </a:lnTo>
                <a:lnTo>
                  <a:pt x="4435" y="330"/>
                </a:lnTo>
                <a:lnTo>
                  <a:pt x="4433" y="330"/>
                </a:lnTo>
                <a:lnTo>
                  <a:pt x="4433" y="333"/>
                </a:lnTo>
                <a:lnTo>
                  <a:pt x="4445" y="327"/>
                </a:lnTo>
                <a:lnTo>
                  <a:pt x="4447" y="330"/>
                </a:lnTo>
                <a:lnTo>
                  <a:pt x="4446" y="332"/>
                </a:lnTo>
                <a:lnTo>
                  <a:pt x="4444" y="334"/>
                </a:lnTo>
                <a:lnTo>
                  <a:pt x="4448" y="334"/>
                </a:lnTo>
                <a:lnTo>
                  <a:pt x="4449" y="341"/>
                </a:lnTo>
                <a:lnTo>
                  <a:pt x="4449" y="339"/>
                </a:lnTo>
                <a:lnTo>
                  <a:pt x="4449" y="337"/>
                </a:lnTo>
                <a:lnTo>
                  <a:pt x="4449" y="335"/>
                </a:lnTo>
                <a:lnTo>
                  <a:pt x="4449" y="333"/>
                </a:lnTo>
                <a:lnTo>
                  <a:pt x="4451" y="332"/>
                </a:lnTo>
                <a:lnTo>
                  <a:pt x="4453" y="330"/>
                </a:lnTo>
                <a:lnTo>
                  <a:pt x="4453" y="332"/>
                </a:lnTo>
                <a:lnTo>
                  <a:pt x="4453" y="334"/>
                </a:lnTo>
                <a:lnTo>
                  <a:pt x="4455" y="330"/>
                </a:lnTo>
                <a:lnTo>
                  <a:pt x="4453" y="330"/>
                </a:lnTo>
                <a:lnTo>
                  <a:pt x="4455" y="328"/>
                </a:lnTo>
                <a:lnTo>
                  <a:pt x="4457" y="327"/>
                </a:lnTo>
                <a:lnTo>
                  <a:pt x="4463" y="328"/>
                </a:lnTo>
                <a:lnTo>
                  <a:pt x="4470" y="329"/>
                </a:lnTo>
                <a:lnTo>
                  <a:pt x="4470" y="331"/>
                </a:lnTo>
                <a:lnTo>
                  <a:pt x="4471" y="333"/>
                </a:lnTo>
                <a:lnTo>
                  <a:pt x="4473" y="334"/>
                </a:lnTo>
                <a:lnTo>
                  <a:pt x="4475" y="334"/>
                </a:lnTo>
                <a:lnTo>
                  <a:pt x="4474" y="335"/>
                </a:lnTo>
                <a:lnTo>
                  <a:pt x="4474" y="335"/>
                </a:lnTo>
                <a:lnTo>
                  <a:pt x="4484" y="339"/>
                </a:lnTo>
                <a:lnTo>
                  <a:pt x="4483" y="340"/>
                </a:lnTo>
                <a:lnTo>
                  <a:pt x="4482" y="342"/>
                </a:lnTo>
                <a:lnTo>
                  <a:pt x="4487" y="341"/>
                </a:lnTo>
                <a:lnTo>
                  <a:pt x="4485" y="342"/>
                </a:lnTo>
                <a:lnTo>
                  <a:pt x="4484" y="344"/>
                </a:lnTo>
                <a:lnTo>
                  <a:pt x="4473" y="346"/>
                </a:lnTo>
                <a:lnTo>
                  <a:pt x="4473" y="347"/>
                </a:lnTo>
                <a:lnTo>
                  <a:pt x="4480" y="348"/>
                </a:lnTo>
                <a:lnTo>
                  <a:pt x="4487" y="350"/>
                </a:lnTo>
                <a:lnTo>
                  <a:pt x="4482" y="350"/>
                </a:lnTo>
                <a:lnTo>
                  <a:pt x="4481" y="350"/>
                </a:lnTo>
                <a:lnTo>
                  <a:pt x="4474" y="349"/>
                </a:lnTo>
                <a:lnTo>
                  <a:pt x="4473" y="349"/>
                </a:lnTo>
                <a:lnTo>
                  <a:pt x="4473" y="349"/>
                </a:lnTo>
                <a:lnTo>
                  <a:pt x="4472" y="349"/>
                </a:lnTo>
                <a:lnTo>
                  <a:pt x="4473" y="349"/>
                </a:lnTo>
                <a:lnTo>
                  <a:pt x="4473" y="350"/>
                </a:lnTo>
                <a:lnTo>
                  <a:pt x="4481" y="350"/>
                </a:lnTo>
                <a:lnTo>
                  <a:pt x="4491" y="352"/>
                </a:lnTo>
                <a:lnTo>
                  <a:pt x="4482" y="353"/>
                </a:lnTo>
                <a:lnTo>
                  <a:pt x="4484" y="357"/>
                </a:lnTo>
                <a:lnTo>
                  <a:pt x="4481" y="358"/>
                </a:lnTo>
                <a:lnTo>
                  <a:pt x="4477" y="355"/>
                </a:lnTo>
                <a:lnTo>
                  <a:pt x="4472" y="353"/>
                </a:lnTo>
                <a:lnTo>
                  <a:pt x="4477" y="353"/>
                </a:lnTo>
                <a:lnTo>
                  <a:pt x="4477" y="353"/>
                </a:lnTo>
                <a:lnTo>
                  <a:pt x="4461" y="353"/>
                </a:lnTo>
                <a:lnTo>
                  <a:pt x="4451" y="358"/>
                </a:lnTo>
                <a:lnTo>
                  <a:pt x="4449" y="358"/>
                </a:lnTo>
                <a:lnTo>
                  <a:pt x="4449" y="359"/>
                </a:lnTo>
                <a:lnTo>
                  <a:pt x="4448" y="359"/>
                </a:lnTo>
                <a:lnTo>
                  <a:pt x="4449" y="360"/>
                </a:lnTo>
                <a:lnTo>
                  <a:pt x="4449" y="361"/>
                </a:lnTo>
                <a:lnTo>
                  <a:pt x="4445" y="358"/>
                </a:lnTo>
                <a:lnTo>
                  <a:pt x="4447" y="361"/>
                </a:lnTo>
                <a:lnTo>
                  <a:pt x="4446" y="363"/>
                </a:lnTo>
                <a:lnTo>
                  <a:pt x="4444" y="365"/>
                </a:lnTo>
                <a:lnTo>
                  <a:pt x="4446" y="364"/>
                </a:lnTo>
                <a:lnTo>
                  <a:pt x="4447" y="363"/>
                </a:lnTo>
                <a:lnTo>
                  <a:pt x="4453" y="371"/>
                </a:lnTo>
                <a:lnTo>
                  <a:pt x="4453" y="365"/>
                </a:lnTo>
                <a:lnTo>
                  <a:pt x="4452" y="363"/>
                </a:lnTo>
                <a:lnTo>
                  <a:pt x="4464" y="363"/>
                </a:lnTo>
                <a:lnTo>
                  <a:pt x="4470" y="366"/>
                </a:lnTo>
                <a:lnTo>
                  <a:pt x="4474" y="370"/>
                </a:lnTo>
                <a:lnTo>
                  <a:pt x="4478" y="375"/>
                </a:lnTo>
                <a:lnTo>
                  <a:pt x="4481" y="380"/>
                </a:lnTo>
                <a:lnTo>
                  <a:pt x="4487" y="377"/>
                </a:lnTo>
                <a:lnTo>
                  <a:pt x="4487" y="375"/>
                </a:lnTo>
                <a:lnTo>
                  <a:pt x="4486" y="373"/>
                </a:lnTo>
                <a:lnTo>
                  <a:pt x="4486" y="373"/>
                </a:lnTo>
                <a:lnTo>
                  <a:pt x="4486" y="372"/>
                </a:lnTo>
                <a:lnTo>
                  <a:pt x="4494" y="383"/>
                </a:lnTo>
                <a:lnTo>
                  <a:pt x="4484" y="383"/>
                </a:lnTo>
                <a:lnTo>
                  <a:pt x="4482" y="383"/>
                </a:lnTo>
                <a:lnTo>
                  <a:pt x="4482" y="387"/>
                </a:lnTo>
                <a:lnTo>
                  <a:pt x="4487" y="387"/>
                </a:lnTo>
                <a:lnTo>
                  <a:pt x="4491" y="393"/>
                </a:lnTo>
                <a:lnTo>
                  <a:pt x="4494" y="393"/>
                </a:lnTo>
                <a:lnTo>
                  <a:pt x="4494" y="399"/>
                </a:lnTo>
                <a:lnTo>
                  <a:pt x="4500" y="399"/>
                </a:lnTo>
                <a:lnTo>
                  <a:pt x="4504" y="403"/>
                </a:lnTo>
                <a:lnTo>
                  <a:pt x="4501" y="403"/>
                </a:lnTo>
                <a:lnTo>
                  <a:pt x="4504" y="403"/>
                </a:lnTo>
                <a:lnTo>
                  <a:pt x="4507" y="404"/>
                </a:lnTo>
                <a:lnTo>
                  <a:pt x="4510" y="400"/>
                </a:lnTo>
                <a:lnTo>
                  <a:pt x="4510" y="400"/>
                </a:lnTo>
                <a:lnTo>
                  <a:pt x="4510" y="400"/>
                </a:lnTo>
                <a:lnTo>
                  <a:pt x="4511" y="406"/>
                </a:lnTo>
                <a:lnTo>
                  <a:pt x="4513" y="411"/>
                </a:lnTo>
                <a:lnTo>
                  <a:pt x="4517" y="411"/>
                </a:lnTo>
                <a:lnTo>
                  <a:pt x="4520" y="408"/>
                </a:lnTo>
                <a:lnTo>
                  <a:pt x="4523" y="404"/>
                </a:lnTo>
                <a:lnTo>
                  <a:pt x="4527" y="395"/>
                </a:lnTo>
                <a:lnTo>
                  <a:pt x="4532" y="395"/>
                </a:lnTo>
                <a:lnTo>
                  <a:pt x="4528" y="393"/>
                </a:lnTo>
                <a:lnTo>
                  <a:pt x="4532" y="381"/>
                </a:lnTo>
                <a:lnTo>
                  <a:pt x="4538" y="376"/>
                </a:lnTo>
                <a:lnTo>
                  <a:pt x="4538" y="380"/>
                </a:lnTo>
                <a:lnTo>
                  <a:pt x="4552" y="388"/>
                </a:lnTo>
                <a:lnTo>
                  <a:pt x="4564" y="392"/>
                </a:lnTo>
                <a:lnTo>
                  <a:pt x="4574" y="387"/>
                </a:lnTo>
                <a:lnTo>
                  <a:pt x="4584" y="383"/>
                </a:lnTo>
                <a:lnTo>
                  <a:pt x="4597" y="388"/>
                </a:lnTo>
                <a:lnTo>
                  <a:pt x="4609" y="393"/>
                </a:lnTo>
                <a:lnTo>
                  <a:pt x="4606" y="395"/>
                </a:lnTo>
                <a:lnTo>
                  <a:pt x="4610" y="395"/>
                </a:lnTo>
                <a:lnTo>
                  <a:pt x="4611" y="396"/>
                </a:lnTo>
                <a:lnTo>
                  <a:pt x="4613" y="397"/>
                </a:lnTo>
                <a:lnTo>
                  <a:pt x="4617" y="397"/>
                </a:lnTo>
                <a:lnTo>
                  <a:pt x="4614" y="396"/>
                </a:lnTo>
                <a:lnTo>
                  <a:pt x="4612" y="396"/>
                </a:lnTo>
                <a:lnTo>
                  <a:pt x="4616" y="395"/>
                </a:lnTo>
                <a:lnTo>
                  <a:pt x="4619" y="393"/>
                </a:lnTo>
                <a:lnTo>
                  <a:pt x="4616" y="390"/>
                </a:lnTo>
                <a:lnTo>
                  <a:pt x="4613" y="389"/>
                </a:lnTo>
                <a:lnTo>
                  <a:pt x="4617" y="385"/>
                </a:lnTo>
                <a:lnTo>
                  <a:pt x="4620" y="384"/>
                </a:lnTo>
                <a:lnTo>
                  <a:pt x="4623" y="383"/>
                </a:lnTo>
                <a:lnTo>
                  <a:pt x="4621" y="385"/>
                </a:lnTo>
                <a:lnTo>
                  <a:pt x="4623" y="386"/>
                </a:lnTo>
                <a:lnTo>
                  <a:pt x="4625" y="385"/>
                </a:lnTo>
                <a:lnTo>
                  <a:pt x="4626" y="383"/>
                </a:lnTo>
                <a:lnTo>
                  <a:pt x="4628" y="384"/>
                </a:lnTo>
                <a:lnTo>
                  <a:pt x="4631" y="385"/>
                </a:lnTo>
                <a:lnTo>
                  <a:pt x="4631" y="388"/>
                </a:lnTo>
                <a:lnTo>
                  <a:pt x="4632" y="391"/>
                </a:lnTo>
                <a:lnTo>
                  <a:pt x="4635" y="391"/>
                </a:lnTo>
                <a:lnTo>
                  <a:pt x="4636" y="388"/>
                </a:lnTo>
                <a:lnTo>
                  <a:pt x="4637" y="386"/>
                </a:lnTo>
                <a:lnTo>
                  <a:pt x="4642" y="388"/>
                </a:lnTo>
                <a:lnTo>
                  <a:pt x="4638" y="381"/>
                </a:lnTo>
                <a:lnTo>
                  <a:pt x="4638" y="376"/>
                </a:lnTo>
                <a:lnTo>
                  <a:pt x="4636" y="375"/>
                </a:lnTo>
                <a:lnTo>
                  <a:pt x="4638" y="375"/>
                </a:lnTo>
                <a:lnTo>
                  <a:pt x="4641" y="372"/>
                </a:lnTo>
                <a:lnTo>
                  <a:pt x="4643" y="369"/>
                </a:lnTo>
                <a:lnTo>
                  <a:pt x="4645" y="370"/>
                </a:lnTo>
                <a:lnTo>
                  <a:pt x="4649" y="367"/>
                </a:lnTo>
                <a:lnTo>
                  <a:pt x="4638" y="367"/>
                </a:lnTo>
                <a:lnTo>
                  <a:pt x="4637" y="368"/>
                </a:lnTo>
                <a:lnTo>
                  <a:pt x="4636" y="370"/>
                </a:lnTo>
                <a:lnTo>
                  <a:pt x="4633" y="368"/>
                </a:lnTo>
                <a:lnTo>
                  <a:pt x="4631" y="366"/>
                </a:lnTo>
                <a:lnTo>
                  <a:pt x="4638" y="359"/>
                </a:lnTo>
                <a:lnTo>
                  <a:pt x="4653" y="359"/>
                </a:lnTo>
                <a:lnTo>
                  <a:pt x="4658" y="357"/>
                </a:lnTo>
                <a:lnTo>
                  <a:pt x="4658" y="353"/>
                </a:lnTo>
                <a:lnTo>
                  <a:pt x="4653" y="350"/>
                </a:lnTo>
                <a:lnTo>
                  <a:pt x="4657" y="350"/>
                </a:lnTo>
                <a:lnTo>
                  <a:pt x="4674" y="352"/>
                </a:lnTo>
                <a:lnTo>
                  <a:pt x="4698" y="354"/>
                </a:lnTo>
                <a:lnTo>
                  <a:pt x="4723" y="359"/>
                </a:lnTo>
                <a:lnTo>
                  <a:pt x="4734" y="363"/>
                </a:lnTo>
                <a:lnTo>
                  <a:pt x="4740" y="365"/>
                </a:lnTo>
                <a:lnTo>
                  <a:pt x="4743" y="365"/>
                </a:lnTo>
                <a:lnTo>
                  <a:pt x="4747" y="364"/>
                </a:lnTo>
                <a:lnTo>
                  <a:pt x="4744" y="367"/>
                </a:lnTo>
                <a:lnTo>
                  <a:pt x="4744" y="367"/>
                </a:lnTo>
                <a:lnTo>
                  <a:pt x="4743" y="367"/>
                </a:lnTo>
                <a:lnTo>
                  <a:pt x="4731" y="375"/>
                </a:lnTo>
                <a:lnTo>
                  <a:pt x="4730" y="375"/>
                </a:lnTo>
                <a:lnTo>
                  <a:pt x="4730" y="371"/>
                </a:lnTo>
                <a:lnTo>
                  <a:pt x="4731" y="371"/>
                </a:lnTo>
                <a:lnTo>
                  <a:pt x="4729" y="367"/>
                </a:lnTo>
                <a:lnTo>
                  <a:pt x="4723" y="367"/>
                </a:lnTo>
                <a:lnTo>
                  <a:pt x="4720" y="363"/>
                </a:lnTo>
                <a:lnTo>
                  <a:pt x="4716" y="359"/>
                </a:lnTo>
                <a:lnTo>
                  <a:pt x="4715" y="360"/>
                </a:lnTo>
                <a:lnTo>
                  <a:pt x="4714" y="361"/>
                </a:lnTo>
                <a:lnTo>
                  <a:pt x="4710" y="366"/>
                </a:lnTo>
                <a:lnTo>
                  <a:pt x="4704" y="365"/>
                </a:lnTo>
                <a:lnTo>
                  <a:pt x="4706" y="367"/>
                </a:lnTo>
                <a:lnTo>
                  <a:pt x="4709" y="369"/>
                </a:lnTo>
                <a:lnTo>
                  <a:pt x="4712" y="369"/>
                </a:lnTo>
                <a:lnTo>
                  <a:pt x="4728" y="369"/>
                </a:lnTo>
                <a:lnTo>
                  <a:pt x="4727" y="375"/>
                </a:lnTo>
                <a:lnTo>
                  <a:pt x="4721" y="376"/>
                </a:lnTo>
                <a:lnTo>
                  <a:pt x="4719" y="375"/>
                </a:lnTo>
                <a:lnTo>
                  <a:pt x="4716" y="374"/>
                </a:lnTo>
                <a:lnTo>
                  <a:pt x="4720" y="377"/>
                </a:lnTo>
                <a:lnTo>
                  <a:pt x="4717" y="379"/>
                </a:lnTo>
                <a:lnTo>
                  <a:pt x="4714" y="380"/>
                </a:lnTo>
                <a:lnTo>
                  <a:pt x="4714" y="381"/>
                </a:lnTo>
                <a:lnTo>
                  <a:pt x="4720" y="383"/>
                </a:lnTo>
                <a:lnTo>
                  <a:pt x="4734" y="377"/>
                </a:lnTo>
                <a:lnTo>
                  <a:pt x="4742" y="370"/>
                </a:lnTo>
                <a:lnTo>
                  <a:pt x="4750" y="363"/>
                </a:lnTo>
                <a:lnTo>
                  <a:pt x="4777" y="366"/>
                </a:lnTo>
                <a:lnTo>
                  <a:pt x="4782" y="368"/>
                </a:lnTo>
                <a:lnTo>
                  <a:pt x="4786" y="370"/>
                </a:lnTo>
                <a:lnTo>
                  <a:pt x="4788" y="373"/>
                </a:lnTo>
                <a:lnTo>
                  <a:pt x="4791" y="376"/>
                </a:lnTo>
                <a:lnTo>
                  <a:pt x="4788" y="378"/>
                </a:lnTo>
                <a:lnTo>
                  <a:pt x="4786" y="380"/>
                </a:lnTo>
                <a:lnTo>
                  <a:pt x="4784" y="377"/>
                </a:lnTo>
                <a:lnTo>
                  <a:pt x="4781" y="374"/>
                </a:lnTo>
                <a:lnTo>
                  <a:pt x="4778" y="379"/>
                </a:lnTo>
                <a:lnTo>
                  <a:pt x="4779" y="379"/>
                </a:lnTo>
                <a:lnTo>
                  <a:pt x="4779" y="380"/>
                </a:lnTo>
                <a:lnTo>
                  <a:pt x="4774" y="377"/>
                </a:lnTo>
                <a:lnTo>
                  <a:pt x="4775" y="379"/>
                </a:lnTo>
                <a:lnTo>
                  <a:pt x="4777" y="380"/>
                </a:lnTo>
                <a:lnTo>
                  <a:pt x="4775" y="381"/>
                </a:lnTo>
                <a:lnTo>
                  <a:pt x="4774" y="382"/>
                </a:lnTo>
                <a:lnTo>
                  <a:pt x="4783" y="384"/>
                </a:lnTo>
                <a:lnTo>
                  <a:pt x="4792" y="387"/>
                </a:lnTo>
                <a:lnTo>
                  <a:pt x="4792" y="387"/>
                </a:lnTo>
                <a:lnTo>
                  <a:pt x="4789" y="387"/>
                </a:lnTo>
                <a:lnTo>
                  <a:pt x="4788" y="387"/>
                </a:lnTo>
                <a:lnTo>
                  <a:pt x="4788" y="388"/>
                </a:lnTo>
                <a:lnTo>
                  <a:pt x="4794" y="387"/>
                </a:lnTo>
                <a:lnTo>
                  <a:pt x="4800" y="386"/>
                </a:lnTo>
                <a:lnTo>
                  <a:pt x="4799" y="387"/>
                </a:lnTo>
                <a:lnTo>
                  <a:pt x="4799" y="387"/>
                </a:lnTo>
                <a:lnTo>
                  <a:pt x="4799" y="387"/>
                </a:lnTo>
                <a:lnTo>
                  <a:pt x="4797" y="390"/>
                </a:lnTo>
                <a:lnTo>
                  <a:pt x="4799" y="388"/>
                </a:lnTo>
                <a:lnTo>
                  <a:pt x="4799" y="389"/>
                </a:lnTo>
                <a:lnTo>
                  <a:pt x="4799" y="391"/>
                </a:lnTo>
                <a:lnTo>
                  <a:pt x="4799" y="393"/>
                </a:lnTo>
                <a:lnTo>
                  <a:pt x="4802" y="391"/>
                </a:lnTo>
                <a:lnTo>
                  <a:pt x="4806" y="389"/>
                </a:lnTo>
                <a:lnTo>
                  <a:pt x="4808" y="391"/>
                </a:lnTo>
                <a:lnTo>
                  <a:pt x="4811" y="392"/>
                </a:lnTo>
                <a:lnTo>
                  <a:pt x="4816" y="397"/>
                </a:lnTo>
                <a:lnTo>
                  <a:pt x="4821" y="403"/>
                </a:lnTo>
                <a:lnTo>
                  <a:pt x="4815" y="403"/>
                </a:lnTo>
                <a:lnTo>
                  <a:pt x="4821" y="405"/>
                </a:lnTo>
                <a:lnTo>
                  <a:pt x="4828" y="407"/>
                </a:lnTo>
                <a:lnTo>
                  <a:pt x="4843" y="407"/>
                </a:lnTo>
                <a:lnTo>
                  <a:pt x="4860" y="402"/>
                </a:lnTo>
                <a:lnTo>
                  <a:pt x="4876" y="397"/>
                </a:lnTo>
                <a:lnTo>
                  <a:pt x="4891" y="398"/>
                </a:lnTo>
                <a:lnTo>
                  <a:pt x="4906" y="399"/>
                </a:lnTo>
                <a:lnTo>
                  <a:pt x="4913" y="402"/>
                </a:lnTo>
                <a:lnTo>
                  <a:pt x="4921" y="404"/>
                </a:lnTo>
                <a:lnTo>
                  <a:pt x="4926" y="406"/>
                </a:lnTo>
                <a:lnTo>
                  <a:pt x="4931" y="409"/>
                </a:lnTo>
                <a:lnTo>
                  <a:pt x="4935" y="415"/>
                </a:lnTo>
                <a:lnTo>
                  <a:pt x="4935" y="420"/>
                </a:lnTo>
                <a:lnTo>
                  <a:pt x="4933" y="427"/>
                </a:lnTo>
                <a:lnTo>
                  <a:pt x="4931" y="427"/>
                </a:lnTo>
                <a:lnTo>
                  <a:pt x="4931" y="428"/>
                </a:lnTo>
                <a:lnTo>
                  <a:pt x="4931" y="431"/>
                </a:lnTo>
                <a:lnTo>
                  <a:pt x="4931" y="432"/>
                </a:lnTo>
                <a:lnTo>
                  <a:pt x="4950" y="438"/>
                </a:lnTo>
                <a:lnTo>
                  <a:pt x="4949" y="440"/>
                </a:lnTo>
                <a:lnTo>
                  <a:pt x="4948" y="442"/>
                </a:lnTo>
                <a:lnTo>
                  <a:pt x="4949" y="445"/>
                </a:lnTo>
                <a:lnTo>
                  <a:pt x="4951" y="449"/>
                </a:lnTo>
                <a:lnTo>
                  <a:pt x="4955" y="449"/>
                </a:lnTo>
                <a:lnTo>
                  <a:pt x="4955" y="443"/>
                </a:lnTo>
                <a:lnTo>
                  <a:pt x="4958" y="442"/>
                </a:lnTo>
                <a:lnTo>
                  <a:pt x="4959" y="442"/>
                </a:lnTo>
                <a:lnTo>
                  <a:pt x="4959" y="442"/>
                </a:lnTo>
                <a:lnTo>
                  <a:pt x="4970" y="437"/>
                </a:lnTo>
                <a:lnTo>
                  <a:pt x="4978" y="436"/>
                </a:lnTo>
                <a:lnTo>
                  <a:pt x="4987" y="435"/>
                </a:lnTo>
                <a:lnTo>
                  <a:pt x="4993" y="433"/>
                </a:lnTo>
                <a:lnTo>
                  <a:pt x="5001" y="437"/>
                </a:lnTo>
                <a:lnTo>
                  <a:pt x="5018" y="439"/>
                </a:lnTo>
                <a:lnTo>
                  <a:pt x="5034" y="441"/>
                </a:lnTo>
                <a:lnTo>
                  <a:pt x="5048" y="433"/>
                </a:lnTo>
                <a:lnTo>
                  <a:pt x="5056" y="438"/>
                </a:lnTo>
                <a:lnTo>
                  <a:pt x="5054" y="443"/>
                </a:lnTo>
                <a:lnTo>
                  <a:pt x="5056" y="447"/>
                </a:lnTo>
                <a:lnTo>
                  <a:pt x="5071" y="452"/>
                </a:lnTo>
                <a:lnTo>
                  <a:pt x="5073" y="458"/>
                </a:lnTo>
                <a:lnTo>
                  <a:pt x="5075" y="460"/>
                </a:lnTo>
                <a:lnTo>
                  <a:pt x="5080" y="459"/>
                </a:lnTo>
                <a:lnTo>
                  <a:pt x="5085" y="458"/>
                </a:lnTo>
                <a:lnTo>
                  <a:pt x="5088" y="457"/>
                </a:lnTo>
                <a:lnTo>
                  <a:pt x="5088" y="454"/>
                </a:lnTo>
                <a:lnTo>
                  <a:pt x="5095" y="452"/>
                </a:lnTo>
                <a:lnTo>
                  <a:pt x="5095" y="449"/>
                </a:lnTo>
                <a:lnTo>
                  <a:pt x="5093" y="445"/>
                </a:lnTo>
                <a:lnTo>
                  <a:pt x="5090" y="438"/>
                </a:lnTo>
                <a:lnTo>
                  <a:pt x="5086" y="438"/>
                </a:lnTo>
                <a:lnTo>
                  <a:pt x="5083" y="438"/>
                </a:lnTo>
                <a:lnTo>
                  <a:pt x="5085" y="435"/>
                </a:lnTo>
                <a:lnTo>
                  <a:pt x="5088" y="435"/>
                </a:lnTo>
                <a:lnTo>
                  <a:pt x="5088" y="427"/>
                </a:lnTo>
                <a:lnTo>
                  <a:pt x="5089" y="427"/>
                </a:lnTo>
                <a:lnTo>
                  <a:pt x="5119" y="431"/>
                </a:lnTo>
                <a:lnTo>
                  <a:pt x="5126" y="431"/>
                </a:lnTo>
                <a:lnTo>
                  <a:pt x="5126" y="431"/>
                </a:lnTo>
                <a:lnTo>
                  <a:pt x="5131" y="431"/>
                </a:lnTo>
                <a:lnTo>
                  <a:pt x="5137" y="432"/>
                </a:lnTo>
                <a:lnTo>
                  <a:pt x="5153" y="431"/>
                </a:lnTo>
                <a:lnTo>
                  <a:pt x="5169" y="431"/>
                </a:lnTo>
                <a:lnTo>
                  <a:pt x="5173" y="433"/>
                </a:lnTo>
                <a:lnTo>
                  <a:pt x="5178" y="435"/>
                </a:lnTo>
                <a:lnTo>
                  <a:pt x="5193" y="439"/>
                </a:lnTo>
                <a:lnTo>
                  <a:pt x="5208" y="443"/>
                </a:lnTo>
                <a:lnTo>
                  <a:pt x="5206" y="444"/>
                </a:lnTo>
                <a:lnTo>
                  <a:pt x="5205" y="445"/>
                </a:lnTo>
                <a:lnTo>
                  <a:pt x="5215" y="447"/>
                </a:lnTo>
                <a:lnTo>
                  <a:pt x="5224" y="453"/>
                </a:lnTo>
                <a:lnTo>
                  <a:pt x="5218" y="450"/>
                </a:lnTo>
                <a:lnTo>
                  <a:pt x="5222" y="455"/>
                </a:lnTo>
                <a:lnTo>
                  <a:pt x="5224" y="455"/>
                </a:lnTo>
                <a:lnTo>
                  <a:pt x="5226" y="456"/>
                </a:lnTo>
                <a:lnTo>
                  <a:pt x="5229" y="458"/>
                </a:lnTo>
                <a:lnTo>
                  <a:pt x="5230" y="455"/>
                </a:lnTo>
                <a:lnTo>
                  <a:pt x="5231" y="457"/>
                </a:lnTo>
                <a:lnTo>
                  <a:pt x="5231" y="458"/>
                </a:lnTo>
                <a:lnTo>
                  <a:pt x="5234" y="459"/>
                </a:lnTo>
                <a:lnTo>
                  <a:pt x="5238" y="460"/>
                </a:lnTo>
                <a:lnTo>
                  <a:pt x="5246" y="465"/>
                </a:lnTo>
                <a:lnTo>
                  <a:pt x="5240" y="464"/>
                </a:lnTo>
                <a:lnTo>
                  <a:pt x="5240" y="465"/>
                </a:lnTo>
                <a:lnTo>
                  <a:pt x="5246" y="467"/>
                </a:lnTo>
                <a:lnTo>
                  <a:pt x="5251" y="470"/>
                </a:lnTo>
                <a:lnTo>
                  <a:pt x="5253" y="472"/>
                </a:lnTo>
                <a:lnTo>
                  <a:pt x="5254" y="475"/>
                </a:lnTo>
                <a:lnTo>
                  <a:pt x="5257" y="475"/>
                </a:lnTo>
                <a:lnTo>
                  <a:pt x="5258" y="475"/>
                </a:lnTo>
                <a:lnTo>
                  <a:pt x="5263" y="475"/>
                </a:lnTo>
                <a:lnTo>
                  <a:pt x="5265" y="478"/>
                </a:lnTo>
                <a:lnTo>
                  <a:pt x="5290" y="488"/>
                </a:lnTo>
                <a:lnTo>
                  <a:pt x="5293" y="494"/>
                </a:lnTo>
                <a:lnTo>
                  <a:pt x="5291" y="499"/>
                </a:lnTo>
                <a:lnTo>
                  <a:pt x="5295" y="499"/>
                </a:lnTo>
                <a:lnTo>
                  <a:pt x="5296" y="495"/>
                </a:lnTo>
                <a:lnTo>
                  <a:pt x="5297" y="495"/>
                </a:lnTo>
                <a:lnTo>
                  <a:pt x="5297" y="499"/>
                </a:lnTo>
                <a:lnTo>
                  <a:pt x="5299" y="499"/>
                </a:lnTo>
                <a:lnTo>
                  <a:pt x="5297" y="501"/>
                </a:lnTo>
                <a:lnTo>
                  <a:pt x="5296" y="503"/>
                </a:lnTo>
                <a:lnTo>
                  <a:pt x="5299" y="510"/>
                </a:lnTo>
                <a:lnTo>
                  <a:pt x="5295" y="511"/>
                </a:lnTo>
                <a:lnTo>
                  <a:pt x="5301" y="515"/>
                </a:lnTo>
                <a:lnTo>
                  <a:pt x="5301" y="522"/>
                </a:lnTo>
                <a:lnTo>
                  <a:pt x="5308" y="518"/>
                </a:lnTo>
                <a:lnTo>
                  <a:pt x="5310" y="517"/>
                </a:lnTo>
                <a:lnTo>
                  <a:pt x="5309" y="516"/>
                </a:lnTo>
                <a:lnTo>
                  <a:pt x="5307" y="515"/>
                </a:lnTo>
                <a:lnTo>
                  <a:pt x="5310" y="511"/>
                </a:lnTo>
                <a:lnTo>
                  <a:pt x="5310" y="509"/>
                </a:lnTo>
                <a:lnTo>
                  <a:pt x="5309" y="506"/>
                </a:lnTo>
                <a:lnTo>
                  <a:pt x="5302" y="503"/>
                </a:lnTo>
                <a:lnTo>
                  <a:pt x="5315" y="500"/>
                </a:lnTo>
                <a:lnTo>
                  <a:pt x="5319" y="501"/>
                </a:lnTo>
                <a:lnTo>
                  <a:pt x="5323" y="503"/>
                </a:lnTo>
                <a:lnTo>
                  <a:pt x="5320" y="504"/>
                </a:lnTo>
                <a:lnTo>
                  <a:pt x="5317" y="506"/>
                </a:lnTo>
                <a:lnTo>
                  <a:pt x="5317" y="511"/>
                </a:lnTo>
                <a:lnTo>
                  <a:pt x="5324" y="511"/>
                </a:lnTo>
                <a:lnTo>
                  <a:pt x="5322" y="506"/>
                </a:lnTo>
                <a:lnTo>
                  <a:pt x="5324" y="504"/>
                </a:lnTo>
                <a:lnTo>
                  <a:pt x="5326" y="506"/>
                </a:lnTo>
                <a:lnTo>
                  <a:pt x="5329" y="508"/>
                </a:lnTo>
                <a:lnTo>
                  <a:pt x="5331" y="507"/>
                </a:lnTo>
                <a:lnTo>
                  <a:pt x="5333" y="506"/>
                </a:lnTo>
                <a:lnTo>
                  <a:pt x="5326" y="503"/>
                </a:lnTo>
                <a:lnTo>
                  <a:pt x="5333" y="504"/>
                </a:lnTo>
                <a:lnTo>
                  <a:pt x="5341" y="506"/>
                </a:lnTo>
                <a:lnTo>
                  <a:pt x="5341" y="510"/>
                </a:lnTo>
                <a:lnTo>
                  <a:pt x="5345" y="510"/>
                </a:lnTo>
                <a:lnTo>
                  <a:pt x="5345" y="514"/>
                </a:lnTo>
                <a:lnTo>
                  <a:pt x="5360" y="522"/>
                </a:lnTo>
                <a:lnTo>
                  <a:pt x="5360" y="523"/>
                </a:lnTo>
                <a:lnTo>
                  <a:pt x="5363" y="522"/>
                </a:lnTo>
                <a:lnTo>
                  <a:pt x="5367" y="524"/>
                </a:lnTo>
                <a:lnTo>
                  <a:pt x="5366" y="527"/>
                </a:lnTo>
                <a:lnTo>
                  <a:pt x="5371" y="527"/>
                </a:lnTo>
                <a:lnTo>
                  <a:pt x="5373" y="529"/>
                </a:lnTo>
                <a:close/>
                <a:moveTo>
                  <a:pt x="4734" y="369"/>
                </a:moveTo>
                <a:lnTo>
                  <a:pt x="4731" y="372"/>
                </a:lnTo>
                <a:lnTo>
                  <a:pt x="4734" y="371"/>
                </a:lnTo>
                <a:lnTo>
                  <a:pt x="4736" y="370"/>
                </a:lnTo>
                <a:lnTo>
                  <a:pt x="4735" y="369"/>
                </a:lnTo>
                <a:lnTo>
                  <a:pt x="4734" y="369"/>
                </a:lnTo>
                <a:close/>
                <a:moveTo>
                  <a:pt x="4728" y="367"/>
                </a:moveTo>
                <a:lnTo>
                  <a:pt x="4729" y="367"/>
                </a:lnTo>
                <a:lnTo>
                  <a:pt x="4729" y="367"/>
                </a:lnTo>
                <a:lnTo>
                  <a:pt x="4729" y="366"/>
                </a:lnTo>
                <a:lnTo>
                  <a:pt x="4728" y="366"/>
                </a:lnTo>
                <a:lnTo>
                  <a:pt x="4728" y="367"/>
                </a:lnTo>
                <a:lnTo>
                  <a:pt x="4728" y="367"/>
                </a:lnTo>
                <a:close/>
                <a:moveTo>
                  <a:pt x="4445" y="347"/>
                </a:moveTo>
                <a:lnTo>
                  <a:pt x="4447" y="349"/>
                </a:lnTo>
                <a:lnTo>
                  <a:pt x="4445" y="358"/>
                </a:lnTo>
                <a:lnTo>
                  <a:pt x="4447" y="352"/>
                </a:lnTo>
                <a:lnTo>
                  <a:pt x="4448" y="349"/>
                </a:lnTo>
                <a:lnTo>
                  <a:pt x="4447" y="346"/>
                </a:lnTo>
                <a:lnTo>
                  <a:pt x="4450" y="343"/>
                </a:lnTo>
                <a:lnTo>
                  <a:pt x="4451" y="341"/>
                </a:lnTo>
                <a:lnTo>
                  <a:pt x="4445" y="347"/>
                </a:lnTo>
                <a:close/>
                <a:moveTo>
                  <a:pt x="4242" y="260"/>
                </a:moveTo>
                <a:lnTo>
                  <a:pt x="4249" y="264"/>
                </a:lnTo>
                <a:lnTo>
                  <a:pt x="4249" y="269"/>
                </a:lnTo>
                <a:lnTo>
                  <a:pt x="4254" y="267"/>
                </a:lnTo>
                <a:lnTo>
                  <a:pt x="4257" y="266"/>
                </a:lnTo>
                <a:lnTo>
                  <a:pt x="4257" y="269"/>
                </a:lnTo>
                <a:lnTo>
                  <a:pt x="4260" y="269"/>
                </a:lnTo>
                <a:lnTo>
                  <a:pt x="4260" y="269"/>
                </a:lnTo>
                <a:lnTo>
                  <a:pt x="4261" y="268"/>
                </a:lnTo>
                <a:lnTo>
                  <a:pt x="4262" y="265"/>
                </a:lnTo>
                <a:lnTo>
                  <a:pt x="4242" y="260"/>
                </a:lnTo>
                <a:close/>
                <a:moveTo>
                  <a:pt x="3870" y="302"/>
                </a:moveTo>
                <a:lnTo>
                  <a:pt x="3871" y="302"/>
                </a:lnTo>
                <a:lnTo>
                  <a:pt x="3870" y="302"/>
                </a:lnTo>
                <a:lnTo>
                  <a:pt x="3870" y="302"/>
                </a:lnTo>
                <a:close/>
                <a:moveTo>
                  <a:pt x="3876" y="305"/>
                </a:moveTo>
                <a:lnTo>
                  <a:pt x="3874" y="304"/>
                </a:lnTo>
                <a:lnTo>
                  <a:pt x="3871" y="307"/>
                </a:lnTo>
                <a:lnTo>
                  <a:pt x="3876" y="305"/>
                </a:lnTo>
                <a:close/>
                <a:moveTo>
                  <a:pt x="3739" y="366"/>
                </a:moveTo>
                <a:lnTo>
                  <a:pt x="3738" y="366"/>
                </a:lnTo>
                <a:lnTo>
                  <a:pt x="3738" y="366"/>
                </a:lnTo>
                <a:lnTo>
                  <a:pt x="3739" y="366"/>
                </a:lnTo>
                <a:close/>
                <a:moveTo>
                  <a:pt x="3742" y="367"/>
                </a:moveTo>
                <a:lnTo>
                  <a:pt x="3739" y="367"/>
                </a:lnTo>
                <a:lnTo>
                  <a:pt x="3741" y="369"/>
                </a:lnTo>
                <a:lnTo>
                  <a:pt x="3742" y="367"/>
                </a:lnTo>
                <a:close/>
                <a:moveTo>
                  <a:pt x="3753" y="397"/>
                </a:moveTo>
                <a:lnTo>
                  <a:pt x="3749" y="397"/>
                </a:lnTo>
                <a:lnTo>
                  <a:pt x="3751" y="398"/>
                </a:lnTo>
                <a:lnTo>
                  <a:pt x="3752" y="399"/>
                </a:lnTo>
                <a:lnTo>
                  <a:pt x="3753" y="398"/>
                </a:lnTo>
                <a:lnTo>
                  <a:pt x="3753" y="397"/>
                </a:lnTo>
                <a:close/>
                <a:moveTo>
                  <a:pt x="2850" y="479"/>
                </a:moveTo>
                <a:lnTo>
                  <a:pt x="2850" y="478"/>
                </a:lnTo>
                <a:lnTo>
                  <a:pt x="2847" y="478"/>
                </a:lnTo>
                <a:lnTo>
                  <a:pt x="2850" y="479"/>
                </a:lnTo>
                <a:close/>
                <a:moveTo>
                  <a:pt x="2776" y="567"/>
                </a:moveTo>
                <a:lnTo>
                  <a:pt x="2774" y="567"/>
                </a:lnTo>
                <a:lnTo>
                  <a:pt x="2774" y="569"/>
                </a:lnTo>
                <a:lnTo>
                  <a:pt x="2776" y="567"/>
                </a:lnTo>
                <a:close/>
                <a:moveTo>
                  <a:pt x="2686" y="631"/>
                </a:moveTo>
                <a:lnTo>
                  <a:pt x="2686" y="631"/>
                </a:lnTo>
                <a:lnTo>
                  <a:pt x="2686" y="631"/>
                </a:lnTo>
                <a:lnTo>
                  <a:pt x="2686" y="631"/>
                </a:lnTo>
                <a:close/>
                <a:moveTo>
                  <a:pt x="2693" y="664"/>
                </a:moveTo>
                <a:lnTo>
                  <a:pt x="2692" y="664"/>
                </a:lnTo>
                <a:lnTo>
                  <a:pt x="2693" y="665"/>
                </a:lnTo>
                <a:lnTo>
                  <a:pt x="2693" y="664"/>
                </a:lnTo>
                <a:close/>
                <a:moveTo>
                  <a:pt x="2712" y="619"/>
                </a:moveTo>
                <a:lnTo>
                  <a:pt x="2713" y="621"/>
                </a:lnTo>
                <a:lnTo>
                  <a:pt x="2718" y="621"/>
                </a:lnTo>
                <a:lnTo>
                  <a:pt x="2712" y="619"/>
                </a:lnTo>
                <a:close/>
                <a:moveTo>
                  <a:pt x="2701" y="632"/>
                </a:moveTo>
                <a:lnTo>
                  <a:pt x="2705" y="633"/>
                </a:lnTo>
                <a:lnTo>
                  <a:pt x="2709" y="632"/>
                </a:lnTo>
                <a:lnTo>
                  <a:pt x="2701" y="632"/>
                </a:lnTo>
                <a:close/>
                <a:moveTo>
                  <a:pt x="2699" y="685"/>
                </a:moveTo>
                <a:lnTo>
                  <a:pt x="2698" y="685"/>
                </a:lnTo>
                <a:lnTo>
                  <a:pt x="2698" y="686"/>
                </a:lnTo>
                <a:lnTo>
                  <a:pt x="2699" y="685"/>
                </a:lnTo>
                <a:close/>
                <a:moveTo>
                  <a:pt x="2700" y="668"/>
                </a:moveTo>
                <a:lnTo>
                  <a:pt x="2698" y="668"/>
                </a:lnTo>
                <a:lnTo>
                  <a:pt x="2695" y="675"/>
                </a:lnTo>
                <a:lnTo>
                  <a:pt x="2698" y="675"/>
                </a:lnTo>
                <a:lnTo>
                  <a:pt x="2700" y="668"/>
                </a:lnTo>
                <a:close/>
                <a:moveTo>
                  <a:pt x="2705" y="684"/>
                </a:moveTo>
                <a:lnTo>
                  <a:pt x="2701" y="684"/>
                </a:lnTo>
                <a:lnTo>
                  <a:pt x="2700" y="686"/>
                </a:lnTo>
                <a:lnTo>
                  <a:pt x="2701" y="686"/>
                </a:lnTo>
                <a:lnTo>
                  <a:pt x="2705" y="684"/>
                </a:lnTo>
                <a:close/>
                <a:moveTo>
                  <a:pt x="2716" y="664"/>
                </a:moveTo>
                <a:lnTo>
                  <a:pt x="2712" y="664"/>
                </a:lnTo>
                <a:lnTo>
                  <a:pt x="2713" y="661"/>
                </a:lnTo>
                <a:lnTo>
                  <a:pt x="2709" y="662"/>
                </a:lnTo>
                <a:lnTo>
                  <a:pt x="2701" y="664"/>
                </a:lnTo>
                <a:lnTo>
                  <a:pt x="2701" y="666"/>
                </a:lnTo>
                <a:lnTo>
                  <a:pt x="2706" y="665"/>
                </a:lnTo>
                <a:lnTo>
                  <a:pt x="2716" y="664"/>
                </a:lnTo>
                <a:close/>
                <a:moveTo>
                  <a:pt x="2720" y="646"/>
                </a:moveTo>
                <a:lnTo>
                  <a:pt x="2717" y="643"/>
                </a:lnTo>
                <a:lnTo>
                  <a:pt x="2718" y="646"/>
                </a:lnTo>
                <a:lnTo>
                  <a:pt x="2712" y="647"/>
                </a:lnTo>
                <a:lnTo>
                  <a:pt x="2707" y="644"/>
                </a:lnTo>
                <a:lnTo>
                  <a:pt x="2704" y="647"/>
                </a:lnTo>
                <a:lnTo>
                  <a:pt x="2694" y="646"/>
                </a:lnTo>
                <a:lnTo>
                  <a:pt x="2691" y="648"/>
                </a:lnTo>
                <a:lnTo>
                  <a:pt x="2698" y="647"/>
                </a:lnTo>
                <a:lnTo>
                  <a:pt x="2704" y="649"/>
                </a:lnTo>
                <a:lnTo>
                  <a:pt x="2710" y="647"/>
                </a:lnTo>
                <a:lnTo>
                  <a:pt x="2715" y="651"/>
                </a:lnTo>
                <a:lnTo>
                  <a:pt x="2715" y="650"/>
                </a:lnTo>
                <a:lnTo>
                  <a:pt x="2713" y="647"/>
                </a:lnTo>
                <a:lnTo>
                  <a:pt x="2720" y="646"/>
                </a:lnTo>
                <a:close/>
                <a:moveTo>
                  <a:pt x="2729" y="613"/>
                </a:moveTo>
                <a:lnTo>
                  <a:pt x="2728" y="612"/>
                </a:lnTo>
                <a:lnTo>
                  <a:pt x="2728" y="612"/>
                </a:lnTo>
                <a:lnTo>
                  <a:pt x="2729" y="613"/>
                </a:lnTo>
                <a:close/>
                <a:moveTo>
                  <a:pt x="2736" y="609"/>
                </a:moveTo>
                <a:lnTo>
                  <a:pt x="2735" y="608"/>
                </a:lnTo>
                <a:lnTo>
                  <a:pt x="2734" y="608"/>
                </a:lnTo>
                <a:lnTo>
                  <a:pt x="2735" y="608"/>
                </a:lnTo>
                <a:lnTo>
                  <a:pt x="2729" y="608"/>
                </a:lnTo>
                <a:lnTo>
                  <a:pt x="2735" y="611"/>
                </a:lnTo>
                <a:lnTo>
                  <a:pt x="2735" y="609"/>
                </a:lnTo>
                <a:lnTo>
                  <a:pt x="2736" y="609"/>
                </a:lnTo>
                <a:close/>
                <a:moveTo>
                  <a:pt x="2759" y="595"/>
                </a:moveTo>
                <a:lnTo>
                  <a:pt x="2756" y="593"/>
                </a:lnTo>
                <a:lnTo>
                  <a:pt x="2759" y="596"/>
                </a:lnTo>
                <a:lnTo>
                  <a:pt x="2759" y="595"/>
                </a:lnTo>
                <a:close/>
                <a:moveTo>
                  <a:pt x="2761" y="678"/>
                </a:moveTo>
                <a:lnTo>
                  <a:pt x="2760" y="678"/>
                </a:lnTo>
                <a:lnTo>
                  <a:pt x="2762" y="681"/>
                </a:lnTo>
                <a:lnTo>
                  <a:pt x="2761" y="678"/>
                </a:lnTo>
                <a:close/>
                <a:moveTo>
                  <a:pt x="2799" y="547"/>
                </a:moveTo>
                <a:lnTo>
                  <a:pt x="2792" y="551"/>
                </a:lnTo>
                <a:lnTo>
                  <a:pt x="2790" y="551"/>
                </a:lnTo>
                <a:lnTo>
                  <a:pt x="2789" y="551"/>
                </a:lnTo>
                <a:lnTo>
                  <a:pt x="2790" y="552"/>
                </a:lnTo>
                <a:lnTo>
                  <a:pt x="2795" y="550"/>
                </a:lnTo>
                <a:lnTo>
                  <a:pt x="2799" y="547"/>
                </a:lnTo>
                <a:close/>
                <a:moveTo>
                  <a:pt x="2802" y="534"/>
                </a:moveTo>
                <a:lnTo>
                  <a:pt x="2801" y="531"/>
                </a:lnTo>
                <a:lnTo>
                  <a:pt x="2801" y="531"/>
                </a:lnTo>
                <a:lnTo>
                  <a:pt x="2799" y="531"/>
                </a:lnTo>
                <a:lnTo>
                  <a:pt x="2802" y="534"/>
                </a:lnTo>
                <a:close/>
                <a:moveTo>
                  <a:pt x="2818" y="522"/>
                </a:moveTo>
                <a:lnTo>
                  <a:pt x="2807" y="524"/>
                </a:lnTo>
                <a:lnTo>
                  <a:pt x="2807" y="527"/>
                </a:lnTo>
                <a:lnTo>
                  <a:pt x="2809" y="524"/>
                </a:lnTo>
                <a:lnTo>
                  <a:pt x="2818" y="522"/>
                </a:lnTo>
                <a:close/>
                <a:moveTo>
                  <a:pt x="2827" y="500"/>
                </a:moveTo>
                <a:lnTo>
                  <a:pt x="2827" y="500"/>
                </a:lnTo>
                <a:lnTo>
                  <a:pt x="2827" y="503"/>
                </a:lnTo>
                <a:lnTo>
                  <a:pt x="2827" y="500"/>
                </a:lnTo>
                <a:lnTo>
                  <a:pt x="2827" y="500"/>
                </a:lnTo>
                <a:close/>
                <a:moveTo>
                  <a:pt x="2837" y="503"/>
                </a:moveTo>
                <a:lnTo>
                  <a:pt x="2835" y="499"/>
                </a:lnTo>
                <a:lnTo>
                  <a:pt x="2830" y="499"/>
                </a:lnTo>
                <a:lnTo>
                  <a:pt x="2832" y="498"/>
                </a:lnTo>
                <a:lnTo>
                  <a:pt x="2824" y="499"/>
                </a:lnTo>
                <a:lnTo>
                  <a:pt x="2827" y="499"/>
                </a:lnTo>
                <a:lnTo>
                  <a:pt x="2827" y="499"/>
                </a:lnTo>
                <a:lnTo>
                  <a:pt x="2827" y="499"/>
                </a:lnTo>
                <a:lnTo>
                  <a:pt x="2828" y="499"/>
                </a:lnTo>
                <a:lnTo>
                  <a:pt x="2828" y="499"/>
                </a:lnTo>
                <a:lnTo>
                  <a:pt x="2832" y="500"/>
                </a:lnTo>
                <a:lnTo>
                  <a:pt x="2837" y="503"/>
                </a:lnTo>
                <a:close/>
                <a:moveTo>
                  <a:pt x="2839" y="499"/>
                </a:moveTo>
                <a:lnTo>
                  <a:pt x="2837" y="495"/>
                </a:lnTo>
                <a:lnTo>
                  <a:pt x="2835" y="495"/>
                </a:lnTo>
                <a:lnTo>
                  <a:pt x="2838" y="499"/>
                </a:lnTo>
                <a:lnTo>
                  <a:pt x="2839" y="499"/>
                </a:lnTo>
                <a:close/>
                <a:moveTo>
                  <a:pt x="2869" y="677"/>
                </a:moveTo>
                <a:lnTo>
                  <a:pt x="2869" y="677"/>
                </a:lnTo>
                <a:lnTo>
                  <a:pt x="2869" y="679"/>
                </a:lnTo>
                <a:lnTo>
                  <a:pt x="2871" y="680"/>
                </a:lnTo>
                <a:lnTo>
                  <a:pt x="2871" y="679"/>
                </a:lnTo>
                <a:lnTo>
                  <a:pt x="2869" y="679"/>
                </a:lnTo>
                <a:lnTo>
                  <a:pt x="2871" y="677"/>
                </a:lnTo>
                <a:lnTo>
                  <a:pt x="2869" y="676"/>
                </a:lnTo>
                <a:lnTo>
                  <a:pt x="2869" y="677"/>
                </a:lnTo>
                <a:close/>
                <a:moveTo>
                  <a:pt x="2868" y="679"/>
                </a:moveTo>
                <a:lnTo>
                  <a:pt x="2869" y="681"/>
                </a:lnTo>
                <a:lnTo>
                  <a:pt x="2868" y="678"/>
                </a:lnTo>
                <a:lnTo>
                  <a:pt x="2868" y="679"/>
                </a:lnTo>
                <a:close/>
                <a:moveTo>
                  <a:pt x="2875" y="607"/>
                </a:moveTo>
                <a:lnTo>
                  <a:pt x="2872" y="603"/>
                </a:lnTo>
                <a:lnTo>
                  <a:pt x="2871" y="603"/>
                </a:lnTo>
                <a:lnTo>
                  <a:pt x="2875" y="607"/>
                </a:lnTo>
                <a:close/>
                <a:moveTo>
                  <a:pt x="2891" y="446"/>
                </a:moveTo>
                <a:lnTo>
                  <a:pt x="2889" y="447"/>
                </a:lnTo>
                <a:lnTo>
                  <a:pt x="2891" y="447"/>
                </a:lnTo>
                <a:lnTo>
                  <a:pt x="2891" y="446"/>
                </a:lnTo>
                <a:close/>
                <a:moveTo>
                  <a:pt x="2891" y="445"/>
                </a:moveTo>
                <a:lnTo>
                  <a:pt x="2891" y="445"/>
                </a:lnTo>
                <a:lnTo>
                  <a:pt x="2891" y="445"/>
                </a:lnTo>
                <a:lnTo>
                  <a:pt x="2891" y="445"/>
                </a:lnTo>
                <a:close/>
                <a:moveTo>
                  <a:pt x="2925" y="546"/>
                </a:moveTo>
                <a:lnTo>
                  <a:pt x="2922" y="544"/>
                </a:lnTo>
                <a:lnTo>
                  <a:pt x="2925" y="547"/>
                </a:lnTo>
                <a:lnTo>
                  <a:pt x="2925" y="546"/>
                </a:lnTo>
                <a:close/>
                <a:moveTo>
                  <a:pt x="3001" y="660"/>
                </a:moveTo>
                <a:lnTo>
                  <a:pt x="3000" y="658"/>
                </a:lnTo>
                <a:lnTo>
                  <a:pt x="2998" y="662"/>
                </a:lnTo>
                <a:lnTo>
                  <a:pt x="3000" y="660"/>
                </a:lnTo>
                <a:lnTo>
                  <a:pt x="3001" y="660"/>
                </a:lnTo>
                <a:close/>
                <a:moveTo>
                  <a:pt x="3007" y="411"/>
                </a:moveTo>
                <a:lnTo>
                  <a:pt x="3006" y="410"/>
                </a:lnTo>
                <a:lnTo>
                  <a:pt x="3006" y="410"/>
                </a:lnTo>
                <a:lnTo>
                  <a:pt x="3007" y="411"/>
                </a:lnTo>
                <a:close/>
                <a:moveTo>
                  <a:pt x="3016" y="407"/>
                </a:moveTo>
                <a:lnTo>
                  <a:pt x="3018" y="407"/>
                </a:lnTo>
                <a:lnTo>
                  <a:pt x="3019" y="407"/>
                </a:lnTo>
                <a:lnTo>
                  <a:pt x="3016" y="407"/>
                </a:lnTo>
                <a:close/>
                <a:moveTo>
                  <a:pt x="3023" y="414"/>
                </a:moveTo>
                <a:lnTo>
                  <a:pt x="3022" y="415"/>
                </a:lnTo>
                <a:lnTo>
                  <a:pt x="3022" y="415"/>
                </a:lnTo>
                <a:lnTo>
                  <a:pt x="3023" y="414"/>
                </a:lnTo>
                <a:close/>
                <a:moveTo>
                  <a:pt x="3045" y="432"/>
                </a:moveTo>
                <a:lnTo>
                  <a:pt x="3043" y="433"/>
                </a:lnTo>
                <a:lnTo>
                  <a:pt x="3041" y="436"/>
                </a:lnTo>
                <a:lnTo>
                  <a:pt x="3043" y="435"/>
                </a:lnTo>
                <a:lnTo>
                  <a:pt x="3044" y="434"/>
                </a:lnTo>
                <a:lnTo>
                  <a:pt x="3045" y="432"/>
                </a:lnTo>
                <a:close/>
                <a:moveTo>
                  <a:pt x="3048" y="432"/>
                </a:moveTo>
                <a:lnTo>
                  <a:pt x="3046" y="434"/>
                </a:lnTo>
                <a:lnTo>
                  <a:pt x="3048" y="434"/>
                </a:lnTo>
                <a:lnTo>
                  <a:pt x="3048" y="433"/>
                </a:lnTo>
                <a:lnTo>
                  <a:pt x="3048" y="432"/>
                </a:lnTo>
                <a:close/>
                <a:moveTo>
                  <a:pt x="2764" y="754"/>
                </a:moveTo>
                <a:lnTo>
                  <a:pt x="2765" y="754"/>
                </a:lnTo>
                <a:lnTo>
                  <a:pt x="2765" y="753"/>
                </a:lnTo>
                <a:lnTo>
                  <a:pt x="2764" y="754"/>
                </a:lnTo>
                <a:close/>
                <a:moveTo>
                  <a:pt x="2749" y="745"/>
                </a:moveTo>
                <a:lnTo>
                  <a:pt x="2746" y="745"/>
                </a:lnTo>
                <a:lnTo>
                  <a:pt x="2745" y="747"/>
                </a:lnTo>
                <a:lnTo>
                  <a:pt x="2749" y="746"/>
                </a:lnTo>
                <a:lnTo>
                  <a:pt x="2749" y="747"/>
                </a:lnTo>
                <a:lnTo>
                  <a:pt x="2749" y="745"/>
                </a:lnTo>
                <a:close/>
                <a:moveTo>
                  <a:pt x="2393" y="1526"/>
                </a:moveTo>
                <a:lnTo>
                  <a:pt x="2390" y="1529"/>
                </a:lnTo>
                <a:lnTo>
                  <a:pt x="2390" y="1530"/>
                </a:lnTo>
                <a:lnTo>
                  <a:pt x="2393" y="1529"/>
                </a:lnTo>
                <a:lnTo>
                  <a:pt x="2393" y="1526"/>
                </a:lnTo>
                <a:close/>
                <a:moveTo>
                  <a:pt x="2412" y="1449"/>
                </a:moveTo>
                <a:lnTo>
                  <a:pt x="2411" y="1450"/>
                </a:lnTo>
                <a:lnTo>
                  <a:pt x="2411" y="1450"/>
                </a:lnTo>
                <a:lnTo>
                  <a:pt x="2412" y="1449"/>
                </a:lnTo>
                <a:close/>
                <a:moveTo>
                  <a:pt x="3355" y="1533"/>
                </a:moveTo>
                <a:lnTo>
                  <a:pt x="3356" y="1533"/>
                </a:lnTo>
                <a:lnTo>
                  <a:pt x="3356" y="1531"/>
                </a:lnTo>
                <a:lnTo>
                  <a:pt x="3355" y="1532"/>
                </a:lnTo>
                <a:lnTo>
                  <a:pt x="3355" y="1533"/>
                </a:lnTo>
                <a:close/>
                <a:moveTo>
                  <a:pt x="3233" y="1507"/>
                </a:moveTo>
                <a:lnTo>
                  <a:pt x="3235" y="1506"/>
                </a:lnTo>
                <a:lnTo>
                  <a:pt x="3235" y="1505"/>
                </a:lnTo>
                <a:lnTo>
                  <a:pt x="3233" y="1507"/>
                </a:lnTo>
                <a:lnTo>
                  <a:pt x="3233" y="1507"/>
                </a:lnTo>
                <a:close/>
                <a:moveTo>
                  <a:pt x="3003" y="1029"/>
                </a:moveTo>
                <a:lnTo>
                  <a:pt x="3006" y="1029"/>
                </a:lnTo>
                <a:lnTo>
                  <a:pt x="3007" y="1029"/>
                </a:lnTo>
                <a:lnTo>
                  <a:pt x="3007" y="1029"/>
                </a:lnTo>
                <a:lnTo>
                  <a:pt x="3011" y="1029"/>
                </a:lnTo>
                <a:lnTo>
                  <a:pt x="3007" y="1025"/>
                </a:lnTo>
                <a:lnTo>
                  <a:pt x="3004" y="1025"/>
                </a:lnTo>
                <a:lnTo>
                  <a:pt x="3004" y="1027"/>
                </a:lnTo>
                <a:lnTo>
                  <a:pt x="3003" y="1029"/>
                </a:lnTo>
                <a:close/>
                <a:moveTo>
                  <a:pt x="2997" y="1033"/>
                </a:moveTo>
                <a:lnTo>
                  <a:pt x="3000" y="1033"/>
                </a:lnTo>
                <a:lnTo>
                  <a:pt x="3002" y="1029"/>
                </a:lnTo>
                <a:lnTo>
                  <a:pt x="2999" y="1029"/>
                </a:lnTo>
                <a:lnTo>
                  <a:pt x="2997" y="1033"/>
                </a:lnTo>
                <a:close/>
                <a:moveTo>
                  <a:pt x="2948" y="1041"/>
                </a:moveTo>
                <a:lnTo>
                  <a:pt x="2955" y="1041"/>
                </a:lnTo>
                <a:lnTo>
                  <a:pt x="2964" y="1036"/>
                </a:lnTo>
                <a:lnTo>
                  <a:pt x="2977" y="1040"/>
                </a:lnTo>
                <a:lnTo>
                  <a:pt x="2988" y="1038"/>
                </a:lnTo>
                <a:lnTo>
                  <a:pt x="2988" y="1036"/>
                </a:lnTo>
                <a:lnTo>
                  <a:pt x="2977" y="1039"/>
                </a:lnTo>
                <a:lnTo>
                  <a:pt x="2965" y="1033"/>
                </a:lnTo>
                <a:lnTo>
                  <a:pt x="2961" y="1035"/>
                </a:lnTo>
                <a:lnTo>
                  <a:pt x="2956" y="1037"/>
                </a:lnTo>
                <a:lnTo>
                  <a:pt x="2948" y="1037"/>
                </a:lnTo>
                <a:lnTo>
                  <a:pt x="2948" y="1041"/>
                </a:lnTo>
                <a:close/>
                <a:moveTo>
                  <a:pt x="2911" y="1079"/>
                </a:moveTo>
                <a:lnTo>
                  <a:pt x="2911" y="1080"/>
                </a:lnTo>
                <a:lnTo>
                  <a:pt x="2911" y="1080"/>
                </a:lnTo>
                <a:lnTo>
                  <a:pt x="2915" y="1082"/>
                </a:lnTo>
                <a:lnTo>
                  <a:pt x="2915" y="1079"/>
                </a:lnTo>
                <a:lnTo>
                  <a:pt x="2911" y="1078"/>
                </a:lnTo>
                <a:lnTo>
                  <a:pt x="2911" y="1079"/>
                </a:lnTo>
                <a:close/>
                <a:moveTo>
                  <a:pt x="2894" y="793"/>
                </a:moveTo>
                <a:lnTo>
                  <a:pt x="2895" y="795"/>
                </a:lnTo>
                <a:lnTo>
                  <a:pt x="2901" y="793"/>
                </a:lnTo>
                <a:lnTo>
                  <a:pt x="2900" y="792"/>
                </a:lnTo>
                <a:lnTo>
                  <a:pt x="2894" y="793"/>
                </a:lnTo>
                <a:close/>
                <a:moveTo>
                  <a:pt x="2588" y="1161"/>
                </a:moveTo>
                <a:lnTo>
                  <a:pt x="2588" y="1158"/>
                </a:lnTo>
                <a:lnTo>
                  <a:pt x="2586" y="1159"/>
                </a:lnTo>
                <a:lnTo>
                  <a:pt x="2588" y="1164"/>
                </a:lnTo>
                <a:lnTo>
                  <a:pt x="2588" y="1161"/>
                </a:lnTo>
                <a:close/>
                <a:moveTo>
                  <a:pt x="2739" y="1119"/>
                </a:moveTo>
                <a:lnTo>
                  <a:pt x="2738" y="1117"/>
                </a:lnTo>
                <a:lnTo>
                  <a:pt x="2731" y="1121"/>
                </a:lnTo>
                <a:lnTo>
                  <a:pt x="2734" y="1122"/>
                </a:lnTo>
                <a:lnTo>
                  <a:pt x="2739" y="1119"/>
                </a:lnTo>
                <a:close/>
                <a:moveTo>
                  <a:pt x="3119" y="1241"/>
                </a:moveTo>
                <a:lnTo>
                  <a:pt x="3119" y="1241"/>
                </a:lnTo>
                <a:lnTo>
                  <a:pt x="3119" y="1241"/>
                </a:lnTo>
                <a:lnTo>
                  <a:pt x="3119" y="1241"/>
                </a:lnTo>
                <a:close/>
                <a:moveTo>
                  <a:pt x="3136" y="1134"/>
                </a:moveTo>
                <a:lnTo>
                  <a:pt x="3135" y="1134"/>
                </a:lnTo>
                <a:lnTo>
                  <a:pt x="3135" y="1134"/>
                </a:lnTo>
                <a:lnTo>
                  <a:pt x="3135" y="1134"/>
                </a:lnTo>
                <a:lnTo>
                  <a:pt x="3136" y="1134"/>
                </a:lnTo>
                <a:close/>
                <a:moveTo>
                  <a:pt x="3136" y="1120"/>
                </a:moveTo>
                <a:lnTo>
                  <a:pt x="3135" y="1117"/>
                </a:lnTo>
                <a:lnTo>
                  <a:pt x="3130" y="1121"/>
                </a:lnTo>
                <a:lnTo>
                  <a:pt x="3132" y="1123"/>
                </a:lnTo>
                <a:lnTo>
                  <a:pt x="3126" y="1125"/>
                </a:lnTo>
                <a:lnTo>
                  <a:pt x="3118" y="1120"/>
                </a:lnTo>
                <a:lnTo>
                  <a:pt x="3113" y="1125"/>
                </a:lnTo>
                <a:lnTo>
                  <a:pt x="3108" y="1130"/>
                </a:lnTo>
                <a:lnTo>
                  <a:pt x="3106" y="1128"/>
                </a:lnTo>
                <a:lnTo>
                  <a:pt x="3103" y="1132"/>
                </a:lnTo>
                <a:lnTo>
                  <a:pt x="3091" y="1133"/>
                </a:lnTo>
                <a:lnTo>
                  <a:pt x="3084" y="1132"/>
                </a:lnTo>
                <a:lnTo>
                  <a:pt x="3080" y="1126"/>
                </a:lnTo>
                <a:lnTo>
                  <a:pt x="3065" y="1122"/>
                </a:lnTo>
                <a:lnTo>
                  <a:pt x="3059" y="1122"/>
                </a:lnTo>
                <a:lnTo>
                  <a:pt x="3058" y="1125"/>
                </a:lnTo>
                <a:lnTo>
                  <a:pt x="3058" y="1128"/>
                </a:lnTo>
                <a:lnTo>
                  <a:pt x="3055" y="1132"/>
                </a:lnTo>
                <a:lnTo>
                  <a:pt x="3053" y="1128"/>
                </a:lnTo>
                <a:lnTo>
                  <a:pt x="3045" y="1132"/>
                </a:lnTo>
                <a:lnTo>
                  <a:pt x="3036" y="1128"/>
                </a:lnTo>
                <a:lnTo>
                  <a:pt x="3036" y="1126"/>
                </a:lnTo>
                <a:lnTo>
                  <a:pt x="3032" y="1126"/>
                </a:lnTo>
                <a:lnTo>
                  <a:pt x="3032" y="1123"/>
                </a:lnTo>
                <a:lnTo>
                  <a:pt x="3032" y="1122"/>
                </a:lnTo>
                <a:lnTo>
                  <a:pt x="3032" y="1122"/>
                </a:lnTo>
                <a:lnTo>
                  <a:pt x="3032" y="1122"/>
                </a:lnTo>
                <a:lnTo>
                  <a:pt x="3032" y="1123"/>
                </a:lnTo>
                <a:lnTo>
                  <a:pt x="3032" y="1122"/>
                </a:lnTo>
                <a:lnTo>
                  <a:pt x="3032" y="1121"/>
                </a:lnTo>
                <a:lnTo>
                  <a:pt x="3030" y="1120"/>
                </a:lnTo>
                <a:lnTo>
                  <a:pt x="3028" y="1118"/>
                </a:lnTo>
                <a:lnTo>
                  <a:pt x="3026" y="1122"/>
                </a:lnTo>
                <a:lnTo>
                  <a:pt x="3024" y="1122"/>
                </a:lnTo>
                <a:lnTo>
                  <a:pt x="3023" y="1122"/>
                </a:lnTo>
                <a:lnTo>
                  <a:pt x="3024" y="1121"/>
                </a:lnTo>
                <a:lnTo>
                  <a:pt x="3024" y="1120"/>
                </a:lnTo>
                <a:lnTo>
                  <a:pt x="3016" y="1122"/>
                </a:lnTo>
                <a:lnTo>
                  <a:pt x="3016" y="1122"/>
                </a:lnTo>
                <a:lnTo>
                  <a:pt x="3017" y="1121"/>
                </a:lnTo>
                <a:lnTo>
                  <a:pt x="3020" y="1120"/>
                </a:lnTo>
                <a:lnTo>
                  <a:pt x="3020" y="1117"/>
                </a:lnTo>
                <a:lnTo>
                  <a:pt x="3024" y="1117"/>
                </a:lnTo>
                <a:lnTo>
                  <a:pt x="3014" y="1117"/>
                </a:lnTo>
                <a:lnTo>
                  <a:pt x="3014" y="1115"/>
                </a:lnTo>
                <a:lnTo>
                  <a:pt x="3012" y="1112"/>
                </a:lnTo>
                <a:lnTo>
                  <a:pt x="3012" y="1110"/>
                </a:lnTo>
                <a:lnTo>
                  <a:pt x="3009" y="1112"/>
                </a:lnTo>
                <a:lnTo>
                  <a:pt x="3011" y="1100"/>
                </a:lnTo>
                <a:lnTo>
                  <a:pt x="3006" y="1098"/>
                </a:lnTo>
                <a:lnTo>
                  <a:pt x="3004" y="1096"/>
                </a:lnTo>
                <a:lnTo>
                  <a:pt x="3003" y="1095"/>
                </a:lnTo>
                <a:lnTo>
                  <a:pt x="3009" y="1094"/>
                </a:lnTo>
                <a:lnTo>
                  <a:pt x="3006" y="1094"/>
                </a:lnTo>
                <a:lnTo>
                  <a:pt x="3003" y="1091"/>
                </a:lnTo>
                <a:lnTo>
                  <a:pt x="3000" y="1088"/>
                </a:lnTo>
                <a:lnTo>
                  <a:pt x="3000" y="1086"/>
                </a:lnTo>
                <a:lnTo>
                  <a:pt x="3007" y="1085"/>
                </a:lnTo>
                <a:lnTo>
                  <a:pt x="3004" y="1085"/>
                </a:lnTo>
                <a:lnTo>
                  <a:pt x="3004" y="1080"/>
                </a:lnTo>
                <a:lnTo>
                  <a:pt x="3000" y="1076"/>
                </a:lnTo>
                <a:lnTo>
                  <a:pt x="3004" y="1073"/>
                </a:lnTo>
                <a:lnTo>
                  <a:pt x="3004" y="1071"/>
                </a:lnTo>
                <a:lnTo>
                  <a:pt x="2998" y="1072"/>
                </a:lnTo>
                <a:lnTo>
                  <a:pt x="2993" y="1073"/>
                </a:lnTo>
                <a:lnTo>
                  <a:pt x="2995" y="1065"/>
                </a:lnTo>
                <a:lnTo>
                  <a:pt x="3002" y="1057"/>
                </a:lnTo>
                <a:lnTo>
                  <a:pt x="2995" y="1062"/>
                </a:lnTo>
                <a:lnTo>
                  <a:pt x="2996" y="1059"/>
                </a:lnTo>
                <a:lnTo>
                  <a:pt x="2995" y="1058"/>
                </a:lnTo>
                <a:lnTo>
                  <a:pt x="3004" y="1054"/>
                </a:lnTo>
                <a:lnTo>
                  <a:pt x="3002" y="1051"/>
                </a:lnTo>
                <a:lnTo>
                  <a:pt x="2992" y="1054"/>
                </a:lnTo>
                <a:lnTo>
                  <a:pt x="2992" y="1051"/>
                </a:lnTo>
                <a:lnTo>
                  <a:pt x="2998" y="1047"/>
                </a:lnTo>
                <a:lnTo>
                  <a:pt x="2995" y="1042"/>
                </a:lnTo>
                <a:lnTo>
                  <a:pt x="3000" y="1039"/>
                </a:lnTo>
                <a:lnTo>
                  <a:pt x="3000" y="1035"/>
                </a:lnTo>
                <a:lnTo>
                  <a:pt x="2996" y="1034"/>
                </a:lnTo>
                <a:lnTo>
                  <a:pt x="2996" y="1033"/>
                </a:lnTo>
                <a:lnTo>
                  <a:pt x="2995" y="1033"/>
                </a:lnTo>
                <a:lnTo>
                  <a:pt x="2995" y="1033"/>
                </a:lnTo>
                <a:lnTo>
                  <a:pt x="2996" y="1034"/>
                </a:lnTo>
                <a:lnTo>
                  <a:pt x="2996" y="1038"/>
                </a:lnTo>
                <a:lnTo>
                  <a:pt x="2992" y="1040"/>
                </a:lnTo>
                <a:lnTo>
                  <a:pt x="2994" y="1043"/>
                </a:lnTo>
                <a:lnTo>
                  <a:pt x="2995" y="1045"/>
                </a:lnTo>
                <a:lnTo>
                  <a:pt x="2989" y="1049"/>
                </a:lnTo>
                <a:lnTo>
                  <a:pt x="2988" y="1049"/>
                </a:lnTo>
                <a:lnTo>
                  <a:pt x="2988" y="1049"/>
                </a:lnTo>
                <a:lnTo>
                  <a:pt x="2977" y="1045"/>
                </a:lnTo>
                <a:lnTo>
                  <a:pt x="2971" y="1046"/>
                </a:lnTo>
                <a:lnTo>
                  <a:pt x="2966" y="1045"/>
                </a:lnTo>
                <a:lnTo>
                  <a:pt x="2961" y="1050"/>
                </a:lnTo>
                <a:lnTo>
                  <a:pt x="2956" y="1049"/>
                </a:lnTo>
                <a:lnTo>
                  <a:pt x="2955" y="1050"/>
                </a:lnTo>
                <a:lnTo>
                  <a:pt x="2957" y="1053"/>
                </a:lnTo>
                <a:lnTo>
                  <a:pt x="2958" y="1056"/>
                </a:lnTo>
                <a:lnTo>
                  <a:pt x="2962" y="1057"/>
                </a:lnTo>
                <a:lnTo>
                  <a:pt x="2958" y="1057"/>
                </a:lnTo>
                <a:lnTo>
                  <a:pt x="2952" y="1057"/>
                </a:lnTo>
                <a:lnTo>
                  <a:pt x="2952" y="1058"/>
                </a:lnTo>
                <a:lnTo>
                  <a:pt x="2956" y="1059"/>
                </a:lnTo>
                <a:lnTo>
                  <a:pt x="2956" y="1061"/>
                </a:lnTo>
                <a:lnTo>
                  <a:pt x="2956" y="1063"/>
                </a:lnTo>
                <a:lnTo>
                  <a:pt x="2955" y="1061"/>
                </a:lnTo>
                <a:lnTo>
                  <a:pt x="2953" y="1061"/>
                </a:lnTo>
                <a:lnTo>
                  <a:pt x="2952" y="1060"/>
                </a:lnTo>
                <a:lnTo>
                  <a:pt x="2952" y="1060"/>
                </a:lnTo>
                <a:lnTo>
                  <a:pt x="2952" y="1060"/>
                </a:lnTo>
                <a:lnTo>
                  <a:pt x="2951" y="1061"/>
                </a:lnTo>
                <a:lnTo>
                  <a:pt x="2951" y="1061"/>
                </a:lnTo>
                <a:lnTo>
                  <a:pt x="2947" y="1058"/>
                </a:lnTo>
                <a:lnTo>
                  <a:pt x="2944" y="1056"/>
                </a:lnTo>
                <a:lnTo>
                  <a:pt x="2944" y="1052"/>
                </a:lnTo>
                <a:lnTo>
                  <a:pt x="2935" y="1053"/>
                </a:lnTo>
                <a:lnTo>
                  <a:pt x="2935" y="1061"/>
                </a:lnTo>
                <a:lnTo>
                  <a:pt x="2949" y="1076"/>
                </a:lnTo>
                <a:lnTo>
                  <a:pt x="2949" y="1077"/>
                </a:lnTo>
                <a:lnTo>
                  <a:pt x="2947" y="1078"/>
                </a:lnTo>
                <a:lnTo>
                  <a:pt x="2948" y="1077"/>
                </a:lnTo>
                <a:lnTo>
                  <a:pt x="2948" y="1076"/>
                </a:lnTo>
                <a:lnTo>
                  <a:pt x="2945" y="1073"/>
                </a:lnTo>
                <a:lnTo>
                  <a:pt x="2945" y="1074"/>
                </a:lnTo>
                <a:lnTo>
                  <a:pt x="2944" y="1076"/>
                </a:lnTo>
                <a:lnTo>
                  <a:pt x="2947" y="1080"/>
                </a:lnTo>
                <a:lnTo>
                  <a:pt x="2944" y="1081"/>
                </a:lnTo>
                <a:lnTo>
                  <a:pt x="2938" y="1083"/>
                </a:lnTo>
                <a:lnTo>
                  <a:pt x="2945" y="1085"/>
                </a:lnTo>
                <a:lnTo>
                  <a:pt x="2947" y="1082"/>
                </a:lnTo>
                <a:lnTo>
                  <a:pt x="2950" y="1079"/>
                </a:lnTo>
                <a:lnTo>
                  <a:pt x="2953" y="1084"/>
                </a:lnTo>
                <a:lnTo>
                  <a:pt x="2960" y="1086"/>
                </a:lnTo>
                <a:lnTo>
                  <a:pt x="2960" y="1093"/>
                </a:lnTo>
                <a:lnTo>
                  <a:pt x="2964" y="1095"/>
                </a:lnTo>
                <a:lnTo>
                  <a:pt x="2964" y="1098"/>
                </a:lnTo>
                <a:lnTo>
                  <a:pt x="2961" y="1094"/>
                </a:lnTo>
                <a:lnTo>
                  <a:pt x="2957" y="1091"/>
                </a:lnTo>
                <a:lnTo>
                  <a:pt x="2956" y="1091"/>
                </a:lnTo>
                <a:lnTo>
                  <a:pt x="2961" y="1095"/>
                </a:lnTo>
                <a:lnTo>
                  <a:pt x="2959" y="1097"/>
                </a:lnTo>
                <a:lnTo>
                  <a:pt x="2961" y="1103"/>
                </a:lnTo>
                <a:lnTo>
                  <a:pt x="2959" y="1104"/>
                </a:lnTo>
                <a:lnTo>
                  <a:pt x="2954" y="1098"/>
                </a:lnTo>
                <a:lnTo>
                  <a:pt x="2945" y="1102"/>
                </a:lnTo>
                <a:lnTo>
                  <a:pt x="2945" y="1100"/>
                </a:lnTo>
                <a:lnTo>
                  <a:pt x="2944" y="1098"/>
                </a:lnTo>
                <a:lnTo>
                  <a:pt x="2948" y="1098"/>
                </a:lnTo>
                <a:lnTo>
                  <a:pt x="2948" y="1095"/>
                </a:lnTo>
                <a:lnTo>
                  <a:pt x="2943" y="1093"/>
                </a:lnTo>
                <a:lnTo>
                  <a:pt x="2937" y="1091"/>
                </a:lnTo>
                <a:lnTo>
                  <a:pt x="2935" y="1092"/>
                </a:lnTo>
                <a:lnTo>
                  <a:pt x="2931" y="1091"/>
                </a:lnTo>
                <a:lnTo>
                  <a:pt x="2924" y="1092"/>
                </a:lnTo>
                <a:lnTo>
                  <a:pt x="2920" y="1091"/>
                </a:lnTo>
                <a:lnTo>
                  <a:pt x="2917" y="1092"/>
                </a:lnTo>
                <a:lnTo>
                  <a:pt x="2916" y="1086"/>
                </a:lnTo>
                <a:lnTo>
                  <a:pt x="2911" y="1083"/>
                </a:lnTo>
                <a:lnTo>
                  <a:pt x="2911" y="1081"/>
                </a:lnTo>
                <a:lnTo>
                  <a:pt x="2911" y="1081"/>
                </a:lnTo>
                <a:lnTo>
                  <a:pt x="2910" y="1081"/>
                </a:lnTo>
                <a:lnTo>
                  <a:pt x="2911" y="1081"/>
                </a:lnTo>
                <a:lnTo>
                  <a:pt x="2909" y="1077"/>
                </a:lnTo>
                <a:lnTo>
                  <a:pt x="2903" y="1077"/>
                </a:lnTo>
                <a:lnTo>
                  <a:pt x="2903" y="1073"/>
                </a:lnTo>
                <a:lnTo>
                  <a:pt x="2903" y="1073"/>
                </a:lnTo>
                <a:lnTo>
                  <a:pt x="2903" y="1072"/>
                </a:lnTo>
                <a:lnTo>
                  <a:pt x="2903" y="1069"/>
                </a:lnTo>
                <a:lnTo>
                  <a:pt x="2904" y="1069"/>
                </a:lnTo>
                <a:lnTo>
                  <a:pt x="2902" y="1061"/>
                </a:lnTo>
                <a:lnTo>
                  <a:pt x="2896" y="1056"/>
                </a:lnTo>
                <a:lnTo>
                  <a:pt x="2892" y="1054"/>
                </a:lnTo>
                <a:lnTo>
                  <a:pt x="2895" y="1055"/>
                </a:lnTo>
                <a:lnTo>
                  <a:pt x="2895" y="1053"/>
                </a:lnTo>
                <a:lnTo>
                  <a:pt x="2891" y="1053"/>
                </a:lnTo>
                <a:lnTo>
                  <a:pt x="2891" y="1049"/>
                </a:lnTo>
                <a:lnTo>
                  <a:pt x="2895" y="1049"/>
                </a:lnTo>
                <a:lnTo>
                  <a:pt x="2895" y="1044"/>
                </a:lnTo>
                <a:lnTo>
                  <a:pt x="2895" y="1040"/>
                </a:lnTo>
                <a:lnTo>
                  <a:pt x="2895" y="1037"/>
                </a:lnTo>
                <a:lnTo>
                  <a:pt x="2895" y="1034"/>
                </a:lnTo>
                <a:lnTo>
                  <a:pt x="2895" y="1030"/>
                </a:lnTo>
                <a:lnTo>
                  <a:pt x="2891" y="1029"/>
                </a:lnTo>
                <a:lnTo>
                  <a:pt x="2891" y="1027"/>
                </a:lnTo>
                <a:lnTo>
                  <a:pt x="2889" y="1025"/>
                </a:lnTo>
                <a:lnTo>
                  <a:pt x="2887" y="1020"/>
                </a:lnTo>
                <a:lnTo>
                  <a:pt x="2882" y="1018"/>
                </a:lnTo>
                <a:lnTo>
                  <a:pt x="2883" y="1019"/>
                </a:lnTo>
                <a:lnTo>
                  <a:pt x="2883" y="1020"/>
                </a:lnTo>
                <a:lnTo>
                  <a:pt x="2879" y="1018"/>
                </a:lnTo>
                <a:lnTo>
                  <a:pt x="2879" y="1017"/>
                </a:lnTo>
                <a:lnTo>
                  <a:pt x="2875" y="1015"/>
                </a:lnTo>
                <a:lnTo>
                  <a:pt x="2875" y="1015"/>
                </a:lnTo>
                <a:lnTo>
                  <a:pt x="2875" y="1015"/>
                </a:lnTo>
                <a:lnTo>
                  <a:pt x="2875" y="1015"/>
                </a:lnTo>
                <a:lnTo>
                  <a:pt x="2872" y="1013"/>
                </a:lnTo>
                <a:lnTo>
                  <a:pt x="2869" y="1013"/>
                </a:lnTo>
                <a:lnTo>
                  <a:pt x="2867" y="1013"/>
                </a:lnTo>
                <a:lnTo>
                  <a:pt x="2867" y="1011"/>
                </a:lnTo>
                <a:lnTo>
                  <a:pt x="2860" y="1005"/>
                </a:lnTo>
                <a:lnTo>
                  <a:pt x="2852" y="1005"/>
                </a:lnTo>
                <a:lnTo>
                  <a:pt x="2843" y="1005"/>
                </a:lnTo>
                <a:lnTo>
                  <a:pt x="2843" y="998"/>
                </a:lnTo>
                <a:lnTo>
                  <a:pt x="2837" y="995"/>
                </a:lnTo>
                <a:lnTo>
                  <a:pt x="2834" y="991"/>
                </a:lnTo>
                <a:lnTo>
                  <a:pt x="2832" y="989"/>
                </a:lnTo>
                <a:lnTo>
                  <a:pt x="2831" y="989"/>
                </a:lnTo>
                <a:lnTo>
                  <a:pt x="2831" y="986"/>
                </a:lnTo>
                <a:lnTo>
                  <a:pt x="2837" y="987"/>
                </a:lnTo>
                <a:lnTo>
                  <a:pt x="2831" y="982"/>
                </a:lnTo>
                <a:lnTo>
                  <a:pt x="2829" y="980"/>
                </a:lnTo>
                <a:lnTo>
                  <a:pt x="2831" y="975"/>
                </a:lnTo>
                <a:lnTo>
                  <a:pt x="2829" y="972"/>
                </a:lnTo>
                <a:lnTo>
                  <a:pt x="2823" y="969"/>
                </a:lnTo>
                <a:lnTo>
                  <a:pt x="2821" y="969"/>
                </a:lnTo>
                <a:lnTo>
                  <a:pt x="2820" y="976"/>
                </a:lnTo>
                <a:lnTo>
                  <a:pt x="2815" y="979"/>
                </a:lnTo>
                <a:lnTo>
                  <a:pt x="2811" y="971"/>
                </a:lnTo>
                <a:lnTo>
                  <a:pt x="2809" y="965"/>
                </a:lnTo>
                <a:lnTo>
                  <a:pt x="2811" y="965"/>
                </a:lnTo>
                <a:lnTo>
                  <a:pt x="2812" y="965"/>
                </a:lnTo>
                <a:lnTo>
                  <a:pt x="2814" y="963"/>
                </a:lnTo>
                <a:lnTo>
                  <a:pt x="2817" y="961"/>
                </a:lnTo>
                <a:lnTo>
                  <a:pt x="2814" y="960"/>
                </a:lnTo>
                <a:lnTo>
                  <a:pt x="2812" y="961"/>
                </a:lnTo>
                <a:lnTo>
                  <a:pt x="2811" y="958"/>
                </a:lnTo>
                <a:lnTo>
                  <a:pt x="2807" y="960"/>
                </a:lnTo>
                <a:lnTo>
                  <a:pt x="2807" y="961"/>
                </a:lnTo>
                <a:lnTo>
                  <a:pt x="2805" y="961"/>
                </a:lnTo>
                <a:lnTo>
                  <a:pt x="2804" y="961"/>
                </a:lnTo>
                <a:lnTo>
                  <a:pt x="2794" y="964"/>
                </a:lnTo>
                <a:lnTo>
                  <a:pt x="2796" y="961"/>
                </a:lnTo>
                <a:lnTo>
                  <a:pt x="2793" y="962"/>
                </a:lnTo>
                <a:lnTo>
                  <a:pt x="2790" y="968"/>
                </a:lnTo>
                <a:lnTo>
                  <a:pt x="2796" y="972"/>
                </a:lnTo>
                <a:lnTo>
                  <a:pt x="2794" y="976"/>
                </a:lnTo>
                <a:lnTo>
                  <a:pt x="2793" y="974"/>
                </a:lnTo>
                <a:lnTo>
                  <a:pt x="2790" y="977"/>
                </a:lnTo>
                <a:lnTo>
                  <a:pt x="2793" y="985"/>
                </a:lnTo>
                <a:lnTo>
                  <a:pt x="2797" y="991"/>
                </a:lnTo>
                <a:lnTo>
                  <a:pt x="2811" y="999"/>
                </a:lnTo>
                <a:lnTo>
                  <a:pt x="2816" y="1016"/>
                </a:lnTo>
                <a:lnTo>
                  <a:pt x="2827" y="1027"/>
                </a:lnTo>
                <a:lnTo>
                  <a:pt x="2834" y="1033"/>
                </a:lnTo>
                <a:lnTo>
                  <a:pt x="2844" y="1033"/>
                </a:lnTo>
                <a:lnTo>
                  <a:pt x="2843" y="1034"/>
                </a:lnTo>
                <a:lnTo>
                  <a:pt x="2843" y="1037"/>
                </a:lnTo>
                <a:lnTo>
                  <a:pt x="2874" y="1052"/>
                </a:lnTo>
                <a:lnTo>
                  <a:pt x="2882" y="1061"/>
                </a:lnTo>
                <a:lnTo>
                  <a:pt x="2879" y="1067"/>
                </a:lnTo>
                <a:lnTo>
                  <a:pt x="2875" y="1063"/>
                </a:lnTo>
                <a:lnTo>
                  <a:pt x="2871" y="1057"/>
                </a:lnTo>
                <a:lnTo>
                  <a:pt x="2863" y="1056"/>
                </a:lnTo>
                <a:lnTo>
                  <a:pt x="2863" y="1053"/>
                </a:lnTo>
                <a:lnTo>
                  <a:pt x="2859" y="1056"/>
                </a:lnTo>
                <a:lnTo>
                  <a:pt x="2853" y="1062"/>
                </a:lnTo>
                <a:lnTo>
                  <a:pt x="2851" y="1067"/>
                </a:lnTo>
                <a:lnTo>
                  <a:pt x="2851" y="1068"/>
                </a:lnTo>
                <a:lnTo>
                  <a:pt x="2859" y="1073"/>
                </a:lnTo>
                <a:lnTo>
                  <a:pt x="2859" y="1080"/>
                </a:lnTo>
                <a:lnTo>
                  <a:pt x="2851" y="1083"/>
                </a:lnTo>
                <a:lnTo>
                  <a:pt x="2852" y="1084"/>
                </a:lnTo>
                <a:lnTo>
                  <a:pt x="2853" y="1091"/>
                </a:lnTo>
                <a:lnTo>
                  <a:pt x="2848" y="1096"/>
                </a:lnTo>
                <a:lnTo>
                  <a:pt x="2845" y="1100"/>
                </a:lnTo>
                <a:lnTo>
                  <a:pt x="2841" y="1101"/>
                </a:lnTo>
                <a:lnTo>
                  <a:pt x="2839" y="1100"/>
                </a:lnTo>
                <a:lnTo>
                  <a:pt x="2839" y="1096"/>
                </a:lnTo>
                <a:lnTo>
                  <a:pt x="2841" y="1094"/>
                </a:lnTo>
                <a:lnTo>
                  <a:pt x="2843" y="1094"/>
                </a:lnTo>
                <a:lnTo>
                  <a:pt x="2844" y="1089"/>
                </a:lnTo>
                <a:lnTo>
                  <a:pt x="2842" y="1086"/>
                </a:lnTo>
                <a:lnTo>
                  <a:pt x="2847" y="1084"/>
                </a:lnTo>
                <a:lnTo>
                  <a:pt x="2847" y="1081"/>
                </a:lnTo>
                <a:lnTo>
                  <a:pt x="2843" y="1080"/>
                </a:lnTo>
                <a:lnTo>
                  <a:pt x="2843" y="1073"/>
                </a:lnTo>
                <a:lnTo>
                  <a:pt x="2841" y="1065"/>
                </a:lnTo>
                <a:lnTo>
                  <a:pt x="2838" y="1065"/>
                </a:lnTo>
                <a:lnTo>
                  <a:pt x="2837" y="1065"/>
                </a:lnTo>
                <a:lnTo>
                  <a:pt x="2827" y="1058"/>
                </a:lnTo>
                <a:lnTo>
                  <a:pt x="2827" y="1056"/>
                </a:lnTo>
                <a:lnTo>
                  <a:pt x="2826" y="1050"/>
                </a:lnTo>
                <a:lnTo>
                  <a:pt x="2821" y="1052"/>
                </a:lnTo>
                <a:lnTo>
                  <a:pt x="2823" y="1048"/>
                </a:lnTo>
                <a:lnTo>
                  <a:pt x="2821" y="1046"/>
                </a:lnTo>
                <a:lnTo>
                  <a:pt x="2818" y="1048"/>
                </a:lnTo>
                <a:lnTo>
                  <a:pt x="2812" y="1041"/>
                </a:lnTo>
                <a:lnTo>
                  <a:pt x="2802" y="1041"/>
                </a:lnTo>
                <a:lnTo>
                  <a:pt x="2801" y="1037"/>
                </a:lnTo>
                <a:lnTo>
                  <a:pt x="2796" y="1035"/>
                </a:lnTo>
                <a:lnTo>
                  <a:pt x="2789" y="1029"/>
                </a:lnTo>
                <a:lnTo>
                  <a:pt x="2786" y="1025"/>
                </a:lnTo>
                <a:lnTo>
                  <a:pt x="2783" y="1022"/>
                </a:lnTo>
                <a:lnTo>
                  <a:pt x="2778" y="1019"/>
                </a:lnTo>
                <a:lnTo>
                  <a:pt x="2775" y="1020"/>
                </a:lnTo>
                <a:lnTo>
                  <a:pt x="2775" y="1018"/>
                </a:lnTo>
                <a:lnTo>
                  <a:pt x="2767" y="1007"/>
                </a:lnTo>
                <a:lnTo>
                  <a:pt x="2767" y="1003"/>
                </a:lnTo>
                <a:lnTo>
                  <a:pt x="2763" y="1000"/>
                </a:lnTo>
                <a:lnTo>
                  <a:pt x="2763" y="995"/>
                </a:lnTo>
                <a:lnTo>
                  <a:pt x="2761" y="991"/>
                </a:lnTo>
                <a:lnTo>
                  <a:pt x="2748" y="984"/>
                </a:lnTo>
                <a:lnTo>
                  <a:pt x="2742" y="982"/>
                </a:lnTo>
                <a:lnTo>
                  <a:pt x="2737" y="985"/>
                </a:lnTo>
                <a:lnTo>
                  <a:pt x="2730" y="992"/>
                </a:lnTo>
                <a:lnTo>
                  <a:pt x="2723" y="995"/>
                </a:lnTo>
                <a:lnTo>
                  <a:pt x="2723" y="995"/>
                </a:lnTo>
                <a:lnTo>
                  <a:pt x="2723" y="997"/>
                </a:lnTo>
                <a:lnTo>
                  <a:pt x="2721" y="997"/>
                </a:lnTo>
                <a:lnTo>
                  <a:pt x="2719" y="998"/>
                </a:lnTo>
                <a:lnTo>
                  <a:pt x="2710" y="1003"/>
                </a:lnTo>
                <a:lnTo>
                  <a:pt x="2712" y="1005"/>
                </a:lnTo>
                <a:lnTo>
                  <a:pt x="2710" y="1009"/>
                </a:lnTo>
                <a:lnTo>
                  <a:pt x="2705" y="1009"/>
                </a:lnTo>
                <a:lnTo>
                  <a:pt x="2701" y="1009"/>
                </a:lnTo>
                <a:lnTo>
                  <a:pt x="2699" y="1009"/>
                </a:lnTo>
                <a:lnTo>
                  <a:pt x="2698" y="1008"/>
                </a:lnTo>
                <a:lnTo>
                  <a:pt x="2693" y="1005"/>
                </a:lnTo>
                <a:lnTo>
                  <a:pt x="2690" y="1005"/>
                </a:lnTo>
                <a:lnTo>
                  <a:pt x="2687" y="1005"/>
                </a:lnTo>
                <a:lnTo>
                  <a:pt x="2690" y="1002"/>
                </a:lnTo>
                <a:lnTo>
                  <a:pt x="2687" y="999"/>
                </a:lnTo>
                <a:lnTo>
                  <a:pt x="2687" y="1001"/>
                </a:lnTo>
                <a:lnTo>
                  <a:pt x="2682" y="1002"/>
                </a:lnTo>
                <a:lnTo>
                  <a:pt x="2678" y="997"/>
                </a:lnTo>
                <a:lnTo>
                  <a:pt x="2678" y="1002"/>
                </a:lnTo>
                <a:lnTo>
                  <a:pt x="2678" y="1002"/>
                </a:lnTo>
                <a:lnTo>
                  <a:pt x="2670" y="999"/>
                </a:lnTo>
                <a:lnTo>
                  <a:pt x="2662" y="1004"/>
                </a:lnTo>
                <a:lnTo>
                  <a:pt x="2658" y="1007"/>
                </a:lnTo>
                <a:lnTo>
                  <a:pt x="2656" y="1013"/>
                </a:lnTo>
                <a:lnTo>
                  <a:pt x="2658" y="1019"/>
                </a:lnTo>
                <a:lnTo>
                  <a:pt x="2659" y="1021"/>
                </a:lnTo>
                <a:lnTo>
                  <a:pt x="2660" y="1021"/>
                </a:lnTo>
                <a:lnTo>
                  <a:pt x="2662" y="1021"/>
                </a:lnTo>
                <a:lnTo>
                  <a:pt x="2658" y="1022"/>
                </a:lnTo>
                <a:lnTo>
                  <a:pt x="2658" y="1025"/>
                </a:lnTo>
                <a:lnTo>
                  <a:pt x="2658" y="1028"/>
                </a:lnTo>
                <a:lnTo>
                  <a:pt x="2647" y="1037"/>
                </a:lnTo>
                <a:lnTo>
                  <a:pt x="2645" y="1041"/>
                </a:lnTo>
                <a:lnTo>
                  <a:pt x="2629" y="1044"/>
                </a:lnTo>
                <a:lnTo>
                  <a:pt x="2623" y="1048"/>
                </a:lnTo>
                <a:lnTo>
                  <a:pt x="2627" y="1050"/>
                </a:lnTo>
                <a:lnTo>
                  <a:pt x="2623" y="1053"/>
                </a:lnTo>
                <a:lnTo>
                  <a:pt x="2622" y="1053"/>
                </a:lnTo>
                <a:lnTo>
                  <a:pt x="2614" y="1061"/>
                </a:lnTo>
                <a:lnTo>
                  <a:pt x="2609" y="1071"/>
                </a:lnTo>
                <a:lnTo>
                  <a:pt x="2611" y="1080"/>
                </a:lnTo>
                <a:lnTo>
                  <a:pt x="2617" y="1085"/>
                </a:lnTo>
                <a:lnTo>
                  <a:pt x="2606" y="1092"/>
                </a:lnTo>
                <a:lnTo>
                  <a:pt x="2601" y="1104"/>
                </a:lnTo>
                <a:lnTo>
                  <a:pt x="2604" y="1106"/>
                </a:lnTo>
                <a:lnTo>
                  <a:pt x="2595" y="1106"/>
                </a:lnTo>
                <a:lnTo>
                  <a:pt x="2590" y="1109"/>
                </a:lnTo>
                <a:lnTo>
                  <a:pt x="2584" y="1120"/>
                </a:lnTo>
                <a:lnTo>
                  <a:pt x="2580" y="1119"/>
                </a:lnTo>
                <a:lnTo>
                  <a:pt x="2573" y="1123"/>
                </a:lnTo>
                <a:lnTo>
                  <a:pt x="2571" y="1122"/>
                </a:lnTo>
                <a:lnTo>
                  <a:pt x="2551" y="1122"/>
                </a:lnTo>
                <a:lnTo>
                  <a:pt x="2547" y="1126"/>
                </a:lnTo>
                <a:lnTo>
                  <a:pt x="2539" y="1127"/>
                </a:lnTo>
                <a:lnTo>
                  <a:pt x="2536" y="1134"/>
                </a:lnTo>
                <a:lnTo>
                  <a:pt x="2535" y="1134"/>
                </a:lnTo>
                <a:lnTo>
                  <a:pt x="2534" y="1134"/>
                </a:lnTo>
                <a:lnTo>
                  <a:pt x="2534" y="1135"/>
                </a:lnTo>
                <a:lnTo>
                  <a:pt x="2536" y="1139"/>
                </a:lnTo>
                <a:lnTo>
                  <a:pt x="2544" y="1146"/>
                </a:lnTo>
                <a:lnTo>
                  <a:pt x="2549" y="1146"/>
                </a:lnTo>
                <a:lnTo>
                  <a:pt x="2559" y="1145"/>
                </a:lnTo>
                <a:lnTo>
                  <a:pt x="2564" y="1146"/>
                </a:lnTo>
                <a:lnTo>
                  <a:pt x="2566" y="1145"/>
                </a:lnTo>
                <a:lnTo>
                  <a:pt x="2571" y="1150"/>
                </a:lnTo>
                <a:lnTo>
                  <a:pt x="2572" y="1150"/>
                </a:lnTo>
                <a:lnTo>
                  <a:pt x="2571" y="1147"/>
                </a:lnTo>
                <a:lnTo>
                  <a:pt x="2573" y="1150"/>
                </a:lnTo>
                <a:lnTo>
                  <a:pt x="2580" y="1150"/>
                </a:lnTo>
                <a:lnTo>
                  <a:pt x="2586" y="1154"/>
                </a:lnTo>
                <a:lnTo>
                  <a:pt x="2585" y="1156"/>
                </a:lnTo>
                <a:lnTo>
                  <a:pt x="2588" y="1157"/>
                </a:lnTo>
                <a:lnTo>
                  <a:pt x="2588" y="1157"/>
                </a:lnTo>
                <a:lnTo>
                  <a:pt x="2588" y="1155"/>
                </a:lnTo>
                <a:lnTo>
                  <a:pt x="2586" y="1154"/>
                </a:lnTo>
                <a:lnTo>
                  <a:pt x="2588" y="1151"/>
                </a:lnTo>
                <a:lnTo>
                  <a:pt x="2581" y="1146"/>
                </a:lnTo>
                <a:lnTo>
                  <a:pt x="2588" y="1146"/>
                </a:lnTo>
                <a:lnTo>
                  <a:pt x="2594" y="1140"/>
                </a:lnTo>
                <a:lnTo>
                  <a:pt x="2599" y="1136"/>
                </a:lnTo>
                <a:lnTo>
                  <a:pt x="2602" y="1134"/>
                </a:lnTo>
                <a:lnTo>
                  <a:pt x="2604" y="1136"/>
                </a:lnTo>
                <a:lnTo>
                  <a:pt x="2608" y="1132"/>
                </a:lnTo>
                <a:lnTo>
                  <a:pt x="2611" y="1134"/>
                </a:lnTo>
                <a:lnTo>
                  <a:pt x="2617" y="1128"/>
                </a:lnTo>
                <a:lnTo>
                  <a:pt x="2630" y="1121"/>
                </a:lnTo>
                <a:lnTo>
                  <a:pt x="2647" y="1120"/>
                </a:lnTo>
                <a:lnTo>
                  <a:pt x="2650" y="1121"/>
                </a:lnTo>
                <a:lnTo>
                  <a:pt x="2655" y="1116"/>
                </a:lnTo>
                <a:lnTo>
                  <a:pt x="2664" y="1117"/>
                </a:lnTo>
                <a:lnTo>
                  <a:pt x="2669" y="1114"/>
                </a:lnTo>
                <a:lnTo>
                  <a:pt x="2682" y="1114"/>
                </a:lnTo>
                <a:lnTo>
                  <a:pt x="2690" y="1120"/>
                </a:lnTo>
                <a:lnTo>
                  <a:pt x="2696" y="1116"/>
                </a:lnTo>
                <a:lnTo>
                  <a:pt x="2703" y="1114"/>
                </a:lnTo>
                <a:lnTo>
                  <a:pt x="2703" y="1112"/>
                </a:lnTo>
                <a:lnTo>
                  <a:pt x="2708" y="1111"/>
                </a:lnTo>
                <a:lnTo>
                  <a:pt x="2709" y="1114"/>
                </a:lnTo>
                <a:lnTo>
                  <a:pt x="2715" y="1114"/>
                </a:lnTo>
                <a:lnTo>
                  <a:pt x="2718" y="1114"/>
                </a:lnTo>
                <a:lnTo>
                  <a:pt x="2715" y="1112"/>
                </a:lnTo>
                <a:lnTo>
                  <a:pt x="2715" y="1111"/>
                </a:lnTo>
                <a:lnTo>
                  <a:pt x="2726" y="1114"/>
                </a:lnTo>
                <a:lnTo>
                  <a:pt x="2729" y="1116"/>
                </a:lnTo>
                <a:lnTo>
                  <a:pt x="2733" y="1114"/>
                </a:lnTo>
                <a:lnTo>
                  <a:pt x="2738" y="1114"/>
                </a:lnTo>
                <a:lnTo>
                  <a:pt x="2740" y="1117"/>
                </a:lnTo>
                <a:lnTo>
                  <a:pt x="2753" y="1114"/>
                </a:lnTo>
                <a:lnTo>
                  <a:pt x="2755" y="1114"/>
                </a:lnTo>
                <a:lnTo>
                  <a:pt x="2755" y="1115"/>
                </a:lnTo>
                <a:lnTo>
                  <a:pt x="2755" y="1114"/>
                </a:lnTo>
                <a:lnTo>
                  <a:pt x="2756" y="1114"/>
                </a:lnTo>
                <a:lnTo>
                  <a:pt x="2756" y="1113"/>
                </a:lnTo>
                <a:lnTo>
                  <a:pt x="2756" y="1112"/>
                </a:lnTo>
                <a:lnTo>
                  <a:pt x="2759" y="1112"/>
                </a:lnTo>
                <a:lnTo>
                  <a:pt x="2762" y="1114"/>
                </a:lnTo>
                <a:lnTo>
                  <a:pt x="2760" y="1117"/>
                </a:lnTo>
                <a:lnTo>
                  <a:pt x="2764" y="1122"/>
                </a:lnTo>
                <a:lnTo>
                  <a:pt x="2762" y="1122"/>
                </a:lnTo>
                <a:lnTo>
                  <a:pt x="2764" y="1122"/>
                </a:lnTo>
                <a:lnTo>
                  <a:pt x="2774" y="1115"/>
                </a:lnTo>
                <a:lnTo>
                  <a:pt x="2775" y="1117"/>
                </a:lnTo>
                <a:lnTo>
                  <a:pt x="2770" y="1126"/>
                </a:lnTo>
                <a:lnTo>
                  <a:pt x="2766" y="1127"/>
                </a:lnTo>
                <a:lnTo>
                  <a:pt x="2764" y="1130"/>
                </a:lnTo>
                <a:lnTo>
                  <a:pt x="2766" y="1137"/>
                </a:lnTo>
                <a:lnTo>
                  <a:pt x="2771" y="1139"/>
                </a:lnTo>
                <a:lnTo>
                  <a:pt x="2771" y="1142"/>
                </a:lnTo>
                <a:lnTo>
                  <a:pt x="2774" y="1146"/>
                </a:lnTo>
                <a:lnTo>
                  <a:pt x="2770" y="1154"/>
                </a:lnTo>
                <a:lnTo>
                  <a:pt x="2760" y="1161"/>
                </a:lnTo>
                <a:lnTo>
                  <a:pt x="2759" y="1162"/>
                </a:lnTo>
                <a:lnTo>
                  <a:pt x="2760" y="1167"/>
                </a:lnTo>
                <a:lnTo>
                  <a:pt x="2764" y="1171"/>
                </a:lnTo>
                <a:lnTo>
                  <a:pt x="2764" y="1172"/>
                </a:lnTo>
                <a:lnTo>
                  <a:pt x="2767" y="1171"/>
                </a:lnTo>
                <a:lnTo>
                  <a:pt x="2767" y="1173"/>
                </a:lnTo>
                <a:lnTo>
                  <a:pt x="2770" y="1176"/>
                </a:lnTo>
                <a:lnTo>
                  <a:pt x="2771" y="1173"/>
                </a:lnTo>
                <a:lnTo>
                  <a:pt x="2771" y="1174"/>
                </a:lnTo>
                <a:lnTo>
                  <a:pt x="2774" y="1174"/>
                </a:lnTo>
                <a:lnTo>
                  <a:pt x="2776" y="1180"/>
                </a:lnTo>
                <a:lnTo>
                  <a:pt x="2780" y="1180"/>
                </a:lnTo>
                <a:lnTo>
                  <a:pt x="2781" y="1180"/>
                </a:lnTo>
                <a:lnTo>
                  <a:pt x="2792" y="1186"/>
                </a:lnTo>
                <a:lnTo>
                  <a:pt x="2801" y="1186"/>
                </a:lnTo>
                <a:lnTo>
                  <a:pt x="2807" y="1183"/>
                </a:lnTo>
                <a:lnTo>
                  <a:pt x="2820" y="1184"/>
                </a:lnTo>
                <a:lnTo>
                  <a:pt x="2823" y="1188"/>
                </a:lnTo>
                <a:lnTo>
                  <a:pt x="2834" y="1189"/>
                </a:lnTo>
                <a:lnTo>
                  <a:pt x="2838" y="1194"/>
                </a:lnTo>
                <a:lnTo>
                  <a:pt x="2839" y="1204"/>
                </a:lnTo>
                <a:lnTo>
                  <a:pt x="2842" y="1209"/>
                </a:lnTo>
                <a:lnTo>
                  <a:pt x="2849" y="1210"/>
                </a:lnTo>
                <a:lnTo>
                  <a:pt x="2857" y="1210"/>
                </a:lnTo>
                <a:lnTo>
                  <a:pt x="2865" y="1214"/>
                </a:lnTo>
                <a:lnTo>
                  <a:pt x="2877" y="1219"/>
                </a:lnTo>
                <a:lnTo>
                  <a:pt x="2890" y="1230"/>
                </a:lnTo>
                <a:lnTo>
                  <a:pt x="2895" y="1230"/>
                </a:lnTo>
                <a:lnTo>
                  <a:pt x="2899" y="1224"/>
                </a:lnTo>
                <a:lnTo>
                  <a:pt x="2905" y="1216"/>
                </a:lnTo>
                <a:lnTo>
                  <a:pt x="2906" y="1211"/>
                </a:lnTo>
                <a:lnTo>
                  <a:pt x="2902" y="1201"/>
                </a:lnTo>
                <a:lnTo>
                  <a:pt x="2906" y="1194"/>
                </a:lnTo>
                <a:lnTo>
                  <a:pt x="2913" y="1188"/>
                </a:lnTo>
                <a:lnTo>
                  <a:pt x="2919" y="1184"/>
                </a:lnTo>
                <a:lnTo>
                  <a:pt x="2925" y="1183"/>
                </a:lnTo>
                <a:lnTo>
                  <a:pt x="2928" y="1182"/>
                </a:lnTo>
                <a:lnTo>
                  <a:pt x="2937" y="1183"/>
                </a:lnTo>
                <a:lnTo>
                  <a:pt x="2948" y="1186"/>
                </a:lnTo>
                <a:lnTo>
                  <a:pt x="2948" y="1192"/>
                </a:lnTo>
                <a:lnTo>
                  <a:pt x="2950" y="1193"/>
                </a:lnTo>
                <a:lnTo>
                  <a:pt x="2961" y="1194"/>
                </a:lnTo>
                <a:lnTo>
                  <a:pt x="2966" y="1198"/>
                </a:lnTo>
                <a:lnTo>
                  <a:pt x="2979" y="1198"/>
                </a:lnTo>
                <a:lnTo>
                  <a:pt x="2982" y="1204"/>
                </a:lnTo>
                <a:lnTo>
                  <a:pt x="2978" y="1207"/>
                </a:lnTo>
                <a:lnTo>
                  <a:pt x="2979" y="1207"/>
                </a:lnTo>
                <a:lnTo>
                  <a:pt x="2989" y="1205"/>
                </a:lnTo>
                <a:lnTo>
                  <a:pt x="2999" y="1208"/>
                </a:lnTo>
                <a:lnTo>
                  <a:pt x="3008" y="1210"/>
                </a:lnTo>
                <a:lnTo>
                  <a:pt x="3010" y="1211"/>
                </a:lnTo>
                <a:lnTo>
                  <a:pt x="3012" y="1214"/>
                </a:lnTo>
                <a:lnTo>
                  <a:pt x="3016" y="1213"/>
                </a:lnTo>
                <a:lnTo>
                  <a:pt x="3018" y="1218"/>
                </a:lnTo>
                <a:lnTo>
                  <a:pt x="3023" y="1218"/>
                </a:lnTo>
                <a:lnTo>
                  <a:pt x="3034" y="1220"/>
                </a:lnTo>
                <a:lnTo>
                  <a:pt x="3040" y="1217"/>
                </a:lnTo>
                <a:lnTo>
                  <a:pt x="3048" y="1211"/>
                </a:lnTo>
                <a:lnTo>
                  <a:pt x="3049" y="1214"/>
                </a:lnTo>
                <a:lnTo>
                  <a:pt x="3052" y="1214"/>
                </a:lnTo>
                <a:lnTo>
                  <a:pt x="3053" y="1208"/>
                </a:lnTo>
                <a:lnTo>
                  <a:pt x="3055" y="1207"/>
                </a:lnTo>
                <a:lnTo>
                  <a:pt x="3064" y="1206"/>
                </a:lnTo>
                <a:lnTo>
                  <a:pt x="3063" y="1206"/>
                </a:lnTo>
                <a:lnTo>
                  <a:pt x="3067" y="1207"/>
                </a:lnTo>
                <a:lnTo>
                  <a:pt x="3071" y="1207"/>
                </a:lnTo>
                <a:lnTo>
                  <a:pt x="3073" y="1207"/>
                </a:lnTo>
                <a:lnTo>
                  <a:pt x="3076" y="1206"/>
                </a:lnTo>
                <a:lnTo>
                  <a:pt x="3074" y="1211"/>
                </a:lnTo>
                <a:lnTo>
                  <a:pt x="3076" y="1212"/>
                </a:lnTo>
                <a:lnTo>
                  <a:pt x="3078" y="1210"/>
                </a:lnTo>
                <a:lnTo>
                  <a:pt x="3078" y="1214"/>
                </a:lnTo>
                <a:lnTo>
                  <a:pt x="3082" y="1213"/>
                </a:lnTo>
                <a:lnTo>
                  <a:pt x="3079" y="1211"/>
                </a:lnTo>
                <a:lnTo>
                  <a:pt x="3086" y="1215"/>
                </a:lnTo>
                <a:lnTo>
                  <a:pt x="3092" y="1213"/>
                </a:lnTo>
                <a:lnTo>
                  <a:pt x="3092" y="1215"/>
                </a:lnTo>
                <a:lnTo>
                  <a:pt x="3098" y="1214"/>
                </a:lnTo>
                <a:lnTo>
                  <a:pt x="3102" y="1214"/>
                </a:lnTo>
                <a:lnTo>
                  <a:pt x="3109" y="1211"/>
                </a:lnTo>
                <a:lnTo>
                  <a:pt x="3110" y="1211"/>
                </a:lnTo>
                <a:lnTo>
                  <a:pt x="3109" y="1210"/>
                </a:lnTo>
                <a:lnTo>
                  <a:pt x="3109" y="1210"/>
                </a:lnTo>
                <a:lnTo>
                  <a:pt x="3108" y="1209"/>
                </a:lnTo>
                <a:lnTo>
                  <a:pt x="3108" y="1209"/>
                </a:lnTo>
                <a:lnTo>
                  <a:pt x="3111" y="1205"/>
                </a:lnTo>
                <a:lnTo>
                  <a:pt x="3116" y="1199"/>
                </a:lnTo>
                <a:lnTo>
                  <a:pt x="3120" y="1186"/>
                </a:lnTo>
                <a:lnTo>
                  <a:pt x="3120" y="1186"/>
                </a:lnTo>
                <a:lnTo>
                  <a:pt x="3120" y="1182"/>
                </a:lnTo>
                <a:lnTo>
                  <a:pt x="3118" y="1180"/>
                </a:lnTo>
                <a:lnTo>
                  <a:pt x="3124" y="1167"/>
                </a:lnTo>
                <a:lnTo>
                  <a:pt x="3128" y="1165"/>
                </a:lnTo>
                <a:lnTo>
                  <a:pt x="3128" y="1160"/>
                </a:lnTo>
                <a:lnTo>
                  <a:pt x="3132" y="1157"/>
                </a:lnTo>
                <a:lnTo>
                  <a:pt x="3132" y="1158"/>
                </a:lnTo>
                <a:lnTo>
                  <a:pt x="3135" y="1158"/>
                </a:lnTo>
                <a:lnTo>
                  <a:pt x="3132" y="1152"/>
                </a:lnTo>
                <a:lnTo>
                  <a:pt x="3132" y="1146"/>
                </a:lnTo>
                <a:lnTo>
                  <a:pt x="3132" y="1143"/>
                </a:lnTo>
                <a:lnTo>
                  <a:pt x="3132" y="1141"/>
                </a:lnTo>
                <a:lnTo>
                  <a:pt x="3132" y="1140"/>
                </a:lnTo>
                <a:lnTo>
                  <a:pt x="3134" y="1137"/>
                </a:lnTo>
                <a:lnTo>
                  <a:pt x="3135" y="1134"/>
                </a:lnTo>
                <a:lnTo>
                  <a:pt x="3132" y="1128"/>
                </a:lnTo>
                <a:lnTo>
                  <a:pt x="3136" y="1123"/>
                </a:lnTo>
                <a:lnTo>
                  <a:pt x="3136" y="1120"/>
                </a:lnTo>
                <a:close/>
                <a:moveTo>
                  <a:pt x="2946" y="1087"/>
                </a:moveTo>
                <a:lnTo>
                  <a:pt x="2947" y="1089"/>
                </a:lnTo>
                <a:lnTo>
                  <a:pt x="2948" y="1089"/>
                </a:lnTo>
                <a:lnTo>
                  <a:pt x="2948" y="1087"/>
                </a:lnTo>
                <a:lnTo>
                  <a:pt x="2950" y="1088"/>
                </a:lnTo>
                <a:lnTo>
                  <a:pt x="2952" y="1089"/>
                </a:lnTo>
                <a:lnTo>
                  <a:pt x="2952" y="1087"/>
                </a:lnTo>
                <a:lnTo>
                  <a:pt x="2950" y="1086"/>
                </a:lnTo>
                <a:lnTo>
                  <a:pt x="2948" y="1085"/>
                </a:lnTo>
                <a:lnTo>
                  <a:pt x="2945" y="1085"/>
                </a:lnTo>
                <a:lnTo>
                  <a:pt x="2946" y="1087"/>
                </a:lnTo>
                <a:close/>
                <a:moveTo>
                  <a:pt x="3216" y="1035"/>
                </a:moveTo>
                <a:lnTo>
                  <a:pt x="3219" y="1030"/>
                </a:lnTo>
                <a:lnTo>
                  <a:pt x="3214" y="1016"/>
                </a:lnTo>
                <a:lnTo>
                  <a:pt x="3211" y="1015"/>
                </a:lnTo>
                <a:lnTo>
                  <a:pt x="3209" y="1014"/>
                </a:lnTo>
                <a:lnTo>
                  <a:pt x="3208" y="1011"/>
                </a:lnTo>
                <a:lnTo>
                  <a:pt x="3204" y="1010"/>
                </a:lnTo>
                <a:lnTo>
                  <a:pt x="3198" y="1010"/>
                </a:lnTo>
                <a:lnTo>
                  <a:pt x="3196" y="1009"/>
                </a:lnTo>
                <a:lnTo>
                  <a:pt x="3188" y="1009"/>
                </a:lnTo>
                <a:lnTo>
                  <a:pt x="3188" y="1003"/>
                </a:lnTo>
                <a:lnTo>
                  <a:pt x="3173" y="987"/>
                </a:lnTo>
                <a:lnTo>
                  <a:pt x="3170" y="986"/>
                </a:lnTo>
                <a:lnTo>
                  <a:pt x="3166" y="985"/>
                </a:lnTo>
                <a:lnTo>
                  <a:pt x="3163" y="982"/>
                </a:lnTo>
                <a:lnTo>
                  <a:pt x="3160" y="980"/>
                </a:lnTo>
                <a:lnTo>
                  <a:pt x="3160" y="981"/>
                </a:lnTo>
                <a:lnTo>
                  <a:pt x="3158" y="981"/>
                </a:lnTo>
                <a:lnTo>
                  <a:pt x="3156" y="980"/>
                </a:lnTo>
                <a:lnTo>
                  <a:pt x="3154" y="977"/>
                </a:lnTo>
                <a:lnTo>
                  <a:pt x="3152" y="975"/>
                </a:lnTo>
                <a:lnTo>
                  <a:pt x="3144" y="971"/>
                </a:lnTo>
                <a:lnTo>
                  <a:pt x="3146" y="970"/>
                </a:lnTo>
                <a:lnTo>
                  <a:pt x="3148" y="969"/>
                </a:lnTo>
                <a:lnTo>
                  <a:pt x="3148" y="970"/>
                </a:lnTo>
                <a:lnTo>
                  <a:pt x="3152" y="969"/>
                </a:lnTo>
                <a:lnTo>
                  <a:pt x="3156" y="967"/>
                </a:lnTo>
                <a:lnTo>
                  <a:pt x="3160" y="968"/>
                </a:lnTo>
                <a:lnTo>
                  <a:pt x="3160" y="963"/>
                </a:lnTo>
                <a:lnTo>
                  <a:pt x="3159" y="963"/>
                </a:lnTo>
                <a:lnTo>
                  <a:pt x="3157" y="963"/>
                </a:lnTo>
                <a:lnTo>
                  <a:pt x="3161" y="960"/>
                </a:lnTo>
                <a:lnTo>
                  <a:pt x="3163" y="957"/>
                </a:lnTo>
                <a:lnTo>
                  <a:pt x="3164" y="957"/>
                </a:lnTo>
                <a:lnTo>
                  <a:pt x="3164" y="957"/>
                </a:lnTo>
                <a:lnTo>
                  <a:pt x="3166" y="953"/>
                </a:lnTo>
                <a:lnTo>
                  <a:pt x="3168" y="954"/>
                </a:lnTo>
                <a:lnTo>
                  <a:pt x="3171" y="956"/>
                </a:lnTo>
                <a:lnTo>
                  <a:pt x="3171" y="955"/>
                </a:lnTo>
                <a:lnTo>
                  <a:pt x="3172" y="953"/>
                </a:lnTo>
                <a:lnTo>
                  <a:pt x="3164" y="949"/>
                </a:lnTo>
                <a:lnTo>
                  <a:pt x="3163" y="949"/>
                </a:lnTo>
                <a:lnTo>
                  <a:pt x="3162" y="947"/>
                </a:lnTo>
                <a:lnTo>
                  <a:pt x="3160" y="945"/>
                </a:lnTo>
                <a:lnTo>
                  <a:pt x="3164" y="945"/>
                </a:lnTo>
                <a:lnTo>
                  <a:pt x="3168" y="942"/>
                </a:lnTo>
                <a:lnTo>
                  <a:pt x="3168" y="942"/>
                </a:lnTo>
                <a:lnTo>
                  <a:pt x="3168" y="941"/>
                </a:lnTo>
                <a:lnTo>
                  <a:pt x="3178" y="937"/>
                </a:lnTo>
                <a:lnTo>
                  <a:pt x="3180" y="937"/>
                </a:lnTo>
                <a:lnTo>
                  <a:pt x="3180" y="936"/>
                </a:lnTo>
                <a:lnTo>
                  <a:pt x="3180" y="933"/>
                </a:lnTo>
                <a:lnTo>
                  <a:pt x="3178" y="933"/>
                </a:lnTo>
                <a:lnTo>
                  <a:pt x="3175" y="934"/>
                </a:lnTo>
                <a:lnTo>
                  <a:pt x="3172" y="936"/>
                </a:lnTo>
                <a:lnTo>
                  <a:pt x="3171" y="934"/>
                </a:lnTo>
                <a:lnTo>
                  <a:pt x="3170" y="935"/>
                </a:lnTo>
                <a:lnTo>
                  <a:pt x="3167" y="937"/>
                </a:lnTo>
                <a:lnTo>
                  <a:pt x="3167" y="937"/>
                </a:lnTo>
                <a:lnTo>
                  <a:pt x="3164" y="937"/>
                </a:lnTo>
                <a:lnTo>
                  <a:pt x="3159" y="937"/>
                </a:lnTo>
                <a:lnTo>
                  <a:pt x="3156" y="941"/>
                </a:lnTo>
                <a:lnTo>
                  <a:pt x="3155" y="941"/>
                </a:lnTo>
                <a:lnTo>
                  <a:pt x="3139" y="945"/>
                </a:lnTo>
                <a:lnTo>
                  <a:pt x="3135" y="945"/>
                </a:lnTo>
                <a:lnTo>
                  <a:pt x="3126" y="949"/>
                </a:lnTo>
                <a:lnTo>
                  <a:pt x="3126" y="948"/>
                </a:lnTo>
                <a:lnTo>
                  <a:pt x="3126" y="948"/>
                </a:lnTo>
                <a:lnTo>
                  <a:pt x="3126" y="948"/>
                </a:lnTo>
                <a:lnTo>
                  <a:pt x="3126" y="948"/>
                </a:lnTo>
                <a:lnTo>
                  <a:pt x="3125" y="945"/>
                </a:lnTo>
                <a:lnTo>
                  <a:pt x="3123" y="948"/>
                </a:lnTo>
                <a:lnTo>
                  <a:pt x="3117" y="949"/>
                </a:lnTo>
                <a:lnTo>
                  <a:pt x="3115" y="953"/>
                </a:lnTo>
                <a:lnTo>
                  <a:pt x="3114" y="953"/>
                </a:lnTo>
                <a:lnTo>
                  <a:pt x="3112" y="951"/>
                </a:lnTo>
                <a:lnTo>
                  <a:pt x="3112" y="953"/>
                </a:lnTo>
                <a:lnTo>
                  <a:pt x="3112" y="953"/>
                </a:lnTo>
                <a:lnTo>
                  <a:pt x="3111" y="951"/>
                </a:lnTo>
                <a:lnTo>
                  <a:pt x="3110" y="949"/>
                </a:lnTo>
                <a:lnTo>
                  <a:pt x="3109" y="953"/>
                </a:lnTo>
                <a:lnTo>
                  <a:pt x="3110" y="954"/>
                </a:lnTo>
                <a:lnTo>
                  <a:pt x="3110" y="953"/>
                </a:lnTo>
                <a:lnTo>
                  <a:pt x="3112" y="953"/>
                </a:lnTo>
                <a:lnTo>
                  <a:pt x="3113" y="954"/>
                </a:lnTo>
                <a:lnTo>
                  <a:pt x="3114" y="954"/>
                </a:lnTo>
                <a:lnTo>
                  <a:pt x="3113" y="955"/>
                </a:lnTo>
                <a:lnTo>
                  <a:pt x="3112" y="957"/>
                </a:lnTo>
                <a:lnTo>
                  <a:pt x="3117" y="956"/>
                </a:lnTo>
                <a:lnTo>
                  <a:pt x="3114" y="961"/>
                </a:lnTo>
                <a:lnTo>
                  <a:pt x="3117" y="961"/>
                </a:lnTo>
                <a:lnTo>
                  <a:pt x="3121" y="962"/>
                </a:lnTo>
                <a:lnTo>
                  <a:pt x="3122" y="962"/>
                </a:lnTo>
                <a:lnTo>
                  <a:pt x="3117" y="953"/>
                </a:lnTo>
                <a:lnTo>
                  <a:pt x="3120" y="953"/>
                </a:lnTo>
                <a:lnTo>
                  <a:pt x="3123" y="960"/>
                </a:lnTo>
                <a:lnTo>
                  <a:pt x="3129" y="965"/>
                </a:lnTo>
                <a:lnTo>
                  <a:pt x="3135" y="964"/>
                </a:lnTo>
                <a:lnTo>
                  <a:pt x="3135" y="965"/>
                </a:lnTo>
                <a:lnTo>
                  <a:pt x="3136" y="965"/>
                </a:lnTo>
                <a:lnTo>
                  <a:pt x="3139" y="961"/>
                </a:lnTo>
                <a:lnTo>
                  <a:pt x="3144" y="964"/>
                </a:lnTo>
                <a:lnTo>
                  <a:pt x="3140" y="965"/>
                </a:lnTo>
                <a:lnTo>
                  <a:pt x="3140" y="971"/>
                </a:lnTo>
                <a:lnTo>
                  <a:pt x="3133" y="972"/>
                </a:lnTo>
                <a:lnTo>
                  <a:pt x="3129" y="968"/>
                </a:lnTo>
                <a:lnTo>
                  <a:pt x="3123" y="975"/>
                </a:lnTo>
                <a:lnTo>
                  <a:pt x="3121" y="973"/>
                </a:lnTo>
                <a:lnTo>
                  <a:pt x="3115" y="975"/>
                </a:lnTo>
                <a:lnTo>
                  <a:pt x="3112" y="980"/>
                </a:lnTo>
                <a:lnTo>
                  <a:pt x="3109" y="982"/>
                </a:lnTo>
                <a:lnTo>
                  <a:pt x="3106" y="984"/>
                </a:lnTo>
                <a:lnTo>
                  <a:pt x="3102" y="983"/>
                </a:lnTo>
                <a:lnTo>
                  <a:pt x="3098" y="981"/>
                </a:lnTo>
                <a:lnTo>
                  <a:pt x="3100" y="981"/>
                </a:lnTo>
                <a:lnTo>
                  <a:pt x="3100" y="975"/>
                </a:lnTo>
                <a:lnTo>
                  <a:pt x="3102" y="973"/>
                </a:lnTo>
                <a:lnTo>
                  <a:pt x="3101" y="969"/>
                </a:lnTo>
                <a:lnTo>
                  <a:pt x="3096" y="969"/>
                </a:lnTo>
                <a:lnTo>
                  <a:pt x="3091" y="969"/>
                </a:lnTo>
                <a:lnTo>
                  <a:pt x="3086" y="969"/>
                </a:lnTo>
                <a:lnTo>
                  <a:pt x="3084" y="966"/>
                </a:lnTo>
                <a:lnTo>
                  <a:pt x="3090" y="960"/>
                </a:lnTo>
                <a:lnTo>
                  <a:pt x="3102" y="954"/>
                </a:lnTo>
                <a:lnTo>
                  <a:pt x="3100" y="953"/>
                </a:lnTo>
                <a:lnTo>
                  <a:pt x="3100" y="951"/>
                </a:lnTo>
                <a:lnTo>
                  <a:pt x="3097" y="953"/>
                </a:lnTo>
                <a:lnTo>
                  <a:pt x="3096" y="949"/>
                </a:lnTo>
                <a:lnTo>
                  <a:pt x="3086" y="951"/>
                </a:lnTo>
                <a:lnTo>
                  <a:pt x="3075" y="948"/>
                </a:lnTo>
                <a:lnTo>
                  <a:pt x="3079" y="946"/>
                </a:lnTo>
                <a:lnTo>
                  <a:pt x="3076" y="946"/>
                </a:lnTo>
                <a:lnTo>
                  <a:pt x="3073" y="945"/>
                </a:lnTo>
                <a:lnTo>
                  <a:pt x="3072" y="945"/>
                </a:lnTo>
                <a:lnTo>
                  <a:pt x="3072" y="945"/>
                </a:lnTo>
                <a:lnTo>
                  <a:pt x="3069" y="945"/>
                </a:lnTo>
                <a:lnTo>
                  <a:pt x="3060" y="942"/>
                </a:lnTo>
                <a:lnTo>
                  <a:pt x="3060" y="946"/>
                </a:lnTo>
                <a:lnTo>
                  <a:pt x="3052" y="957"/>
                </a:lnTo>
                <a:lnTo>
                  <a:pt x="3046" y="957"/>
                </a:lnTo>
                <a:lnTo>
                  <a:pt x="3045" y="959"/>
                </a:lnTo>
                <a:lnTo>
                  <a:pt x="3044" y="961"/>
                </a:lnTo>
                <a:lnTo>
                  <a:pt x="3040" y="956"/>
                </a:lnTo>
                <a:lnTo>
                  <a:pt x="3040" y="961"/>
                </a:lnTo>
                <a:lnTo>
                  <a:pt x="3045" y="964"/>
                </a:lnTo>
                <a:lnTo>
                  <a:pt x="3044" y="967"/>
                </a:lnTo>
                <a:lnTo>
                  <a:pt x="3041" y="965"/>
                </a:lnTo>
                <a:lnTo>
                  <a:pt x="3039" y="964"/>
                </a:lnTo>
                <a:lnTo>
                  <a:pt x="3029" y="967"/>
                </a:lnTo>
                <a:lnTo>
                  <a:pt x="3023" y="965"/>
                </a:lnTo>
                <a:lnTo>
                  <a:pt x="3022" y="965"/>
                </a:lnTo>
                <a:lnTo>
                  <a:pt x="3022" y="964"/>
                </a:lnTo>
                <a:lnTo>
                  <a:pt x="3021" y="965"/>
                </a:lnTo>
                <a:lnTo>
                  <a:pt x="3021" y="966"/>
                </a:lnTo>
                <a:lnTo>
                  <a:pt x="3021" y="966"/>
                </a:lnTo>
                <a:lnTo>
                  <a:pt x="3021" y="966"/>
                </a:lnTo>
                <a:lnTo>
                  <a:pt x="3021" y="966"/>
                </a:lnTo>
                <a:lnTo>
                  <a:pt x="3023" y="967"/>
                </a:lnTo>
                <a:lnTo>
                  <a:pt x="3028" y="970"/>
                </a:lnTo>
                <a:lnTo>
                  <a:pt x="3037" y="967"/>
                </a:lnTo>
                <a:lnTo>
                  <a:pt x="3041" y="968"/>
                </a:lnTo>
                <a:lnTo>
                  <a:pt x="3042" y="971"/>
                </a:lnTo>
                <a:lnTo>
                  <a:pt x="3041" y="981"/>
                </a:lnTo>
                <a:lnTo>
                  <a:pt x="3033" y="981"/>
                </a:lnTo>
                <a:lnTo>
                  <a:pt x="3032" y="982"/>
                </a:lnTo>
                <a:lnTo>
                  <a:pt x="3026" y="986"/>
                </a:lnTo>
                <a:lnTo>
                  <a:pt x="3028" y="994"/>
                </a:lnTo>
                <a:lnTo>
                  <a:pt x="3025" y="999"/>
                </a:lnTo>
                <a:lnTo>
                  <a:pt x="3024" y="999"/>
                </a:lnTo>
                <a:lnTo>
                  <a:pt x="3024" y="1005"/>
                </a:lnTo>
                <a:lnTo>
                  <a:pt x="3020" y="1005"/>
                </a:lnTo>
                <a:lnTo>
                  <a:pt x="3016" y="1007"/>
                </a:lnTo>
                <a:lnTo>
                  <a:pt x="3016" y="1017"/>
                </a:lnTo>
                <a:lnTo>
                  <a:pt x="3014" y="1017"/>
                </a:lnTo>
                <a:lnTo>
                  <a:pt x="3011" y="1021"/>
                </a:lnTo>
                <a:lnTo>
                  <a:pt x="3014" y="1021"/>
                </a:lnTo>
                <a:lnTo>
                  <a:pt x="3016" y="1024"/>
                </a:lnTo>
                <a:lnTo>
                  <a:pt x="3019" y="1026"/>
                </a:lnTo>
                <a:lnTo>
                  <a:pt x="3012" y="1028"/>
                </a:lnTo>
                <a:lnTo>
                  <a:pt x="3015" y="1031"/>
                </a:lnTo>
                <a:lnTo>
                  <a:pt x="3021" y="1028"/>
                </a:lnTo>
                <a:lnTo>
                  <a:pt x="3020" y="1032"/>
                </a:lnTo>
                <a:lnTo>
                  <a:pt x="3021" y="1035"/>
                </a:lnTo>
                <a:lnTo>
                  <a:pt x="3026" y="1038"/>
                </a:lnTo>
                <a:lnTo>
                  <a:pt x="3032" y="1042"/>
                </a:lnTo>
                <a:lnTo>
                  <a:pt x="3032" y="1045"/>
                </a:lnTo>
                <a:lnTo>
                  <a:pt x="3033" y="1049"/>
                </a:lnTo>
                <a:lnTo>
                  <a:pt x="3030" y="1049"/>
                </a:lnTo>
                <a:lnTo>
                  <a:pt x="3028" y="1045"/>
                </a:lnTo>
                <a:lnTo>
                  <a:pt x="3028" y="1045"/>
                </a:lnTo>
                <a:lnTo>
                  <a:pt x="3024" y="1045"/>
                </a:lnTo>
                <a:lnTo>
                  <a:pt x="3021" y="1049"/>
                </a:lnTo>
                <a:lnTo>
                  <a:pt x="3014" y="1049"/>
                </a:lnTo>
                <a:lnTo>
                  <a:pt x="3011" y="1052"/>
                </a:lnTo>
                <a:lnTo>
                  <a:pt x="3003" y="1057"/>
                </a:lnTo>
                <a:lnTo>
                  <a:pt x="3009" y="1057"/>
                </a:lnTo>
                <a:lnTo>
                  <a:pt x="3014" y="1061"/>
                </a:lnTo>
                <a:lnTo>
                  <a:pt x="3019" y="1061"/>
                </a:lnTo>
                <a:lnTo>
                  <a:pt x="3018" y="1059"/>
                </a:lnTo>
                <a:lnTo>
                  <a:pt x="3018" y="1057"/>
                </a:lnTo>
                <a:lnTo>
                  <a:pt x="3020" y="1057"/>
                </a:lnTo>
                <a:lnTo>
                  <a:pt x="3020" y="1061"/>
                </a:lnTo>
                <a:lnTo>
                  <a:pt x="3036" y="1061"/>
                </a:lnTo>
                <a:lnTo>
                  <a:pt x="3038" y="1058"/>
                </a:lnTo>
                <a:lnTo>
                  <a:pt x="3033" y="1055"/>
                </a:lnTo>
                <a:lnTo>
                  <a:pt x="3038" y="1054"/>
                </a:lnTo>
                <a:lnTo>
                  <a:pt x="3043" y="1053"/>
                </a:lnTo>
                <a:lnTo>
                  <a:pt x="3048" y="1053"/>
                </a:lnTo>
                <a:lnTo>
                  <a:pt x="3041" y="1051"/>
                </a:lnTo>
                <a:lnTo>
                  <a:pt x="3038" y="1048"/>
                </a:lnTo>
                <a:lnTo>
                  <a:pt x="3036" y="1045"/>
                </a:lnTo>
                <a:lnTo>
                  <a:pt x="3038" y="1042"/>
                </a:lnTo>
                <a:lnTo>
                  <a:pt x="3051" y="1044"/>
                </a:lnTo>
                <a:lnTo>
                  <a:pt x="3054" y="1043"/>
                </a:lnTo>
                <a:lnTo>
                  <a:pt x="3058" y="1046"/>
                </a:lnTo>
                <a:lnTo>
                  <a:pt x="3062" y="1049"/>
                </a:lnTo>
                <a:lnTo>
                  <a:pt x="3068" y="1049"/>
                </a:lnTo>
                <a:lnTo>
                  <a:pt x="3073" y="1042"/>
                </a:lnTo>
                <a:lnTo>
                  <a:pt x="3082" y="1034"/>
                </a:lnTo>
                <a:lnTo>
                  <a:pt x="3099" y="1029"/>
                </a:lnTo>
                <a:lnTo>
                  <a:pt x="3119" y="1029"/>
                </a:lnTo>
                <a:lnTo>
                  <a:pt x="3121" y="1028"/>
                </a:lnTo>
                <a:lnTo>
                  <a:pt x="3122" y="1027"/>
                </a:lnTo>
                <a:lnTo>
                  <a:pt x="3126" y="1034"/>
                </a:lnTo>
                <a:lnTo>
                  <a:pt x="3130" y="1036"/>
                </a:lnTo>
                <a:lnTo>
                  <a:pt x="3137" y="1037"/>
                </a:lnTo>
                <a:lnTo>
                  <a:pt x="3136" y="1037"/>
                </a:lnTo>
                <a:lnTo>
                  <a:pt x="3136" y="1038"/>
                </a:lnTo>
                <a:lnTo>
                  <a:pt x="3139" y="1040"/>
                </a:lnTo>
                <a:lnTo>
                  <a:pt x="3143" y="1042"/>
                </a:lnTo>
                <a:lnTo>
                  <a:pt x="3145" y="1041"/>
                </a:lnTo>
                <a:lnTo>
                  <a:pt x="3147" y="1039"/>
                </a:lnTo>
                <a:lnTo>
                  <a:pt x="3148" y="1042"/>
                </a:lnTo>
                <a:lnTo>
                  <a:pt x="3148" y="1043"/>
                </a:lnTo>
                <a:lnTo>
                  <a:pt x="3157" y="1045"/>
                </a:lnTo>
                <a:lnTo>
                  <a:pt x="3160" y="1044"/>
                </a:lnTo>
                <a:lnTo>
                  <a:pt x="3162" y="1043"/>
                </a:lnTo>
                <a:lnTo>
                  <a:pt x="3163" y="1045"/>
                </a:lnTo>
                <a:lnTo>
                  <a:pt x="3163" y="1047"/>
                </a:lnTo>
                <a:lnTo>
                  <a:pt x="3171" y="1048"/>
                </a:lnTo>
                <a:lnTo>
                  <a:pt x="3186" y="1045"/>
                </a:lnTo>
                <a:lnTo>
                  <a:pt x="3198" y="1048"/>
                </a:lnTo>
                <a:lnTo>
                  <a:pt x="3216" y="1039"/>
                </a:lnTo>
                <a:lnTo>
                  <a:pt x="3218" y="1037"/>
                </a:lnTo>
                <a:lnTo>
                  <a:pt x="3216" y="1035"/>
                </a:lnTo>
                <a:close/>
                <a:moveTo>
                  <a:pt x="3032" y="981"/>
                </a:moveTo>
                <a:lnTo>
                  <a:pt x="3032" y="980"/>
                </a:lnTo>
                <a:lnTo>
                  <a:pt x="3031" y="981"/>
                </a:lnTo>
                <a:lnTo>
                  <a:pt x="3033" y="981"/>
                </a:lnTo>
                <a:lnTo>
                  <a:pt x="3032" y="981"/>
                </a:lnTo>
                <a:close/>
                <a:moveTo>
                  <a:pt x="3123" y="969"/>
                </a:moveTo>
                <a:lnTo>
                  <a:pt x="3126" y="969"/>
                </a:lnTo>
                <a:lnTo>
                  <a:pt x="3123" y="963"/>
                </a:lnTo>
                <a:lnTo>
                  <a:pt x="3121" y="966"/>
                </a:lnTo>
                <a:lnTo>
                  <a:pt x="3123" y="969"/>
                </a:lnTo>
                <a:close/>
                <a:moveTo>
                  <a:pt x="3245" y="529"/>
                </a:moveTo>
                <a:lnTo>
                  <a:pt x="3244" y="528"/>
                </a:lnTo>
                <a:lnTo>
                  <a:pt x="3242" y="527"/>
                </a:lnTo>
                <a:lnTo>
                  <a:pt x="3242" y="529"/>
                </a:lnTo>
                <a:lnTo>
                  <a:pt x="3244" y="530"/>
                </a:lnTo>
                <a:lnTo>
                  <a:pt x="3245" y="530"/>
                </a:lnTo>
                <a:lnTo>
                  <a:pt x="3245" y="529"/>
                </a:lnTo>
                <a:close/>
                <a:moveTo>
                  <a:pt x="3361" y="1326"/>
                </a:moveTo>
                <a:lnTo>
                  <a:pt x="3361" y="1326"/>
                </a:lnTo>
                <a:lnTo>
                  <a:pt x="3361" y="1326"/>
                </a:lnTo>
                <a:lnTo>
                  <a:pt x="3361" y="1326"/>
                </a:lnTo>
                <a:close/>
                <a:moveTo>
                  <a:pt x="3369" y="470"/>
                </a:moveTo>
                <a:lnTo>
                  <a:pt x="3369" y="471"/>
                </a:lnTo>
                <a:lnTo>
                  <a:pt x="3370" y="472"/>
                </a:lnTo>
                <a:lnTo>
                  <a:pt x="3373" y="470"/>
                </a:lnTo>
                <a:lnTo>
                  <a:pt x="3376" y="469"/>
                </a:lnTo>
                <a:lnTo>
                  <a:pt x="3375" y="467"/>
                </a:lnTo>
                <a:lnTo>
                  <a:pt x="3375" y="467"/>
                </a:lnTo>
                <a:lnTo>
                  <a:pt x="3371" y="467"/>
                </a:lnTo>
                <a:lnTo>
                  <a:pt x="3369" y="470"/>
                </a:lnTo>
                <a:close/>
                <a:moveTo>
                  <a:pt x="3409" y="1043"/>
                </a:moveTo>
                <a:lnTo>
                  <a:pt x="3399" y="1036"/>
                </a:lnTo>
                <a:lnTo>
                  <a:pt x="3397" y="1025"/>
                </a:lnTo>
                <a:lnTo>
                  <a:pt x="3395" y="1023"/>
                </a:lnTo>
                <a:lnTo>
                  <a:pt x="3387" y="1025"/>
                </a:lnTo>
                <a:lnTo>
                  <a:pt x="3383" y="1026"/>
                </a:lnTo>
                <a:lnTo>
                  <a:pt x="3382" y="1027"/>
                </a:lnTo>
                <a:lnTo>
                  <a:pt x="3381" y="1033"/>
                </a:lnTo>
                <a:lnTo>
                  <a:pt x="3382" y="1033"/>
                </a:lnTo>
                <a:lnTo>
                  <a:pt x="3381" y="1037"/>
                </a:lnTo>
                <a:lnTo>
                  <a:pt x="3381" y="1037"/>
                </a:lnTo>
                <a:lnTo>
                  <a:pt x="3377" y="1034"/>
                </a:lnTo>
                <a:lnTo>
                  <a:pt x="3377" y="1032"/>
                </a:lnTo>
                <a:lnTo>
                  <a:pt x="3374" y="1031"/>
                </a:lnTo>
                <a:lnTo>
                  <a:pt x="3369" y="1035"/>
                </a:lnTo>
                <a:lnTo>
                  <a:pt x="3369" y="1032"/>
                </a:lnTo>
                <a:lnTo>
                  <a:pt x="3370" y="1028"/>
                </a:lnTo>
                <a:lnTo>
                  <a:pt x="3376" y="1017"/>
                </a:lnTo>
                <a:lnTo>
                  <a:pt x="3368" y="1013"/>
                </a:lnTo>
                <a:lnTo>
                  <a:pt x="3365" y="1014"/>
                </a:lnTo>
                <a:lnTo>
                  <a:pt x="3363" y="1011"/>
                </a:lnTo>
                <a:lnTo>
                  <a:pt x="3361" y="1009"/>
                </a:lnTo>
                <a:lnTo>
                  <a:pt x="3353" y="1009"/>
                </a:lnTo>
                <a:lnTo>
                  <a:pt x="3353" y="1002"/>
                </a:lnTo>
                <a:lnTo>
                  <a:pt x="3353" y="1000"/>
                </a:lnTo>
                <a:lnTo>
                  <a:pt x="3352" y="997"/>
                </a:lnTo>
                <a:lnTo>
                  <a:pt x="3351" y="993"/>
                </a:lnTo>
                <a:lnTo>
                  <a:pt x="3349" y="990"/>
                </a:lnTo>
                <a:lnTo>
                  <a:pt x="3341" y="986"/>
                </a:lnTo>
                <a:lnTo>
                  <a:pt x="3341" y="982"/>
                </a:lnTo>
                <a:lnTo>
                  <a:pt x="3341" y="980"/>
                </a:lnTo>
                <a:lnTo>
                  <a:pt x="3349" y="982"/>
                </a:lnTo>
                <a:lnTo>
                  <a:pt x="3353" y="985"/>
                </a:lnTo>
                <a:lnTo>
                  <a:pt x="3360" y="985"/>
                </a:lnTo>
                <a:lnTo>
                  <a:pt x="3353" y="982"/>
                </a:lnTo>
                <a:lnTo>
                  <a:pt x="3353" y="980"/>
                </a:lnTo>
                <a:lnTo>
                  <a:pt x="3349" y="976"/>
                </a:lnTo>
                <a:lnTo>
                  <a:pt x="3349" y="975"/>
                </a:lnTo>
                <a:lnTo>
                  <a:pt x="3356" y="972"/>
                </a:lnTo>
                <a:lnTo>
                  <a:pt x="3357" y="969"/>
                </a:lnTo>
                <a:lnTo>
                  <a:pt x="3372" y="969"/>
                </a:lnTo>
                <a:lnTo>
                  <a:pt x="3383" y="969"/>
                </a:lnTo>
                <a:lnTo>
                  <a:pt x="3375" y="963"/>
                </a:lnTo>
                <a:lnTo>
                  <a:pt x="3381" y="955"/>
                </a:lnTo>
                <a:lnTo>
                  <a:pt x="3381" y="953"/>
                </a:lnTo>
                <a:lnTo>
                  <a:pt x="3381" y="953"/>
                </a:lnTo>
                <a:lnTo>
                  <a:pt x="3381" y="950"/>
                </a:lnTo>
                <a:lnTo>
                  <a:pt x="3380" y="951"/>
                </a:lnTo>
                <a:lnTo>
                  <a:pt x="3380" y="949"/>
                </a:lnTo>
                <a:lnTo>
                  <a:pt x="3383" y="951"/>
                </a:lnTo>
                <a:lnTo>
                  <a:pt x="3379" y="947"/>
                </a:lnTo>
                <a:lnTo>
                  <a:pt x="3381" y="945"/>
                </a:lnTo>
                <a:lnTo>
                  <a:pt x="3381" y="943"/>
                </a:lnTo>
                <a:lnTo>
                  <a:pt x="3381" y="942"/>
                </a:lnTo>
                <a:lnTo>
                  <a:pt x="3381" y="940"/>
                </a:lnTo>
                <a:lnTo>
                  <a:pt x="3380" y="939"/>
                </a:lnTo>
                <a:lnTo>
                  <a:pt x="3379" y="937"/>
                </a:lnTo>
                <a:lnTo>
                  <a:pt x="3372" y="937"/>
                </a:lnTo>
                <a:lnTo>
                  <a:pt x="3368" y="940"/>
                </a:lnTo>
                <a:lnTo>
                  <a:pt x="3364" y="939"/>
                </a:lnTo>
                <a:lnTo>
                  <a:pt x="3360" y="937"/>
                </a:lnTo>
                <a:lnTo>
                  <a:pt x="3353" y="937"/>
                </a:lnTo>
                <a:lnTo>
                  <a:pt x="3349" y="941"/>
                </a:lnTo>
                <a:lnTo>
                  <a:pt x="3343" y="941"/>
                </a:lnTo>
                <a:lnTo>
                  <a:pt x="3334" y="945"/>
                </a:lnTo>
                <a:lnTo>
                  <a:pt x="3327" y="945"/>
                </a:lnTo>
                <a:lnTo>
                  <a:pt x="3328" y="947"/>
                </a:lnTo>
                <a:lnTo>
                  <a:pt x="3329" y="948"/>
                </a:lnTo>
                <a:lnTo>
                  <a:pt x="3329" y="948"/>
                </a:lnTo>
                <a:lnTo>
                  <a:pt x="3329" y="948"/>
                </a:lnTo>
                <a:lnTo>
                  <a:pt x="3328" y="948"/>
                </a:lnTo>
                <a:lnTo>
                  <a:pt x="3327" y="947"/>
                </a:lnTo>
                <a:lnTo>
                  <a:pt x="3326" y="948"/>
                </a:lnTo>
                <a:lnTo>
                  <a:pt x="3325" y="949"/>
                </a:lnTo>
                <a:lnTo>
                  <a:pt x="3326" y="949"/>
                </a:lnTo>
                <a:lnTo>
                  <a:pt x="3328" y="953"/>
                </a:lnTo>
                <a:lnTo>
                  <a:pt x="3326" y="953"/>
                </a:lnTo>
                <a:lnTo>
                  <a:pt x="3324" y="953"/>
                </a:lnTo>
                <a:lnTo>
                  <a:pt x="3323" y="953"/>
                </a:lnTo>
                <a:lnTo>
                  <a:pt x="3317" y="953"/>
                </a:lnTo>
                <a:lnTo>
                  <a:pt x="3317" y="954"/>
                </a:lnTo>
                <a:lnTo>
                  <a:pt x="3317" y="956"/>
                </a:lnTo>
                <a:lnTo>
                  <a:pt x="3317" y="957"/>
                </a:lnTo>
                <a:lnTo>
                  <a:pt x="3315" y="958"/>
                </a:lnTo>
                <a:lnTo>
                  <a:pt x="3313" y="960"/>
                </a:lnTo>
                <a:lnTo>
                  <a:pt x="3307" y="963"/>
                </a:lnTo>
                <a:lnTo>
                  <a:pt x="3304" y="961"/>
                </a:lnTo>
                <a:lnTo>
                  <a:pt x="3302" y="960"/>
                </a:lnTo>
                <a:lnTo>
                  <a:pt x="3303" y="962"/>
                </a:lnTo>
                <a:lnTo>
                  <a:pt x="3303" y="965"/>
                </a:lnTo>
                <a:lnTo>
                  <a:pt x="3301" y="960"/>
                </a:lnTo>
                <a:lnTo>
                  <a:pt x="3301" y="962"/>
                </a:lnTo>
                <a:lnTo>
                  <a:pt x="3301" y="963"/>
                </a:lnTo>
                <a:lnTo>
                  <a:pt x="3301" y="967"/>
                </a:lnTo>
                <a:lnTo>
                  <a:pt x="3298" y="972"/>
                </a:lnTo>
                <a:lnTo>
                  <a:pt x="3295" y="977"/>
                </a:lnTo>
                <a:lnTo>
                  <a:pt x="3295" y="977"/>
                </a:lnTo>
                <a:lnTo>
                  <a:pt x="3293" y="977"/>
                </a:lnTo>
                <a:lnTo>
                  <a:pt x="3293" y="976"/>
                </a:lnTo>
                <a:lnTo>
                  <a:pt x="3292" y="978"/>
                </a:lnTo>
                <a:lnTo>
                  <a:pt x="3291" y="980"/>
                </a:lnTo>
                <a:lnTo>
                  <a:pt x="3290" y="981"/>
                </a:lnTo>
                <a:lnTo>
                  <a:pt x="3290" y="983"/>
                </a:lnTo>
                <a:lnTo>
                  <a:pt x="3290" y="984"/>
                </a:lnTo>
                <a:lnTo>
                  <a:pt x="3291" y="985"/>
                </a:lnTo>
                <a:lnTo>
                  <a:pt x="3293" y="986"/>
                </a:lnTo>
                <a:lnTo>
                  <a:pt x="3295" y="987"/>
                </a:lnTo>
                <a:lnTo>
                  <a:pt x="3299" y="993"/>
                </a:lnTo>
                <a:lnTo>
                  <a:pt x="3302" y="997"/>
                </a:lnTo>
                <a:lnTo>
                  <a:pt x="3302" y="997"/>
                </a:lnTo>
                <a:lnTo>
                  <a:pt x="3306" y="997"/>
                </a:lnTo>
                <a:lnTo>
                  <a:pt x="3301" y="1002"/>
                </a:lnTo>
                <a:lnTo>
                  <a:pt x="3301" y="1004"/>
                </a:lnTo>
                <a:lnTo>
                  <a:pt x="3302" y="1005"/>
                </a:lnTo>
                <a:lnTo>
                  <a:pt x="3303" y="1006"/>
                </a:lnTo>
                <a:lnTo>
                  <a:pt x="3303" y="1007"/>
                </a:lnTo>
                <a:lnTo>
                  <a:pt x="3302" y="1008"/>
                </a:lnTo>
                <a:lnTo>
                  <a:pt x="3301" y="1010"/>
                </a:lnTo>
                <a:lnTo>
                  <a:pt x="3301" y="1011"/>
                </a:lnTo>
                <a:lnTo>
                  <a:pt x="3303" y="1012"/>
                </a:lnTo>
                <a:lnTo>
                  <a:pt x="3305" y="1013"/>
                </a:lnTo>
                <a:lnTo>
                  <a:pt x="3305" y="1018"/>
                </a:lnTo>
                <a:lnTo>
                  <a:pt x="3309" y="1021"/>
                </a:lnTo>
                <a:lnTo>
                  <a:pt x="3312" y="1026"/>
                </a:lnTo>
                <a:lnTo>
                  <a:pt x="3314" y="1031"/>
                </a:lnTo>
                <a:lnTo>
                  <a:pt x="3315" y="1031"/>
                </a:lnTo>
                <a:lnTo>
                  <a:pt x="3317" y="1028"/>
                </a:lnTo>
                <a:lnTo>
                  <a:pt x="3324" y="1036"/>
                </a:lnTo>
                <a:lnTo>
                  <a:pt x="3324" y="1043"/>
                </a:lnTo>
                <a:lnTo>
                  <a:pt x="3329" y="1048"/>
                </a:lnTo>
                <a:lnTo>
                  <a:pt x="3329" y="1049"/>
                </a:lnTo>
                <a:lnTo>
                  <a:pt x="3340" y="1053"/>
                </a:lnTo>
                <a:lnTo>
                  <a:pt x="3342" y="1058"/>
                </a:lnTo>
                <a:lnTo>
                  <a:pt x="3335" y="1057"/>
                </a:lnTo>
                <a:lnTo>
                  <a:pt x="3331" y="1061"/>
                </a:lnTo>
                <a:lnTo>
                  <a:pt x="3327" y="1073"/>
                </a:lnTo>
                <a:lnTo>
                  <a:pt x="3328" y="1075"/>
                </a:lnTo>
                <a:lnTo>
                  <a:pt x="3327" y="1078"/>
                </a:lnTo>
                <a:lnTo>
                  <a:pt x="3325" y="1085"/>
                </a:lnTo>
                <a:lnTo>
                  <a:pt x="3324" y="1085"/>
                </a:lnTo>
                <a:lnTo>
                  <a:pt x="3325" y="1082"/>
                </a:lnTo>
                <a:lnTo>
                  <a:pt x="3323" y="1078"/>
                </a:lnTo>
                <a:lnTo>
                  <a:pt x="3321" y="1091"/>
                </a:lnTo>
                <a:lnTo>
                  <a:pt x="3323" y="1089"/>
                </a:lnTo>
                <a:lnTo>
                  <a:pt x="3325" y="1099"/>
                </a:lnTo>
                <a:lnTo>
                  <a:pt x="3326" y="1103"/>
                </a:lnTo>
                <a:lnTo>
                  <a:pt x="3331" y="1106"/>
                </a:lnTo>
                <a:lnTo>
                  <a:pt x="3341" y="1107"/>
                </a:lnTo>
                <a:lnTo>
                  <a:pt x="3345" y="1113"/>
                </a:lnTo>
                <a:lnTo>
                  <a:pt x="3356" y="1119"/>
                </a:lnTo>
                <a:lnTo>
                  <a:pt x="3367" y="1123"/>
                </a:lnTo>
                <a:lnTo>
                  <a:pt x="3393" y="1116"/>
                </a:lnTo>
                <a:lnTo>
                  <a:pt x="3393" y="1115"/>
                </a:lnTo>
                <a:lnTo>
                  <a:pt x="3396" y="1110"/>
                </a:lnTo>
                <a:lnTo>
                  <a:pt x="3397" y="1110"/>
                </a:lnTo>
                <a:lnTo>
                  <a:pt x="3393" y="1099"/>
                </a:lnTo>
                <a:lnTo>
                  <a:pt x="3393" y="1086"/>
                </a:lnTo>
                <a:lnTo>
                  <a:pt x="3395" y="1083"/>
                </a:lnTo>
                <a:lnTo>
                  <a:pt x="3398" y="1080"/>
                </a:lnTo>
                <a:lnTo>
                  <a:pt x="3395" y="1078"/>
                </a:lnTo>
                <a:lnTo>
                  <a:pt x="3393" y="1077"/>
                </a:lnTo>
                <a:lnTo>
                  <a:pt x="3392" y="1074"/>
                </a:lnTo>
                <a:lnTo>
                  <a:pt x="3390" y="1073"/>
                </a:lnTo>
                <a:lnTo>
                  <a:pt x="3392" y="1073"/>
                </a:lnTo>
                <a:lnTo>
                  <a:pt x="3395" y="1073"/>
                </a:lnTo>
                <a:lnTo>
                  <a:pt x="3392" y="1070"/>
                </a:lnTo>
                <a:lnTo>
                  <a:pt x="3390" y="1068"/>
                </a:lnTo>
                <a:lnTo>
                  <a:pt x="3392" y="1065"/>
                </a:lnTo>
                <a:lnTo>
                  <a:pt x="3382" y="1065"/>
                </a:lnTo>
                <a:lnTo>
                  <a:pt x="3383" y="1067"/>
                </a:lnTo>
                <a:lnTo>
                  <a:pt x="3377" y="1060"/>
                </a:lnTo>
                <a:lnTo>
                  <a:pt x="3377" y="1054"/>
                </a:lnTo>
                <a:lnTo>
                  <a:pt x="3381" y="1048"/>
                </a:lnTo>
                <a:lnTo>
                  <a:pt x="3381" y="1042"/>
                </a:lnTo>
                <a:lnTo>
                  <a:pt x="3385" y="1047"/>
                </a:lnTo>
                <a:lnTo>
                  <a:pt x="3388" y="1048"/>
                </a:lnTo>
                <a:lnTo>
                  <a:pt x="3390" y="1048"/>
                </a:lnTo>
                <a:lnTo>
                  <a:pt x="3392" y="1045"/>
                </a:lnTo>
                <a:lnTo>
                  <a:pt x="3395" y="1051"/>
                </a:lnTo>
                <a:lnTo>
                  <a:pt x="3404" y="1048"/>
                </a:lnTo>
                <a:lnTo>
                  <a:pt x="3400" y="1045"/>
                </a:lnTo>
                <a:lnTo>
                  <a:pt x="3403" y="1043"/>
                </a:lnTo>
                <a:lnTo>
                  <a:pt x="3403" y="1043"/>
                </a:lnTo>
                <a:lnTo>
                  <a:pt x="3403" y="1043"/>
                </a:lnTo>
                <a:lnTo>
                  <a:pt x="3404" y="1047"/>
                </a:lnTo>
                <a:lnTo>
                  <a:pt x="3408" y="1045"/>
                </a:lnTo>
                <a:lnTo>
                  <a:pt x="3409" y="1043"/>
                </a:lnTo>
                <a:close/>
                <a:moveTo>
                  <a:pt x="3302" y="998"/>
                </a:moveTo>
                <a:lnTo>
                  <a:pt x="3302" y="997"/>
                </a:lnTo>
                <a:lnTo>
                  <a:pt x="3302" y="998"/>
                </a:lnTo>
                <a:lnTo>
                  <a:pt x="3301" y="999"/>
                </a:lnTo>
                <a:lnTo>
                  <a:pt x="3302" y="998"/>
                </a:lnTo>
                <a:close/>
                <a:moveTo>
                  <a:pt x="3599" y="1330"/>
                </a:moveTo>
                <a:lnTo>
                  <a:pt x="3598" y="1329"/>
                </a:lnTo>
                <a:lnTo>
                  <a:pt x="3598" y="1330"/>
                </a:lnTo>
                <a:lnTo>
                  <a:pt x="3599" y="1330"/>
                </a:lnTo>
                <a:close/>
                <a:moveTo>
                  <a:pt x="3808" y="422"/>
                </a:moveTo>
                <a:lnTo>
                  <a:pt x="3804" y="412"/>
                </a:lnTo>
                <a:lnTo>
                  <a:pt x="3806" y="411"/>
                </a:lnTo>
                <a:lnTo>
                  <a:pt x="3807" y="411"/>
                </a:lnTo>
                <a:lnTo>
                  <a:pt x="3807" y="408"/>
                </a:lnTo>
                <a:lnTo>
                  <a:pt x="3806" y="409"/>
                </a:lnTo>
                <a:lnTo>
                  <a:pt x="3804" y="412"/>
                </a:lnTo>
                <a:lnTo>
                  <a:pt x="3806" y="417"/>
                </a:lnTo>
                <a:lnTo>
                  <a:pt x="3808" y="422"/>
                </a:lnTo>
                <a:close/>
                <a:moveTo>
                  <a:pt x="3929" y="1344"/>
                </a:moveTo>
                <a:lnTo>
                  <a:pt x="3929" y="1344"/>
                </a:lnTo>
                <a:lnTo>
                  <a:pt x="3929" y="1344"/>
                </a:lnTo>
                <a:lnTo>
                  <a:pt x="3929" y="1344"/>
                </a:lnTo>
                <a:close/>
                <a:moveTo>
                  <a:pt x="3959" y="1382"/>
                </a:moveTo>
                <a:lnTo>
                  <a:pt x="3957" y="1379"/>
                </a:lnTo>
                <a:lnTo>
                  <a:pt x="3959" y="1383"/>
                </a:lnTo>
                <a:lnTo>
                  <a:pt x="3959" y="1382"/>
                </a:lnTo>
                <a:close/>
                <a:moveTo>
                  <a:pt x="4182" y="1451"/>
                </a:moveTo>
                <a:lnTo>
                  <a:pt x="4183" y="1451"/>
                </a:lnTo>
                <a:lnTo>
                  <a:pt x="4184" y="1452"/>
                </a:lnTo>
                <a:lnTo>
                  <a:pt x="4184" y="1451"/>
                </a:lnTo>
                <a:lnTo>
                  <a:pt x="4184" y="1451"/>
                </a:lnTo>
                <a:lnTo>
                  <a:pt x="4184" y="1450"/>
                </a:lnTo>
                <a:lnTo>
                  <a:pt x="4183" y="1450"/>
                </a:lnTo>
                <a:lnTo>
                  <a:pt x="4182" y="1451"/>
                </a:lnTo>
                <a:close/>
                <a:moveTo>
                  <a:pt x="4168" y="1448"/>
                </a:moveTo>
                <a:lnTo>
                  <a:pt x="4168" y="1448"/>
                </a:lnTo>
                <a:lnTo>
                  <a:pt x="4168" y="1448"/>
                </a:lnTo>
                <a:lnTo>
                  <a:pt x="4168" y="1448"/>
                </a:lnTo>
                <a:close/>
                <a:moveTo>
                  <a:pt x="4155" y="1540"/>
                </a:moveTo>
                <a:lnTo>
                  <a:pt x="4157" y="1543"/>
                </a:lnTo>
                <a:lnTo>
                  <a:pt x="4157" y="1543"/>
                </a:lnTo>
                <a:lnTo>
                  <a:pt x="4155" y="1540"/>
                </a:lnTo>
                <a:close/>
                <a:moveTo>
                  <a:pt x="4163" y="1375"/>
                </a:moveTo>
                <a:lnTo>
                  <a:pt x="4160" y="1375"/>
                </a:lnTo>
                <a:lnTo>
                  <a:pt x="4162" y="1376"/>
                </a:lnTo>
                <a:lnTo>
                  <a:pt x="4163" y="1377"/>
                </a:lnTo>
                <a:lnTo>
                  <a:pt x="4163" y="1375"/>
                </a:lnTo>
                <a:close/>
                <a:moveTo>
                  <a:pt x="4193" y="1365"/>
                </a:moveTo>
                <a:lnTo>
                  <a:pt x="4192" y="1365"/>
                </a:lnTo>
                <a:lnTo>
                  <a:pt x="4192" y="1365"/>
                </a:lnTo>
                <a:lnTo>
                  <a:pt x="4193" y="1365"/>
                </a:lnTo>
                <a:close/>
                <a:moveTo>
                  <a:pt x="4226" y="1369"/>
                </a:moveTo>
                <a:lnTo>
                  <a:pt x="4226" y="1369"/>
                </a:lnTo>
                <a:lnTo>
                  <a:pt x="4226" y="1369"/>
                </a:lnTo>
                <a:lnTo>
                  <a:pt x="4226" y="1369"/>
                </a:lnTo>
                <a:lnTo>
                  <a:pt x="4225" y="1369"/>
                </a:lnTo>
                <a:lnTo>
                  <a:pt x="4225" y="1369"/>
                </a:lnTo>
                <a:lnTo>
                  <a:pt x="4226" y="1369"/>
                </a:lnTo>
                <a:lnTo>
                  <a:pt x="4226" y="1369"/>
                </a:lnTo>
                <a:lnTo>
                  <a:pt x="4226" y="1370"/>
                </a:lnTo>
                <a:lnTo>
                  <a:pt x="4226" y="1369"/>
                </a:lnTo>
                <a:lnTo>
                  <a:pt x="4226" y="1369"/>
                </a:lnTo>
                <a:close/>
                <a:moveTo>
                  <a:pt x="4381" y="1238"/>
                </a:moveTo>
                <a:lnTo>
                  <a:pt x="4381" y="1238"/>
                </a:lnTo>
                <a:lnTo>
                  <a:pt x="4381" y="1237"/>
                </a:lnTo>
                <a:lnTo>
                  <a:pt x="4381" y="1237"/>
                </a:lnTo>
                <a:lnTo>
                  <a:pt x="4381" y="1238"/>
                </a:lnTo>
                <a:close/>
                <a:moveTo>
                  <a:pt x="4380" y="1240"/>
                </a:moveTo>
                <a:lnTo>
                  <a:pt x="4381" y="1240"/>
                </a:lnTo>
                <a:lnTo>
                  <a:pt x="4381" y="1241"/>
                </a:lnTo>
                <a:lnTo>
                  <a:pt x="4382" y="1241"/>
                </a:lnTo>
                <a:lnTo>
                  <a:pt x="4381" y="1240"/>
                </a:lnTo>
                <a:lnTo>
                  <a:pt x="4381" y="1239"/>
                </a:lnTo>
                <a:lnTo>
                  <a:pt x="4380" y="1240"/>
                </a:lnTo>
                <a:close/>
                <a:moveTo>
                  <a:pt x="4361" y="1228"/>
                </a:moveTo>
                <a:lnTo>
                  <a:pt x="4363" y="1226"/>
                </a:lnTo>
                <a:lnTo>
                  <a:pt x="4363" y="1226"/>
                </a:lnTo>
                <a:lnTo>
                  <a:pt x="4361" y="1226"/>
                </a:lnTo>
                <a:lnTo>
                  <a:pt x="4361" y="1228"/>
                </a:lnTo>
                <a:close/>
                <a:moveTo>
                  <a:pt x="4343" y="1294"/>
                </a:moveTo>
                <a:lnTo>
                  <a:pt x="4344" y="1295"/>
                </a:lnTo>
                <a:lnTo>
                  <a:pt x="4345" y="1297"/>
                </a:lnTo>
                <a:lnTo>
                  <a:pt x="4346" y="1297"/>
                </a:lnTo>
                <a:lnTo>
                  <a:pt x="4347" y="1297"/>
                </a:lnTo>
                <a:lnTo>
                  <a:pt x="4345" y="1295"/>
                </a:lnTo>
                <a:lnTo>
                  <a:pt x="4343" y="1294"/>
                </a:lnTo>
                <a:close/>
                <a:moveTo>
                  <a:pt x="4339" y="1309"/>
                </a:moveTo>
                <a:lnTo>
                  <a:pt x="4342" y="1310"/>
                </a:lnTo>
                <a:lnTo>
                  <a:pt x="4342" y="1309"/>
                </a:lnTo>
                <a:lnTo>
                  <a:pt x="4339" y="1309"/>
                </a:lnTo>
                <a:close/>
                <a:moveTo>
                  <a:pt x="4475" y="1036"/>
                </a:moveTo>
                <a:lnTo>
                  <a:pt x="4474" y="1035"/>
                </a:lnTo>
                <a:lnTo>
                  <a:pt x="4474" y="1035"/>
                </a:lnTo>
                <a:lnTo>
                  <a:pt x="4473" y="1037"/>
                </a:lnTo>
                <a:lnTo>
                  <a:pt x="4467" y="1037"/>
                </a:lnTo>
                <a:lnTo>
                  <a:pt x="4461" y="1037"/>
                </a:lnTo>
                <a:lnTo>
                  <a:pt x="4458" y="1033"/>
                </a:lnTo>
                <a:lnTo>
                  <a:pt x="4456" y="1029"/>
                </a:lnTo>
                <a:lnTo>
                  <a:pt x="4453" y="1031"/>
                </a:lnTo>
                <a:lnTo>
                  <a:pt x="4450" y="1033"/>
                </a:lnTo>
                <a:lnTo>
                  <a:pt x="4450" y="1036"/>
                </a:lnTo>
                <a:lnTo>
                  <a:pt x="4449" y="1038"/>
                </a:lnTo>
                <a:lnTo>
                  <a:pt x="4446" y="1043"/>
                </a:lnTo>
                <a:lnTo>
                  <a:pt x="4442" y="1049"/>
                </a:lnTo>
                <a:lnTo>
                  <a:pt x="4443" y="1049"/>
                </a:lnTo>
                <a:lnTo>
                  <a:pt x="4450" y="1041"/>
                </a:lnTo>
                <a:lnTo>
                  <a:pt x="4450" y="1038"/>
                </a:lnTo>
                <a:lnTo>
                  <a:pt x="4451" y="1036"/>
                </a:lnTo>
                <a:lnTo>
                  <a:pt x="4457" y="1033"/>
                </a:lnTo>
                <a:lnTo>
                  <a:pt x="4460" y="1040"/>
                </a:lnTo>
                <a:lnTo>
                  <a:pt x="4466" y="1040"/>
                </a:lnTo>
                <a:lnTo>
                  <a:pt x="4472" y="1041"/>
                </a:lnTo>
                <a:lnTo>
                  <a:pt x="4475" y="1036"/>
                </a:lnTo>
                <a:close/>
                <a:moveTo>
                  <a:pt x="4490" y="1022"/>
                </a:moveTo>
                <a:lnTo>
                  <a:pt x="4487" y="1025"/>
                </a:lnTo>
                <a:lnTo>
                  <a:pt x="4484" y="1029"/>
                </a:lnTo>
                <a:lnTo>
                  <a:pt x="4472" y="1029"/>
                </a:lnTo>
                <a:lnTo>
                  <a:pt x="4472" y="1030"/>
                </a:lnTo>
                <a:lnTo>
                  <a:pt x="4473" y="1031"/>
                </a:lnTo>
                <a:lnTo>
                  <a:pt x="4473" y="1033"/>
                </a:lnTo>
                <a:lnTo>
                  <a:pt x="4484" y="1033"/>
                </a:lnTo>
                <a:lnTo>
                  <a:pt x="4487" y="1029"/>
                </a:lnTo>
                <a:lnTo>
                  <a:pt x="4489" y="1025"/>
                </a:lnTo>
                <a:lnTo>
                  <a:pt x="4490" y="1022"/>
                </a:lnTo>
                <a:close/>
                <a:moveTo>
                  <a:pt x="4496" y="1018"/>
                </a:moveTo>
                <a:lnTo>
                  <a:pt x="4495" y="1018"/>
                </a:lnTo>
                <a:lnTo>
                  <a:pt x="4494" y="1018"/>
                </a:lnTo>
                <a:lnTo>
                  <a:pt x="4492" y="1018"/>
                </a:lnTo>
                <a:lnTo>
                  <a:pt x="4490" y="1021"/>
                </a:lnTo>
                <a:lnTo>
                  <a:pt x="4493" y="1023"/>
                </a:lnTo>
                <a:lnTo>
                  <a:pt x="4494" y="1022"/>
                </a:lnTo>
                <a:lnTo>
                  <a:pt x="4495" y="1021"/>
                </a:lnTo>
                <a:lnTo>
                  <a:pt x="4496" y="1018"/>
                </a:lnTo>
                <a:close/>
                <a:moveTo>
                  <a:pt x="4514" y="1010"/>
                </a:moveTo>
                <a:lnTo>
                  <a:pt x="4510" y="1011"/>
                </a:lnTo>
                <a:lnTo>
                  <a:pt x="4506" y="1013"/>
                </a:lnTo>
                <a:lnTo>
                  <a:pt x="4506" y="1015"/>
                </a:lnTo>
                <a:lnTo>
                  <a:pt x="4506" y="1015"/>
                </a:lnTo>
                <a:lnTo>
                  <a:pt x="4506" y="1015"/>
                </a:lnTo>
                <a:lnTo>
                  <a:pt x="4502" y="1013"/>
                </a:lnTo>
                <a:lnTo>
                  <a:pt x="4502" y="1010"/>
                </a:lnTo>
                <a:lnTo>
                  <a:pt x="4501" y="1008"/>
                </a:lnTo>
                <a:lnTo>
                  <a:pt x="4499" y="1007"/>
                </a:lnTo>
                <a:lnTo>
                  <a:pt x="4497" y="1011"/>
                </a:lnTo>
                <a:lnTo>
                  <a:pt x="4502" y="1013"/>
                </a:lnTo>
                <a:lnTo>
                  <a:pt x="4502" y="1017"/>
                </a:lnTo>
                <a:lnTo>
                  <a:pt x="4506" y="1020"/>
                </a:lnTo>
                <a:lnTo>
                  <a:pt x="4506" y="1018"/>
                </a:lnTo>
                <a:lnTo>
                  <a:pt x="4505" y="1016"/>
                </a:lnTo>
                <a:lnTo>
                  <a:pt x="4507" y="1015"/>
                </a:lnTo>
                <a:lnTo>
                  <a:pt x="4506" y="1015"/>
                </a:lnTo>
                <a:lnTo>
                  <a:pt x="4508" y="1014"/>
                </a:lnTo>
                <a:lnTo>
                  <a:pt x="4514" y="1013"/>
                </a:lnTo>
                <a:lnTo>
                  <a:pt x="4514" y="1010"/>
                </a:lnTo>
                <a:close/>
                <a:moveTo>
                  <a:pt x="4519" y="1004"/>
                </a:moveTo>
                <a:lnTo>
                  <a:pt x="4519" y="1003"/>
                </a:lnTo>
                <a:lnTo>
                  <a:pt x="4519" y="1004"/>
                </a:lnTo>
                <a:lnTo>
                  <a:pt x="4517" y="1006"/>
                </a:lnTo>
                <a:lnTo>
                  <a:pt x="4517" y="1009"/>
                </a:lnTo>
                <a:lnTo>
                  <a:pt x="4518" y="1007"/>
                </a:lnTo>
                <a:lnTo>
                  <a:pt x="4519" y="1004"/>
                </a:lnTo>
                <a:close/>
                <a:moveTo>
                  <a:pt x="4977" y="748"/>
                </a:moveTo>
                <a:lnTo>
                  <a:pt x="4979" y="747"/>
                </a:lnTo>
                <a:lnTo>
                  <a:pt x="4980" y="746"/>
                </a:lnTo>
                <a:lnTo>
                  <a:pt x="4978" y="746"/>
                </a:lnTo>
                <a:lnTo>
                  <a:pt x="4978" y="747"/>
                </a:lnTo>
                <a:lnTo>
                  <a:pt x="4977" y="748"/>
                </a:lnTo>
                <a:close/>
                <a:moveTo>
                  <a:pt x="4970" y="751"/>
                </a:moveTo>
                <a:lnTo>
                  <a:pt x="4971" y="752"/>
                </a:lnTo>
                <a:lnTo>
                  <a:pt x="4971" y="751"/>
                </a:lnTo>
                <a:lnTo>
                  <a:pt x="4970" y="751"/>
                </a:lnTo>
                <a:close/>
                <a:moveTo>
                  <a:pt x="5131" y="432"/>
                </a:moveTo>
                <a:lnTo>
                  <a:pt x="5126" y="431"/>
                </a:lnTo>
                <a:lnTo>
                  <a:pt x="5127" y="434"/>
                </a:lnTo>
                <a:lnTo>
                  <a:pt x="5131" y="432"/>
                </a:lnTo>
                <a:close/>
                <a:moveTo>
                  <a:pt x="5314" y="519"/>
                </a:moveTo>
                <a:lnTo>
                  <a:pt x="5310" y="517"/>
                </a:lnTo>
                <a:lnTo>
                  <a:pt x="5310" y="519"/>
                </a:lnTo>
                <a:lnTo>
                  <a:pt x="5309" y="523"/>
                </a:lnTo>
                <a:lnTo>
                  <a:pt x="5310" y="523"/>
                </a:lnTo>
                <a:lnTo>
                  <a:pt x="5314" y="519"/>
                </a:lnTo>
                <a:close/>
                <a:moveTo>
                  <a:pt x="4690" y="829"/>
                </a:moveTo>
                <a:lnTo>
                  <a:pt x="4690" y="832"/>
                </a:lnTo>
                <a:lnTo>
                  <a:pt x="4691" y="832"/>
                </a:lnTo>
                <a:lnTo>
                  <a:pt x="4691" y="831"/>
                </a:lnTo>
                <a:lnTo>
                  <a:pt x="4690" y="829"/>
                </a:lnTo>
                <a:close/>
                <a:moveTo>
                  <a:pt x="3338" y="974"/>
                </a:moveTo>
                <a:lnTo>
                  <a:pt x="3335" y="975"/>
                </a:lnTo>
                <a:lnTo>
                  <a:pt x="3339" y="979"/>
                </a:lnTo>
                <a:lnTo>
                  <a:pt x="3339" y="979"/>
                </a:lnTo>
                <a:lnTo>
                  <a:pt x="3339" y="976"/>
                </a:lnTo>
                <a:lnTo>
                  <a:pt x="3338" y="975"/>
                </a:lnTo>
                <a:lnTo>
                  <a:pt x="3339" y="974"/>
                </a:lnTo>
                <a:lnTo>
                  <a:pt x="3338" y="974"/>
                </a:lnTo>
                <a:close/>
                <a:moveTo>
                  <a:pt x="4174" y="1377"/>
                </a:moveTo>
                <a:lnTo>
                  <a:pt x="4175" y="1375"/>
                </a:lnTo>
                <a:lnTo>
                  <a:pt x="4173" y="1376"/>
                </a:lnTo>
                <a:lnTo>
                  <a:pt x="4171" y="1377"/>
                </a:lnTo>
                <a:lnTo>
                  <a:pt x="4174" y="1377"/>
                </a:lnTo>
                <a:close/>
                <a:moveTo>
                  <a:pt x="4043" y="1501"/>
                </a:moveTo>
                <a:lnTo>
                  <a:pt x="4041" y="1501"/>
                </a:lnTo>
                <a:lnTo>
                  <a:pt x="4041" y="1506"/>
                </a:lnTo>
                <a:lnTo>
                  <a:pt x="4043" y="1505"/>
                </a:lnTo>
                <a:lnTo>
                  <a:pt x="4043" y="1501"/>
                </a:lnTo>
                <a:close/>
                <a:moveTo>
                  <a:pt x="3221" y="1440"/>
                </a:moveTo>
                <a:lnTo>
                  <a:pt x="3220" y="1442"/>
                </a:lnTo>
                <a:lnTo>
                  <a:pt x="3224" y="1443"/>
                </a:lnTo>
                <a:lnTo>
                  <a:pt x="3221" y="1440"/>
                </a:lnTo>
                <a:close/>
                <a:moveTo>
                  <a:pt x="3380" y="949"/>
                </a:moveTo>
                <a:lnTo>
                  <a:pt x="3380" y="949"/>
                </a:lnTo>
                <a:lnTo>
                  <a:pt x="3380" y="949"/>
                </a:lnTo>
                <a:lnTo>
                  <a:pt x="3380" y="949"/>
                </a:lnTo>
                <a:lnTo>
                  <a:pt x="3380" y="949"/>
                </a:lnTo>
                <a:close/>
                <a:moveTo>
                  <a:pt x="3234" y="1483"/>
                </a:moveTo>
                <a:lnTo>
                  <a:pt x="3234" y="1480"/>
                </a:lnTo>
                <a:lnTo>
                  <a:pt x="3232" y="1480"/>
                </a:lnTo>
                <a:lnTo>
                  <a:pt x="3234" y="1483"/>
                </a:lnTo>
                <a:close/>
                <a:moveTo>
                  <a:pt x="3191" y="1460"/>
                </a:moveTo>
                <a:lnTo>
                  <a:pt x="3198" y="1460"/>
                </a:lnTo>
                <a:lnTo>
                  <a:pt x="3196" y="1459"/>
                </a:lnTo>
                <a:lnTo>
                  <a:pt x="3194" y="1459"/>
                </a:lnTo>
                <a:lnTo>
                  <a:pt x="3194" y="1456"/>
                </a:lnTo>
                <a:lnTo>
                  <a:pt x="3193" y="1455"/>
                </a:lnTo>
                <a:lnTo>
                  <a:pt x="3193" y="1456"/>
                </a:lnTo>
                <a:lnTo>
                  <a:pt x="3191" y="1456"/>
                </a:lnTo>
                <a:lnTo>
                  <a:pt x="3193" y="1459"/>
                </a:lnTo>
                <a:lnTo>
                  <a:pt x="3191" y="1459"/>
                </a:lnTo>
                <a:lnTo>
                  <a:pt x="3191" y="1460"/>
                </a:lnTo>
                <a:close/>
                <a:moveTo>
                  <a:pt x="3224" y="1443"/>
                </a:moveTo>
                <a:lnTo>
                  <a:pt x="3221" y="1443"/>
                </a:lnTo>
                <a:lnTo>
                  <a:pt x="3220" y="1442"/>
                </a:lnTo>
                <a:lnTo>
                  <a:pt x="3220" y="1443"/>
                </a:lnTo>
                <a:lnTo>
                  <a:pt x="3225" y="1445"/>
                </a:lnTo>
                <a:lnTo>
                  <a:pt x="3225" y="1442"/>
                </a:lnTo>
                <a:lnTo>
                  <a:pt x="3225" y="1442"/>
                </a:lnTo>
                <a:lnTo>
                  <a:pt x="3225" y="1442"/>
                </a:lnTo>
                <a:lnTo>
                  <a:pt x="3224" y="1443"/>
                </a:lnTo>
                <a:close/>
                <a:moveTo>
                  <a:pt x="3183" y="1781"/>
                </a:moveTo>
                <a:lnTo>
                  <a:pt x="3180" y="1785"/>
                </a:lnTo>
                <a:lnTo>
                  <a:pt x="3180" y="1788"/>
                </a:lnTo>
                <a:lnTo>
                  <a:pt x="3184" y="1790"/>
                </a:lnTo>
                <a:lnTo>
                  <a:pt x="3188" y="1792"/>
                </a:lnTo>
                <a:lnTo>
                  <a:pt x="3188" y="1792"/>
                </a:lnTo>
                <a:lnTo>
                  <a:pt x="3188" y="1792"/>
                </a:lnTo>
                <a:lnTo>
                  <a:pt x="3189" y="1790"/>
                </a:lnTo>
                <a:lnTo>
                  <a:pt x="3188" y="1788"/>
                </a:lnTo>
                <a:lnTo>
                  <a:pt x="3186" y="1785"/>
                </a:lnTo>
                <a:lnTo>
                  <a:pt x="3183" y="1781"/>
                </a:lnTo>
                <a:close/>
                <a:moveTo>
                  <a:pt x="3192" y="1780"/>
                </a:moveTo>
                <a:lnTo>
                  <a:pt x="3192" y="1773"/>
                </a:lnTo>
                <a:lnTo>
                  <a:pt x="3192" y="1768"/>
                </a:lnTo>
                <a:lnTo>
                  <a:pt x="3188" y="1768"/>
                </a:lnTo>
                <a:lnTo>
                  <a:pt x="3188" y="1773"/>
                </a:lnTo>
                <a:lnTo>
                  <a:pt x="3189" y="1780"/>
                </a:lnTo>
                <a:lnTo>
                  <a:pt x="3192" y="1780"/>
                </a:lnTo>
                <a:close/>
                <a:moveTo>
                  <a:pt x="3194" y="1452"/>
                </a:moveTo>
                <a:lnTo>
                  <a:pt x="3193" y="1452"/>
                </a:lnTo>
                <a:lnTo>
                  <a:pt x="3193" y="1453"/>
                </a:lnTo>
                <a:lnTo>
                  <a:pt x="3194" y="1453"/>
                </a:lnTo>
                <a:lnTo>
                  <a:pt x="3194" y="1452"/>
                </a:lnTo>
                <a:close/>
                <a:moveTo>
                  <a:pt x="4044" y="1524"/>
                </a:moveTo>
                <a:lnTo>
                  <a:pt x="4043" y="1525"/>
                </a:lnTo>
                <a:lnTo>
                  <a:pt x="4044" y="1528"/>
                </a:lnTo>
                <a:lnTo>
                  <a:pt x="4044" y="1524"/>
                </a:lnTo>
                <a:close/>
                <a:moveTo>
                  <a:pt x="4102" y="1517"/>
                </a:moveTo>
                <a:lnTo>
                  <a:pt x="4102" y="1520"/>
                </a:lnTo>
                <a:lnTo>
                  <a:pt x="4103" y="1520"/>
                </a:lnTo>
                <a:lnTo>
                  <a:pt x="4102" y="1517"/>
                </a:lnTo>
                <a:lnTo>
                  <a:pt x="4102" y="1517"/>
                </a:lnTo>
                <a:close/>
                <a:moveTo>
                  <a:pt x="4099" y="1513"/>
                </a:moveTo>
                <a:lnTo>
                  <a:pt x="4099" y="1514"/>
                </a:lnTo>
                <a:lnTo>
                  <a:pt x="4101" y="1514"/>
                </a:lnTo>
                <a:lnTo>
                  <a:pt x="4099" y="1513"/>
                </a:lnTo>
                <a:lnTo>
                  <a:pt x="4099" y="1513"/>
                </a:lnTo>
                <a:close/>
                <a:moveTo>
                  <a:pt x="4072" y="1588"/>
                </a:moveTo>
                <a:lnTo>
                  <a:pt x="4072" y="1588"/>
                </a:lnTo>
                <a:lnTo>
                  <a:pt x="4072" y="1587"/>
                </a:lnTo>
                <a:lnTo>
                  <a:pt x="4072" y="1588"/>
                </a:lnTo>
                <a:lnTo>
                  <a:pt x="4072" y="1588"/>
                </a:lnTo>
                <a:close/>
                <a:moveTo>
                  <a:pt x="4123" y="1544"/>
                </a:moveTo>
                <a:lnTo>
                  <a:pt x="4123" y="1544"/>
                </a:lnTo>
                <a:lnTo>
                  <a:pt x="4123" y="1539"/>
                </a:lnTo>
                <a:lnTo>
                  <a:pt x="4123" y="1536"/>
                </a:lnTo>
                <a:lnTo>
                  <a:pt x="4123" y="1536"/>
                </a:lnTo>
                <a:lnTo>
                  <a:pt x="4121" y="1539"/>
                </a:lnTo>
                <a:lnTo>
                  <a:pt x="4123" y="1544"/>
                </a:lnTo>
                <a:close/>
                <a:moveTo>
                  <a:pt x="4066" y="1555"/>
                </a:moveTo>
                <a:lnTo>
                  <a:pt x="4066" y="1552"/>
                </a:lnTo>
                <a:lnTo>
                  <a:pt x="4066" y="1552"/>
                </a:lnTo>
                <a:lnTo>
                  <a:pt x="4066" y="1555"/>
                </a:lnTo>
                <a:close/>
                <a:moveTo>
                  <a:pt x="4166" y="1377"/>
                </a:moveTo>
                <a:lnTo>
                  <a:pt x="4167" y="1380"/>
                </a:lnTo>
                <a:lnTo>
                  <a:pt x="4168" y="1379"/>
                </a:lnTo>
                <a:lnTo>
                  <a:pt x="4168" y="1378"/>
                </a:lnTo>
                <a:lnTo>
                  <a:pt x="4167" y="1378"/>
                </a:lnTo>
                <a:lnTo>
                  <a:pt x="4166" y="1377"/>
                </a:lnTo>
                <a:close/>
                <a:moveTo>
                  <a:pt x="4066" y="1547"/>
                </a:moveTo>
                <a:lnTo>
                  <a:pt x="4066" y="1549"/>
                </a:lnTo>
                <a:lnTo>
                  <a:pt x="4066" y="1549"/>
                </a:lnTo>
                <a:lnTo>
                  <a:pt x="4066" y="1547"/>
                </a:lnTo>
                <a:close/>
                <a:moveTo>
                  <a:pt x="4069" y="1579"/>
                </a:moveTo>
                <a:lnTo>
                  <a:pt x="4071" y="1586"/>
                </a:lnTo>
                <a:lnTo>
                  <a:pt x="4072" y="1587"/>
                </a:lnTo>
                <a:lnTo>
                  <a:pt x="4071" y="1586"/>
                </a:lnTo>
                <a:lnTo>
                  <a:pt x="4069" y="1579"/>
                </a:lnTo>
                <a:close/>
                <a:moveTo>
                  <a:pt x="3341" y="974"/>
                </a:moveTo>
                <a:lnTo>
                  <a:pt x="3341" y="975"/>
                </a:lnTo>
                <a:lnTo>
                  <a:pt x="3343" y="974"/>
                </a:lnTo>
                <a:lnTo>
                  <a:pt x="3341" y="974"/>
                </a:lnTo>
                <a:close/>
                <a:moveTo>
                  <a:pt x="2961" y="1141"/>
                </a:moveTo>
                <a:lnTo>
                  <a:pt x="2962" y="1139"/>
                </a:lnTo>
                <a:lnTo>
                  <a:pt x="2957" y="1141"/>
                </a:lnTo>
                <a:lnTo>
                  <a:pt x="2952" y="1138"/>
                </a:lnTo>
                <a:lnTo>
                  <a:pt x="2952" y="1138"/>
                </a:lnTo>
                <a:lnTo>
                  <a:pt x="2952" y="1140"/>
                </a:lnTo>
                <a:lnTo>
                  <a:pt x="2952" y="1144"/>
                </a:lnTo>
                <a:lnTo>
                  <a:pt x="2955" y="1146"/>
                </a:lnTo>
                <a:lnTo>
                  <a:pt x="2965" y="1146"/>
                </a:lnTo>
                <a:lnTo>
                  <a:pt x="2963" y="1143"/>
                </a:lnTo>
                <a:lnTo>
                  <a:pt x="2961" y="1141"/>
                </a:lnTo>
                <a:close/>
                <a:moveTo>
                  <a:pt x="2984" y="1145"/>
                </a:moveTo>
                <a:lnTo>
                  <a:pt x="2984" y="1146"/>
                </a:lnTo>
                <a:lnTo>
                  <a:pt x="2980" y="1146"/>
                </a:lnTo>
                <a:lnTo>
                  <a:pt x="2971" y="1146"/>
                </a:lnTo>
                <a:lnTo>
                  <a:pt x="2966" y="1146"/>
                </a:lnTo>
                <a:lnTo>
                  <a:pt x="2968" y="1148"/>
                </a:lnTo>
                <a:lnTo>
                  <a:pt x="2968" y="1150"/>
                </a:lnTo>
                <a:lnTo>
                  <a:pt x="2974" y="1150"/>
                </a:lnTo>
                <a:lnTo>
                  <a:pt x="2989" y="1149"/>
                </a:lnTo>
                <a:lnTo>
                  <a:pt x="2990" y="1149"/>
                </a:lnTo>
                <a:lnTo>
                  <a:pt x="2992" y="1148"/>
                </a:lnTo>
                <a:lnTo>
                  <a:pt x="2992" y="1146"/>
                </a:lnTo>
                <a:lnTo>
                  <a:pt x="2987" y="1149"/>
                </a:lnTo>
                <a:lnTo>
                  <a:pt x="2984" y="1145"/>
                </a:lnTo>
                <a:close/>
                <a:moveTo>
                  <a:pt x="2967" y="1119"/>
                </a:moveTo>
                <a:lnTo>
                  <a:pt x="2965" y="1119"/>
                </a:lnTo>
                <a:lnTo>
                  <a:pt x="2965" y="1121"/>
                </a:lnTo>
                <a:lnTo>
                  <a:pt x="2967" y="1121"/>
                </a:lnTo>
                <a:lnTo>
                  <a:pt x="2967" y="1119"/>
                </a:lnTo>
                <a:close/>
                <a:moveTo>
                  <a:pt x="2954" y="1099"/>
                </a:moveTo>
                <a:lnTo>
                  <a:pt x="2952" y="1099"/>
                </a:lnTo>
                <a:lnTo>
                  <a:pt x="2954" y="1099"/>
                </a:lnTo>
                <a:lnTo>
                  <a:pt x="2954" y="1099"/>
                </a:lnTo>
                <a:close/>
                <a:moveTo>
                  <a:pt x="2952" y="1102"/>
                </a:moveTo>
                <a:lnTo>
                  <a:pt x="2952" y="1103"/>
                </a:lnTo>
                <a:lnTo>
                  <a:pt x="2952" y="1103"/>
                </a:lnTo>
                <a:lnTo>
                  <a:pt x="2954" y="1102"/>
                </a:lnTo>
                <a:lnTo>
                  <a:pt x="2952" y="1102"/>
                </a:lnTo>
                <a:close/>
                <a:moveTo>
                  <a:pt x="2992" y="1146"/>
                </a:moveTo>
                <a:lnTo>
                  <a:pt x="2993" y="1146"/>
                </a:lnTo>
                <a:lnTo>
                  <a:pt x="2992" y="1146"/>
                </a:lnTo>
                <a:lnTo>
                  <a:pt x="2992" y="1146"/>
                </a:lnTo>
                <a:close/>
                <a:moveTo>
                  <a:pt x="3003" y="1103"/>
                </a:moveTo>
                <a:lnTo>
                  <a:pt x="2999" y="1102"/>
                </a:lnTo>
                <a:lnTo>
                  <a:pt x="2999" y="1103"/>
                </a:lnTo>
                <a:lnTo>
                  <a:pt x="2998" y="1103"/>
                </a:lnTo>
                <a:lnTo>
                  <a:pt x="3000" y="1104"/>
                </a:lnTo>
                <a:lnTo>
                  <a:pt x="3003" y="1103"/>
                </a:lnTo>
                <a:close/>
                <a:moveTo>
                  <a:pt x="2995" y="1121"/>
                </a:moveTo>
                <a:lnTo>
                  <a:pt x="2994" y="1122"/>
                </a:lnTo>
                <a:lnTo>
                  <a:pt x="2993" y="1122"/>
                </a:lnTo>
                <a:lnTo>
                  <a:pt x="2996" y="1122"/>
                </a:lnTo>
                <a:lnTo>
                  <a:pt x="2995" y="1122"/>
                </a:lnTo>
                <a:lnTo>
                  <a:pt x="2995" y="1121"/>
                </a:lnTo>
                <a:close/>
                <a:moveTo>
                  <a:pt x="2962" y="1057"/>
                </a:moveTo>
                <a:lnTo>
                  <a:pt x="2965" y="1059"/>
                </a:lnTo>
                <a:lnTo>
                  <a:pt x="2966" y="1059"/>
                </a:lnTo>
                <a:lnTo>
                  <a:pt x="2962" y="1057"/>
                </a:lnTo>
                <a:close/>
                <a:moveTo>
                  <a:pt x="2971" y="1052"/>
                </a:moveTo>
                <a:lnTo>
                  <a:pt x="2971" y="1049"/>
                </a:lnTo>
                <a:lnTo>
                  <a:pt x="2969" y="1049"/>
                </a:lnTo>
                <a:lnTo>
                  <a:pt x="2967" y="1050"/>
                </a:lnTo>
                <a:lnTo>
                  <a:pt x="2969" y="1052"/>
                </a:lnTo>
                <a:lnTo>
                  <a:pt x="2971" y="1052"/>
                </a:lnTo>
                <a:close/>
                <a:moveTo>
                  <a:pt x="2972" y="1118"/>
                </a:moveTo>
                <a:lnTo>
                  <a:pt x="2974" y="1118"/>
                </a:lnTo>
                <a:lnTo>
                  <a:pt x="2972" y="1116"/>
                </a:lnTo>
                <a:lnTo>
                  <a:pt x="2972" y="1118"/>
                </a:lnTo>
                <a:close/>
                <a:moveTo>
                  <a:pt x="2973" y="1106"/>
                </a:moveTo>
                <a:lnTo>
                  <a:pt x="2973" y="1108"/>
                </a:lnTo>
                <a:lnTo>
                  <a:pt x="2974" y="1108"/>
                </a:lnTo>
                <a:lnTo>
                  <a:pt x="2973" y="1106"/>
                </a:lnTo>
                <a:close/>
                <a:moveTo>
                  <a:pt x="2967" y="1084"/>
                </a:moveTo>
                <a:lnTo>
                  <a:pt x="2969" y="1082"/>
                </a:lnTo>
                <a:lnTo>
                  <a:pt x="2967" y="1079"/>
                </a:lnTo>
                <a:lnTo>
                  <a:pt x="2966" y="1080"/>
                </a:lnTo>
                <a:lnTo>
                  <a:pt x="2967" y="1084"/>
                </a:lnTo>
                <a:close/>
                <a:moveTo>
                  <a:pt x="3002" y="1142"/>
                </a:moveTo>
                <a:lnTo>
                  <a:pt x="3003" y="1140"/>
                </a:lnTo>
                <a:lnTo>
                  <a:pt x="3000" y="1142"/>
                </a:lnTo>
                <a:lnTo>
                  <a:pt x="3002" y="1142"/>
                </a:lnTo>
                <a:close/>
                <a:moveTo>
                  <a:pt x="3020" y="1057"/>
                </a:moveTo>
                <a:lnTo>
                  <a:pt x="3020" y="1057"/>
                </a:lnTo>
                <a:lnTo>
                  <a:pt x="3022" y="1057"/>
                </a:lnTo>
                <a:lnTo>
                  <a:pt x="3020" y="1057"/>
                </a:lnTo>
                <a:close/>
                <a:moveTo>
                  <a:pt x="2965" y="1103"/>
                </a:moveTo>
                <a:lnTo>
                  <a:pt x="2965" y="1106"/>
                </a:lnTo>
                <a:lnTo>
                  <a:pt x="2965" y="1106"/>
                </a:lnTo>
                <a:lnTo>
                  <a:pt x="2966" y="1103"/>
                </a:lnTo>
                <a:lnTo>
                  <a:pt x="2965" y="1103"/>
                </a:lnTo>
                <a:close/>
                <a:moveTo>
                  <a:pt x="2966" y="1110"/>
                </a:moveTo>
                <a:lnTo>
                  <a:pt x="2967" y="1108"/>
                </a:lnTo>
                <a:lnTo>
                  <a:pt x="2966" y="1106"/>
                </a:lnTo>
                <a:lnTo>
                  <a:pt x="2966" y="1110"/>
                </a:lnTo>
                <a:close/>
                <a:moveTo>
                  <a:pt x="2966" y="1114"/>
                </a:moveTo>
                <a:lnTo>
                  <a:pt x="2967" y="1114"/>
                </a:lnTo>
                <a:lnTo>
                  <a:pt x="2967" y="1111"/>
                </a:lnTo>
                <a:lnTo>
                  <a:pt x="2966" y="1111"/>
                </a:lnTo>
                <a:lnTo>
                  <a:pt x="2966" y="1114"/>
                </a:lnTo>
                <a:close/>
                <a:moveTo>
                  <a:pt x="3145" y="967"/>
                </a:moveTo>
                <a:lnTo>
                  <a:pt x="3145" y="967"/>
                </a:lnTo>
                <a:lnTo>
                  <a:pt x="3145" y="968"/>
                </a:lnTo>
                <a:lnTo>
                  <a:pt x="3144" y="968"/>
                </a:lnTo>
                <a:lnTo>
                  <a:pt x="3145" y="967"/>
                </a:lnTo>
                <a:lnTo>
                  <a:pt x="3145" y="967"/>
                </a:lnTo>
                <a:lnTo>
                  <a:pt x="3145" y="967"/>
                </a:lnTo>
                <a:close/>
                <a:moveTo>
                  <a:pt x="3146" y="967"/>
                </a:moveTo>
                <a:lnTo>
                  <a:pt x="3145" y="967"/>
                </a:lnTo>
                <a:lnTo>
                  <a:pt x="3146" y="967"/>
                </a:lnTo>
                <a:lnTo>
                  <a:pt x="3146" y="967"/>
                </a:lnTo>
                <a:close/>
                <a:moveTo>
                  <a:pt x="3145" y="967"/>
                </a:moveTo>
                <a:lnTo>
                  <a:pt x="3147" y="968"/>
                </a:lnTo>
                <a:lnTo>
                  <a:pt x="3146" y="967"/>
                </a:lnTo>
                <a:lnTo>
                  <a:pt x="3145" y="967"/>
                </a:lnTo>
                <a:close/>
                <a:moveTo>
                  <a:pt x="3145" y="967"/>
                </a:moveTo>
                <a:lnTo>
                  <a:pt x="3145" y="967"/>
                </a:lnTo>
                <a:lnTo>
                  <a:pt x="3145" y="967"/>
                </a:lnTo>
                <a:lnTo>
                  <a:pt x="3145" y="967"/>
                </a:lnTo>
                <a:close/>
                <a:moveTo>
                  <a:pt x="3126" y="948"/>
                </a:moveTo>
                <a:lnTo>
                  <a:pt x="3126" y="948"/>
                </a:lnTo>
                <a:lnTo>
                  <a:pt x="3121" y="951"/>
                </a:lnTo>
                <a:lnTo>
                  <a:pt x="3126" y="948"/>
                </a:lnTo>
                <a:close/>
                <a:moveTo>
                  <a:pt x="3147" y="968"/>
                </a:moveTo>
                <a:lnTo>
                  <a:pt x="3148" y="968"/>
                </a:lnTo>
                <a:lnTo>
                  <a:pt x="3148" y="969"/>
                </a:lnTo>
                <a:lnTo>
                  <a:pt x="3149" y="968"/>
                </a:lnTo>
                <a:lnTo>
                  <a:pt x="3147" y="968"/>
                </a:lnTo>
                <a:close/>
                <a:moveTo>
                  <a:pt x="3044" y="961"/>
                </a:moveTo>
                <a:lnTo>
                  <a:pt x="3045" y="961"/>
                </a:lnTo>
                <a:lnTo>
                  <a:pt x="3044" y="961"/>
                </a:lnTo>
                <a:lnTo>
                  <a:pt x="3044" y="961"/>
                </a:lnTo>
                <a:lnTo>
                  <a:pt x="3044" y="961"/>
                </a:lnTo>
                <a:close/>
                <a:moveTo>
                  <a:pt x="3115" y="1138"/>
                </a:moveTo>
                <a:lnTo>
                  <a:pt x="3115" y="1138"/>
                </a:lnTo>
                <a:lnTo>
                  <a:pt x="3115" y="1138"/>
                </a:lnTo>
                <a:lnTo>
                  <a:pt x="3115" y="1138"/>
                </a:lnTo>
                <a:close/>
                <a:moveTo>
                  <a:pt x="3115" y="1140"/>
                </a:moveTo>
                <a:lnTo>
                  <a:pt x="3115" y="1138"/>
                </a:lnTo>
                <a:lnTo>
                  <a:pt x="3104" y="1145"/>
                </a:lnTo>
                <a:lnTo>
                  <a:pt x="3115" y="1140"/>
                </a:lnTo>
                <a:close/>
                <a:moveTo>
                  <a:pt x="3015" y="1122"/>
                </a:moveTo>
                <a:lnTo>
                  <a:pt x="3015" y="1122"/>
                </a:lnTo>
                <a:lnTo>
                  <a:pt x="3014" y="1122"/>
                </a:lnTo>
                <a:lnTo>
                  <a:pt x="3014" y="1122"/>
                </a:lnTo>
                <a:lnTo>
                  <a:pt x="3015" y="1122"/>
                </a:lnTo>
                <a:close/>
                <a:moveTo>
                  <a:pt x="3015" y="1121"/>
                </a:moveTo>
                <a:lnTo>
                  <a:pt x="3014" y="1122"/>
                </a:lnTo>
                <a:lnTo>
                  <a:pt x="3015" y="1122"/>
                </a:lnTo>
                <a:lnTo>
                  <a:pt x="3015" y="1121"/>
                </a:lnTo>
                <a:close/>
                <a:moveTo>
                  <a:pt x="3009" y="1126"/>
                </a:moveTo>
                <a:lnTo>
                  <a:pt x="3009" y="1126"/>
                </a:lnTo>
                <a:lnTo>
                  <a:pt x="3010" y="1125"/>
                </a:lnTo>
                <a:lnTo>
                  <a:pt x="3007" y="1125"/>
                </a:lnTo>
                <a:lnTo>
                  <a:pt x="3009" y="1126"/>
                </a:lnTo>
                <a:close/>
                <a:moveTo>
                  <a:pt x="3006" y="1142"/>
                </a:moveTo>
                <a:lnTo>
                  <a:pt x="3007" y="1134"/>
                </a:lnTo>
                <a:lnTo>
                  <a:pt x="3003" y="1138"/>
                </a:lnTo>
                <a:lnTo>
                  <a:pt x="3006" y="1142"/>
                </a:lnTo>
                <a:close/>
                <a:moveTo>
                  <a:pt x="3088" y="1146"/>
                </a:moveTo>
                <a:lnTo>
                  <a:pt x="3088" y="1150"/>
                </a:lnTo>
                <a:lnTo>
                  <a:pt x="3088" y="1150"/>
                </a:lnTo>
                <a:lnTo>
                  <a:pt x="3084" y="1151"/>
                </a:lnTo>
                <a:lnTo>
                  <a:pt x="3081" y="1150"/>
                </a:lnTo>
                <a:lnTo>
                  <a:pt x="3084" y="1154"/>
                </a:lnTo>
                <a:lnTo>
                  <a:pt x="3091" y="1154"/>
                </a:lnTo>
                <a:lnTo>
                  <a:pt x="3092" y="1155"/>
                </a:lnTo>
                <a:lnTo>
                  <a:pt x="3092" y="1155"/>
                </a:lnTo>
                <a:lnTo>
                  <a:pt x="3095" y="1154"/>
                </a:lnTo>
                <a:lnTo>
                  <a:pt x="3096" y="1154"/>
                </a:lnTo>
                <a:lnTo>
                  <a:pt x="3100" y="1152"/>
                </a:lnTo>
                <a:lnTo>
                  <a:pt x="3100" y="1150"/>
                </a:lnTo>
                <a:lnTo>
                  <a:pt x="3109" y="1150"/>
                </a:lnTo>
                <a:lnTo>
                  <a:pt x="3104" y="1146"/>
                </a:lnTo>
                <a:lnTo>
                  <a:pt x="3104" y="1145"/>
                </a:lnTo>
                <a:lnTo>
                  <a:pt x="3104" y="1145"/>
                </a:lnTo>
                <a:lnTo>
                  <a:pt x="3102" y="1146"/>
                </a:lnTo>
                <a:lnTo>
                  <a:pt x="3088" y="1146"/>
                </a:lnTo>
                <a:close/>
                <a:moveTo>
                  <a:pt x="3014" y="1122"/>
                </a:moveTo>
                <a:lnTo>
                  <a:pt x="3014" y="1122"/>
                </a:lnTo>
                <a:lnTo>
                  <a:pt x="3013" y="1122"/>
                </a:lnTo>
                <a:lnTo>
                  <a:pt x="3014" y="1122"/>
                </a:lnTo>
                <a:lnTo>
                  <a:pt x="3014" y="1122"/>
                </a:lnTo>
                <a:close/>
                <a:moveTo>
                  <a:pt x="3012" y="1129"/>
                </a:moveTo>
                <a:lnTo>
                  <a:pt x="3012" y="1134"/>
                </a:lnTo>
                <a:lnTo>
                  <a:pt x="3014" y="1133"/>
                </a:lnTo>
                <a:lnTo>
                  <a:pt x="3018" y="1129"/>
                </a:lnTo>
                <a:lnTo>
                  <a:pt x="3020" y="1125"/>
                </a:lnTo>
                <a:lnTo>
                  <a:pt x="3014" y="1127"/>
                </a:lnTo>
                <a:lnTo>
                  <a:pt x="3012" y="1129"/>
                </a:lnTo>
                <a:close/>
                <a:moveTo>
                  <a:pt x="2918" y="768"/>
                </a:moveTo>
                <a:lnTo>
                  <a:pt x="2918" y="767"/>
                </a:lnTo>
                <a:lnTo>
                  <a:pt x="2914" y="772"/>
                </a:lnTo>
                <a:lnTo>
                  <a:pt x="2917" y="772"/>
                </a:lnTo>
                <a:lnTo>
                  <a:pt x="2918" y="768"/>
                </a:lnTo>
                <a:close/>
                <a:moveTo>
                  <a:pt x="2974" y="1103"/>
                </a:moveTo>
                <a:lnTo>
                  <a:pt x="2974" y="1099"/>
                </a:lnTo>
                <a:lnTo>
                  <a:pt x="2971" y="1099"/>
                </a:lnTo>
                <a:lnTo>
                  <a:pt x="2974" y="1103"/>
                </a:lnTo>
                <a:close/>
                <a:moveTo>
                  <a:pt x="2908" y="673"/>
                </a:moveTo>
                <a:lnTo>
                  <a:pt x="2908" y="671"/>
                </a:lnTo>
                <a:lnTo>
                  <a:pt x="2906" y="671"/>
                </a:lnTo>
                <a:lnTo>
                  <a:pt x="2905" y="671"/>
                </a:lnTo>
                <a:lnTo>
                  <a:pt x="2908" y="673"/>
                </a:lnTo>
                <a:close/>
                <a:moveTo>
                  <a:pt x="2910" y="669"/>
                </a:moveTo>
                <a:lnTo>
                  <a:pt x="2912" y="668"/>
                </a:lnTo>
                <a:lnTo>
                  <a:pt x="2910" y="668"/>
                </a:lnTo>
                <a:lnTo>
                  <a:pt x="2910" y="669"/>
                </a:lnTo>
                <a:close/>
                <a:moveTo>
                  <a:pt x="3092" y="2090"/>
                </a:moveTo>
                <a:lnTo>
                  <a:pt x="3091" y="2090"/>
                </a:lnTo>
                <a:lnTo>
                  <a:pt x="3092" y="2091"/>
                </a:lnTo>
                <a:lnTo>
                  <a:pt x="3092" y="2090"/>
                </a:lnTo>
                <a:close/>
                <a:moveTo>
                  <a:pt x="2925" y="662"/>
                </a:moveTo>
                <a:lnTo>
                  <a:pt x="2923" y="662"/>
                </a:lnTo>
                <a:lnTo>
                  <a:pt x="2925" y="663"/>
                </a:lnTo>
                <a:lnTo>
                  <a:pt x="2925" y="662"/>
                </a:lnTo>
                <a:close/>
                <a:moveTo>
                  <a:pt x="2934" y="705"/>
                </a:moveTo>
                <a:lnTo>
                  <a:pt x="2932" y="707"/>
                </a:lnTo>
                <a:lnTo>
                  <a:pt x="2934" y="708"/>
                </a:lnTo>
                <a:lnTo>
                  <a:pt x="2931" y="712"/>
                </a:lnTo>
                <a:lnTo>
                  <a:pt x="2931" y="714"/>
                </a:lnTo>
                <a:lnTo>
                  <a:pt x="2934" y="712"/>
                </a:lnTo>
                <a:lnTo>
                  <a:pt x="2938" y="708"/>
                </a:lnTo>
                <a:lnTo>
                  <a:pt x="2945" y="708"/>
                </a:lnTo>
                <a:lnTo>
                  <a:pt x="2950" y="704"/>
                </a:lnTo>
                <a:lnTo>
                  <a:pt x="2953" y="704"/>
                </a:lnTo>
                <a:lnTo>
                  <a:pt x="2947" y="700"/>
                </a:lnTo>
                <a:lnTo>
                  <a:pt x="2931" y="701"/>
                </a:lnTo>
                <a:lnTo>
                  <a:pt x="2934" y="705"/>
                </a:lnTo>
                <a:close/>
                <a:moveTo>
                  <a:pt x="2935" y="667"/>
                </a:moveTo>
                <a:lnTo>
                  <a:pt x="2936" y="668"/>
                </a:lnTo>
                <a:lnTo>
                  <a:pt x="2937" y="667"/>
                </a:lnTo>
                <a:lnTo>
                  <a:pt x="2935" y="667"/>
                </a:lnTo>
                <a:close/>
                <a:moveTo>
                  <a:pt x="2939" y="696"/>
                </a:moveTo>
                <a:lnTo>
                  <a:pt x="2940" y="700"/>
                </a:lnTo>
                <a:lnTo>
                  <a:pt x="2943" y="700"/>
                </a:lnTo>
                <a:lnTo>
                  <a:pt x="2945" y="700"/>
                </a:lnTo>
                <a:lnTo>
                  <a:pt x="2950" y="700"/>
                </a:lnTo>
                <a:lnTo>
                  <a:pt x="2947" y="694"/>
                </a:lnTo>
                <a:lnTo>
                  <a:pt x="2943" y="691"/>
                </a:lnTo>
                <a:lnTo>
                  <a:pt x="2939" y="694"/>
                </a:lnTo>
                <a:lnTo>
                  <a:pt x="2934" y="696"/>
                </a:lnTo>
                <a:lnTo>
                  <a:pt x="2939" y="696"/>
                </a:lnTo>
                <a:close/>
                <a:moveTo>
                  <a:pt x="2908" y="669"/>
                </a:moveTo>
                <a:lnTo>
                  <a:pt x="2908" y="671"/>
                </a:lnTo>
                <a:lnTo>
                  <a:pt x="2910" y="671"/>
                </a:lnTo>
                <a:lnTo>
                  <a:pt x="2908" y="669"/>
                </a:lnTo>
                <a:close/>
                <a:moveTo>
                  <a:pt x="2860" y="732"/>
                </a:moveTo>
                <a:lnTo>
                  <a:pt x="2851" y="745"/>
                </a:lnTo>
                <a:lnTo>
                  <a:pt x="2851" y="753"/>
                </a:lnTo>
                <a:lnTo>
                  <a:pt x="2863" y="732"/>
                </a:lnTo>
                <a:lnTo>
                  <a:pt x="2860" y="732"/>
                </a:lnTo>
                <a:close/>
                <a:moveTo>
                  <a:pt x="2880" y="687"/>
                </a:moveTo>
                <a:lnTo>
                  <a:pt x="2882" y="688"/>
                </a:lnTo>
                <a:lnTo>
                  <a:pt x="2883" y="687"/>
                </a:lnTo>
                <a:lnTo>
                  <a:pt x="2880" y="687"/>
                </a:lnTo>
                <a:close/>
                <a:moveTo>
                  <a:pt x="2879" y="740"/>
                </a:moveTo>
                <a:lnTo>
                  <a:pt x="2880" y="735"/>
                </a:lnTo>
                <a:lnTo>
                  <a:pt x="2885" y="733"/>
                </a:lnTo>
                <a:lnTo>
                  <a:pt x="2885" y="722"/>
                </a:lnTo>
                <a:lnTo>
                  <a:pt x="2886" y="720"/>
                </a:lnTo>
                <a:lnTo>
                  <a:pt x="2885" y="720"/>
                </a:lnTo>
                <a:lnTo>
                  <a:pt x="2877" y="727"/>
                </a:lnTo>
                <a:lnTo>
                  <a:pt x="2879" y="739"/>
                </a:lnTo>
                <a:lnTo>
                  <a:pt x="2877" y="740"/>
                </a:lnTo>
                <a:lnTo>
                  <a:pt x="2879" y="740"/>
                </a:lnTo>
                <a:close/>
                <a:moveTo>
                  <a:pt x="2887" y="719"/>
                </a:moveTo>
                <a:lnTo>
                  <a:pt x="2886" y="720"/>
                </a:lnTo>
                <a:lnTo>
                  <a:pt x="2887" y="720"/>
                </a:lnTo>
                <a:lnTo>
                  <a:pt x="2887" y="719"/>
                </a:lnTo>
                <a:close/>
                <a:moveTo>
                  <a:pt x="2883" y="683"/>
                </a:moveTo>
                <a:lnTo>
                  <a:pt x="2883" y="684"/>
                </a:lnTo>
                <a:lnTo>
                  <a:pt x="2885" y="681"/>
                </a:lnTo>
                <a:lnTo>
                  <a:pt x="2883" y="683"/>
                </a:lnTo>
                <a:close/>
                <a:moveTo>
                  <a:pt x="2900" y="668"/>
                </a:moveTo>
                <a:lnTo>
                  <a:pt x="2902" y="671"/>
                </a:lnTo>
                <a:lnTo>
                  <a:pt x="2903" y="673"/>
                </a:lnTo>
                <a:lnTo>
                  <a:pt x="2905" y="671"/>
                </a:lnTo>
                <a:lnTo>
                  <a:pt x="2903" y="668"/>
                </a:lnTo>
                <a:lnTo>
                  <a:pt x="2905" y="667"/>
                </a:lnTo>
                <a:lnTo>
                  <a:pt x="2905" y="668"/>
                </a:lnTo>
                <a:lnTo>
                  <a:pt x="2905" y="669"/>
                </a:lnTo>
                <a:lnTo>
                  <a:pt x="2907" y="667"/>
                </a:lnTo>
                <a:lnTo>
                  <a:pt x="2903" y="666"/>
                </a:lnTo>
                <a:lnTo>
                  <a:pt x="2902" y="666"/>
                </a:lnTo>
                <a:lnTo>
                  <a:pt x="2903" y="667"/>
                </a:lnTo>
                <a:lnTo>
                  <a:pt x="2901" y="669"/>
                </a:lnTo>
                <a:lnTo>
                  <a:pt x="2901" y="667"/>
                </a:lnTo>
                <a:lnTo>
                  <a:pt x="2900" y="668"/>
                </a:lnTo>
                <a:close/>
                <a:moveTo>
                  <a:pt x="2890" y="718"/>
                </a:moveTo>
                <a:lnTo>
                  <a:pt x="2891" y="719"/>
                </a:lnTo>
                <a:lnTo>
                  <a:pt x="2891" y="718"/>
                </a:lnTo>
                <a:lnTo>
                  <a:pt x="2894" y="715"/>
                </a:lnTo>
                <a:lnTo>
                  <a:pt x="2891" y="715"/>
                </a:lnTo>
                <a:lnTo>
                  <a:pt x="2890" y="718"/>
                </a:lnTo>
                <a:close/>
                <a:moveTo>
                  <a:pt x="2891" y="707"/>
                </a:moveTo>
                <a:lnTo>
                  <a:pt x="2893" y="709"/>
                </a:lnTo>
                <a:lnTo>
                  <a:pt x="2894" y="707"/>
                </a:lnTo>
                <a:lnTo>
                  <a:pt x="2891" y="707"/>
                </a:lnTo>
                <a:close/>
                <a:moveTo>
                  <a:pt x="2954" y="701"/>
                </a:moveTo>
                <a:lnTo>
                  <a:pt x="2951" y="698"/>
                </a:lnTo>
                <a:lnTo>
                  <a:pt x="2950" y="700"/>
                </a:lnTo>
                <a:lnTo>
                  <a:pt x="2954" y="701"/>
                </a:lnTo>
                <a:close/>
                <a:moveTo>
                  <a:pt x="2704" y="617"/>
                </a:moveTo>
                <a:lnTo>
                  <a:pt x="2704" y="617"/>
                </a:lnTo>
                <a:lnTo>
                  <a:pt x="2699" y="616"/>
                </a:lnTo>
                <a:lnTo>
                  <a:pt x="2701" y="617"/>
                </a:lnTo>
                <a:lnTo>
                  <a:pt x="2704" y="617"/>
                </a:lnTo>
                <a:close/>
                <a:moveTo>
                  <a:pt x="3135" y="569"/>
                </a:moveTo>
                <a:lnTo>
                  <a:pt x="3133" y="569"/>
                </a:lnTo>
                <a:lnTo>
                  <a:pt x="3136" y="569"/>
                </a:lnTo>
                <a:lnTo>
                  <a:pt x="3135" y="569"/>
                </a:lnTo>
                <a:close/>
                <a:moveTo>
                  <a:pt x="2951" y="690"/>
                </a:moveTo>
                <a:lnTo>
                  <a:pt x="2950" y="690"/>
                </a:lnTo>
                <a:lnTo>
                  <a:pt x="2950" y="692"/>
                </a:lnTo>
                <a:lnTo>
                  <a:pt x="2954" y="692"/>
                </a:lnTo>
                <a:lnTo>
                  <a:pt x="2951" y="690"/>
                </a:lnTo>
                <a:close/>
                <a:moveTo>
                  <a:pt x="2776" y="562"/>
                </a:moveTo>
                <a:lnTo>
                  <a:pt x="2775" y="562"/>
                </a:lnTo>
                <a:lnTo>
                  <a:pt x="2774" y="564"/>
                </a:lnTo>
                <a:lnTo>
                  <a:pt x="2776" y="564"/>
                </a:lnTo>
                <a:lnTo>
                  <a:pt x="2776" y="562"/>
                </a:lnTo>
                <a:close/>
                <a:moveTo>
                  <a:pt x="3128" y="549"/>
                </a:moveTo>
                <a:lnTo>
                  <a:pt x="3131" y="555"/>
                </a:lnTo>
                <a:lnTo>
                  <a:pt x="3133" y="553"/>
                </a:lnTo>
                <a:lnTo>
                  <a:pt x="3133" y="549"/>
                </a:lnTo>
                <a:lnTo>
                  <a:pt x="3128" y="549"/>
                </a:lnTo>
                <a:close/>
                <a:moveTo>
                  <a:pt x="3585" y="443"/>
                </a:moveTo>
                <a:lnTo>
                  <a:pt x="3589" y="443"/>
                </a:lnTo>
                <a:lnTo>
                  <a:pt x="3585" y="442"/>
                </a:lnTo>
                <a:lnTo>
                  <a:pt x="3585" y="443"/>
                </a:lnTo>
                <a:close/>
                <a:moveTo>
                  <a:pt x="4241" y="298"/>
                </a:moveTo>
                <a:lnTo>
                  <a:pt x="4239" y="302"/>
                </a:lnTo>
                <a:lnTo>
                  <a:pt x="4237" y="306"/>
                </a:lnTo>
                <a:lnTo>
                  <a:pt x="4230" y="306"/>
                </a:lnTo>
                <a:lnTo>
                  <a:pt x="4242" y="313"/>
                </a:lnTo>
                <a:lnTo>
                  <a:pt x="4245" y="313"/>
                </a:lnTo>
                <a:lnTo>
                  <a:pt x="4249" y="313"/>
                </a:lnTo>
                <a:lnTo>
                  <a:pt x="4252" y="310"/>
                </a:lnTo>
                <a:lnTo>
                  <a:pt x="4256" y="308"/>
                </a:lnTo>
                <a:lnTo>
                  <a:pt x="4258" y="305"/>
                </a:lnTo>
                <a:lnTo>
                  <a:pt x="4259" y="303"/>
                </a:lnTo>
                <a:lnTo>
                  <a:pt x="4250" y="301"/>
                </a:lnTo>
                <a:lnTo>
                  <a:pt x="4241" y="298"/>
                </a:lnTo>
                <a:close/>
                <a:moveTo>
                  <a:pt x="3590" y="438"/>
                </a:moveTo>
                <a:lnTo>
                  <a:pt x="3585" y="441"/>
                </a:lnTo>
                <a:lnTo>
                  <a:pt x="3589" y="442"/>
                </a:lnTo>
                <a:lnTo>
                  <a:pt x="3590" y="438"/>
                </a:lnTo>
                <a:close/>
                <a:moveTo>
                  <a:pt x="3140" y="559"/>
                </a:moveTo>
                <a:lnTo>
                  <a:pt x="3142" y="559"/>
                </a:lnTo>
                <a:lnTo>
                  <a:pt x="3141" y="559"/>
                </a:lnTo>
                <a:lnTo>
                  <a:pt x="3140" y="559"/>
                </a:lnTo>
                <a:lnTo>
                  <a:pt x="3140" y="559"/>
                </a:lnTo>
                <a:close/>
                <a:moveTo>
                  <a:pt x="2930" y="663"/>
                </a:moveTo>
                <a:lnTo>
                  <a:pt x="2930" y="663"/>
                </a:lnTo>
                <a:lnTo>
                  <a:pt x="2930" y="665"/>
                </a:lnTo>
                <a:lnTo>
                  <a:pt x="2934" y="667"/>
                </a:lnTo>
                <a:lnTo>
                  <a:pt x="2930" y="663"/>
                </a:lnTo>
                <a:close/>
                <a:moveTo>
                  <a:pt x="2920" y="597"/>
                </a:moveTo>
                <a:lnTo>
                  <a:pt x="2922" y="600"/>
                </a:lnTo>
                <a:lnTo>
                  <a:pt x="2925" y="598"/>
                </a:lnTo>
                <a:lnTo>
                  <a:pt x="2920" y="597"/>
                </a:lnTo>
                <a:close/>
                <a:moveTo>
                  <a:pt x="2930" y="671"/>
                </a:moveTo>
                <a:lnTo>
                  <a:pt x="2932" y="669"/>
                </a:lnTo>
                <a:lnTo>
                  <a:pt x="2928" y="669"/>
                </a:lnTo>
                <a:lnTo>
                  <a:pt x="2930" y="671"/>
                </a:lnTo>
                <a:close/>
                <a:moveTo>
                  <a:pt x="2868" y="615"/>
                </a:moveTo>
                <a:lnTo>
                  <a:pt x="2868" y="614"/>
                </a:lnTo>
                <a:lnTo>
                  <a:pt x="2865" y="614"/>
                </a:lnTo>
                <a:lnTo>
                  <a:pt x="2868" y="618"/>
                </a:lnTo>
                <a:lnTo>
                  <a:pt x="2868" y="615"/>
                </a:lnTo>
                <a:close/>
                <a:moveTo>
                  <a:pt x="2883" y="666"/>
                </a:moveTo>
                <a:lnTo>
                  <a:pt x="2882" y="665"/>
                </a:lnTo>
                <a:lnTo>
                  <a:pt x="2880" y="665"/>
                </a:lnTo>
                <a:lnTo>
                  <a:pt x="2883" y="666"/>
                </a:lnTo>
                <a:close/>
                <a:moveTo>
                  <a:pt x="2880" y="660"/>
                </a:moveTo>
                <a:lnTo>
                  <a:pt x="2880" y="662"/>
                </a:lnTo>
                <a:lnTo>
                  <a:pt x="2883" y="665"/>
                </a:lnTo>
                <a:lnTo>
                  <a:pt x="2880" y="660"/>
                </a:lnTo>
                <a:close/>
                <a:moveTo>
                  <a:pt x="2946" y="583"/>
                </a:moveTo>
                <a:lnTo>
                  <a:pt x="2943" y="585"/>
                </a:lnTo>
                <a:lnTo>
                  <a:pt x="2946" y="585"/>
                </a:lnTo>
                <a:lnTo>
                  <a:pt x="2946" y="583"/>
                </a:lnTo>
                <a:close/>
                <a:moveTo>
                  <a:pt x="2897" y="669"/>
                </a:moveTo>
                <a:lnTo>
                  <a:pt x="2898" y="671"/>
                </a:lnTo>
                <a:lnTo>
                  <a:pt x="2900" y="669"/>
                </a:lnTo>
                <a:lnTo>
                  <a:pt x="2898" y="668"/>
                </a:lnTo>
                <a:lnTo>
                  <a:pt x="2897" y="669"/>
                </a:lnTo>
                <a:close/>
                <a:moveTo>
                  <a:pt x="2686" y="687"/>
                </a:moveTo>
                <a:lnTo>
                  <a:pt x="2686" y="686"/>
                </a:lnTo>
                <a:lnTo>
                  <a:pt x="2686" y="692"/>
                </a:lnTo>
                <a:lnTo>
                  <a:pt x="2687" y="690"/>
                </a:lnTo>
                <a:lnTo>
                  <a:pt x="2686" y="687"/>
                </a:lnTo>
                <a:close/>
                <a:moveTo>
                  <a:pt x="2734" y="784"/>
                </a:moveTo>
                <a:lnTo>
                  <a:pt x="2735" y="780"/>
                </a:lnTo>
                <a:lnTo>
                  <a:pt x="2734" y="780"/>
                </a:lnTo>
                <a:lnTo>
                  <a:pt x="2734" y="784"/>
                </a:lnTo>
                <a:close/>
                <a:moveTo>
                  <a:pt x="2712" y="808"/>
                </a:moveTo>
                <a:lnTo>
                  <a:pt x="2713" y="806"/>
                </a:lnTo>
                <a:lnTo>
                  <a:pt x="2712" y="806"/>
                </a:lnTo>
                <a:lnTo>
                  <a:pt x="2712" y="808"/>
                </a:lnTo>
                <a:close/>
                <a:moveTo>
                  <a:pt x="2684" y="820"/>
                </a:moveTo>
                <a:lnTo>
                  <a:pt x="2688" y="818"/>
                </a:lnTo>
                <a:lnTo>
                  <a:pt x="2687" y="815"/>
                </a:lnTo>
                <a:lnTo>
                  <a:pt x="2684" y="818"/>
                </a:lnTo>
                <a:lnTo>
                  <a:pt x="2684" y="820"/>
                </a:lnTo>
                <a:close/>
                <a:moveTo>
                  <a:pt x="2735" y="778"/>
                </a:moveTo>
                <a:lnTo>
                  <a:pt x="2735" y="780"/>
                </a:lnTo>
                <a:lnTo>
                  <a:pt x="2737" y="780"/>
                </a:lnTo>
                <a:lnTo>
                  <a:pt x="2735" y="779"/>
                </a:lnTo>
                <a:lnTo>
                  <a:pt x="2737" y="778"/>
                </a:lnTo>
                <a:lnTo>
                  <a:pt x="2735" y="778"/>
                </a:lnTo>
                <a:close/>
                <a:moveTo>
                  <a:pt x="2681" y="666"/>
                </a:moveTo>
                <a:lnTo>
                  <a:pt x="2683" y="669"/>
                </a:lnTo>
                <a:lnTo>
                  <a:pt x="2683" y="666"/>
                </a:lnTo>
                <a:lnTo>
                  <a:pt x="2681" y="662"/>
                </a:lnTo>
                <a:lnTo>
                  <a:pt x="2681" y="666"/>
                </a:lnTo>
                <a:close/>
                <a:moveTo>
                  <a:pt x="2735" y="786"/>
                </a:moveTo>
                <a:lnTo>
                  <a:pt x="2735" y="784"/>
                </a:lnTo>
                <a:lnTo>
                  <a:pt x="2734" y="785"/>
                </a:lnTo>
                <a:lnTo>
                  <a:pt x="2735" y="786"/>
                </a:lnTo>
                <a:close/>
                <a:moveTo>
                  <a:pt x="2739" y="784"/>
                </a:moveTo>
                <a:lnTo>
                  <a:pt x="2735" y="784"/>
                </a:lnTo>
                <a:lnTo>
                  <a:pt x="2739" y="785"/>
                </a:lnTo>
                <a:lnTo>
                  <a:pt x="2739" y="784"/>
                </a:lnTo>
                <a:close/>
                <a:moveTo>
                  <a:pt x="2566" y="927"/>
                </a:moveTo>
                <a:lnTo>
                  <a:pt x="2565" y="926"/>
                </a:lnTo>
                <a:lnTo>
                  <a:pt x="2567" y="930"/>
                </a:lnTo>
                <a:lnTo>
                  <a:pt x="2566" y="927"/>
                </a:lnTo>
                <a:close/>
                <a:moveTo>
                  <a:pt x="2741" y="789"/>
                </a:moveTo>
                <a:lnTo>
                  <a:pt x="2741" y="786"/>
                </a:lnTo>
                <a:lnTo>
                  <a:pt x="2739" y="789"/>
                </a:lnTo>
                <a:lnTo>
                  <a:pt x="2741" y="789"/>
                </a:lnTo>
                <a:close/>
                <a:moveTo>
                  <a:pt x="2740" y="1704"/>
                </a:moveTo>
                <a:lnTo>
                  <a:pt x="2741" y="1702"/>
                </a:lnTo>
                <a:lnTo>
                  <a:pt x="2740" y="1703"/>
                </a:lnTo>
                <a:lnTo>
                  <a:pt x="2740" y="1704"/>
                </a:lnTo>
                <a:close/>
                <a:moveTo>
                  <a:pt x="2742" y="1638"/>
                </a:moveTo>
                <a:lnTo>
                  <a:pt x="2741" y="1638"/>
                </a:lnTo>
                <a:lnTo>
                  <a:pt x="2739" y="1642"/>
                </a:lnTo>
                <a:lnTo>
                  <a:pt x="2737" y="1642"/>
                </a:lnTo>
                <a:lnTo>
                  <a:pt x="2737" y="1645"/>
                </a:lnTo>
                <a:lnTo>
                  <a:pt x="2741" y="1646"/>
                </a:lnTo>
                <a:lnTo>
                  <a:pt x="2742" y="1642"/>
                </a:lnTo>
                <a:lnTo>
                  <a:pt x="2742" y="1638"/>
                </a:lnTo>
                <a:close/>
                <a:moveTo>
                  <a:pt x="2681" y="654"/>
                </a:moveTo>
                <a:lnTo>
                  <a:pt x="2687" y="657"/>
                </a:lnTo>
                <a:lnTo>
                  <a:pt x="2686" y="655"/>
                </a:lnTo>
                <a:lnTo>
                  <a:pt x="2681" y="654"/>
                </a:lnTo>
                <a:close/>
                <a:moveTo>
                  <a:pt x="2686" y="664"/>
                </a:moveTo>
                <a:lnTo>
                  <a:pt x="2686" y="662"/>
                </a:lnTo>
                <a:lnTo>
                  <a:pt x="2681" y="661"/>
                </a:lnTo>
                <a:lnTo>
                  <a:pt x="2686" y="664"/>
                </a:lnTo>
                <a:close/>
                <a:moveTo>
                  <a:pt x="2686" y="670"/>
                </a:moveTo>
                <a:lnTo>
                  <a:pt x="2686" y="672"/>
                </a:lnTo>
                <a:lnTo>
                  <a:pt x="2687" y="672"/>
                </a:lnTo>
                <a:lnTo>
                  <a:pt x="2686" y="670"/>
                </a:lnTo>
                <a:close/>
                <a:moveTo>
                  <a:pt x="2690" y="658"/>
                </a:moveTo>
                <a:lnTo>
                  <a:pt x="2689" y="658"/>
                </a:lnTo>
                <a:lnTo>
                  <a:pt x="2690" y="659"/>
                </a:lnTo>
                <a:lnTo>
                  <a:pt x="2690" y="658"/>
                </a:lnTo>
                <a:close/>
                <a:moveTo>
                  <a:pt x="2687" y="661"/>
                </a:moveTo>
                <a:lnTo>
                  <a:pt x="2689" y="658"/>
                </a:lnTo>
                <a:lnTo>
                  <a:pt x="2687" y="657"/>
                </a:lnTo>
                <a:lnTo>
                  <a:pt x="2687" y="659"/>
                </a:lnTo>
                <a:lnTo>
                  <a:pt x="2683" y="658"/>
                </a:lnTo>
                <a:lnTo>
                  <a:pt x="2687" y="661"/>
                </a:lnTo>
                <a:close/>
                <a:moveTo>
                  <a:pt x="2756" y="782"/>
                </a:moveTo>
                <a:lnTo>
                  <a:pt x="2757" y="782"/>
                </a:lnTo>
                <a:lnTo>
                  <a:pt x="2760" y="782"/>
                </a:lnTo>
                <a:lnTo>
                  <a:pt x="2759" y="781"/>
                </a:lnTo>
                <a:lnTo>
                  <a:pt x="2756" y="780"/>
                </a:lnTo>
                <a:lnTo>
                  <a:pt x="2756" y="781"/>
                </a:lnTo>
                <a:lnTo>
                  <a:pt x="2756" y="782"/>
                </a:lnTo>
                <a:close/>
                <a:moveTo>
                  <a:pt x="2753" y="779"/>
                </a:moveTo>
                <a:lnTo>
                  <a:pt x="2756" y="780"/>
                </a:lnTo>
                <a:lnTo>
                  <a:pt x="2756" y="779"/>
                </a:lnTo>
                <a:lnTo>
                  <a:pt x="2753" y="779"/>
                </a:lnTo>
                <a:close/>
                <a:moveTo>
                  <a:pt x="2808" y="785"/>
                </a:moveTo>
                <a:lnTo>
                  <a:pt x="2805" y="785"/>
                </a:lnTo>
                <a:lnTo>
                  <a:pt x="2805" y="786"/>
                </a:lnTo>
                <a:lnTo>
                  <a:pt x="2808" y="786"/>
                </a:lnTo>
                <a:lnTo>
                  <a:pt x="2808" y="785"/>
                </a:lnTo>
                <a:close/>
                <a:moveTo>
                  <a:pt x="2825" y="773"/>
                </a:moveTo>
                <a:lnTo>
                  <a:pt x="2824" y="777"/>
                </a:lnTo>
                <a:lnTo>
                  <a:pt x="2829" y="781"/>
                </a:lnTo>
                <a:lnTo>
                  <a:pt x="2831" y="777"/>
                </a:lnTo>
                <a:lnTo>
                  <a:pt x="2825" y="773"/>
                </a:lnTo>
                <a:close/>
                <a:moveTo>
                  <a:pt x="2773" y="733"/>
                </a:moveTo>
                <a:lnTo>
                  <a:pt x="2775" y="731"/>
                </a:lnTo>
                <a:lnTo>
                  <a:pt x="2771" y="733"/>
                </a:lnTo>
                <a:lnTo>
                  <a:pt x="2773" y="733"/>
                </a:lnTo>
                <a:close/>
                <a:moveTo>
                  <a:pt x="2767" y="765"/>
                </a:moveTo>
                <a:lnTo>
                  <a:pt x="2768" y="761"/>
                </a:lnTo>
                <a:lnTo>
                  <a:pt x="2767" y="759"/>
                </a:lnTo>
                <a:lnTo>
                  <a:pt x="2767" y="765"/>
                </a:lnTo>
                <a:close/>
                <a:moveTo>
                  <a:pt x="2816" y="797"/>
                </a:moveTo>
                <a:lnTo>
                  <a:pt x="2815" y="798"/>
                </a:lnTo>
                <a:lnTo>
                  <a:pt x="2817" y="799"/>
                </a:lnTo>
                <a:lnTo>
                  <a:pt x="2818" y="798"/>
                </a:lnTo>
                <a:lnTo>
                  <a:pt x="2816" y="797"/>
                </a:lnTo>
                <a:close/>
                <a:moveTo>
                  <a:pt x="2815" y="798"/>
                </a:moveTo>
                <a:lnTo>
                  <a:pt x="2815" y="798"/>
                </a:lnTo>
                <a:lnTo>
                  <a:pt x="2812" y="795"/>
                </a:lnTo>
                <a:lnTo>
                  <a:pt x="2815" y="798"/>
                </a:lnTo>
                <a:close/>
                <a:moveTo>
                  <a:pt x="2819" y="802"/>
                </a:moveTo>
                <a:lnTo>
                  <a:pt x="2819" y="801"/>
                </a:lnTo>
                <a:lnTo>
                  <a:pt x="2817" y="799"/>
                </a:lnTo>
                <a:lnTo>
                  <a:pt x="2815" y="802"/>
                </a:lnTo>
                <a:lnTo>
                  <a:pt x="2819" y="802"/>
                </a:lnTo>
                <a:close/>
                <a:moveTo>
                  <a:pt x="2776" y="790"/>
                </a:moveTo>
                <a:lnTo>
                  <a:pt x="2775" y="789"/>
                </a:lnTo>
                <a:lnTo>
                  <a:pt x="2774" y="790"/>
                </a:lnTo>
                <a:lnTo>
                  <a:pt x="2776" y="790"/>
                </a:lnTo>
                <a:close/>
                <a:moveTo>
                  <a:pt x="2785" y="784"/>
                </a:moveTo>
                <a:lnTo>
                  <a:pt x="2784" y="781"/>
                </a:lnTo>
                <a:lnTo>
                  <a:pt x="2782" y="782"/>
                </a:lnTo>
                <a:lnTo>
                  <a:pt x="2786" y="788"/>
                </a:lnTo>
                <a:lnTo>
                  <a:pt x="2786" y="787"/>
                </a:lnTo>
                <a:lnTo>
                  <a:pt x="2789" y="784"/>
                </a:lnTo>
                <a:lnTo>
                  <a:pt x="2789" y="783"/>
                </a:lnTo>
                <a:lnTo>
                  <a:pt x="2788" y="784"/>
                </a:lnTo>
                <a:lnTo>
                  <a:pt x="2785" y="784"/>
                </a:lnTo>
                <a:close/>
                <a:moveTo>
                  <a:pt x="2795" y="767"/>
                </a:moveTo>
                <a:lnTo>
                  <a:pt x="2796" y="767"/>
                </a:lnTo>
                <a:lnTo>
                  <a:pt x="2796" y="766"/>
                </a:lnTo>
                <a:lnTo>
                  <a:pt x="2796" y="766"/>
                </a:lnTo>
                <a:lnTo>
                  <a:pt x="2795" y="767"/>
                </a:lnTo>
                <a:close/>
                <a:moveTo>
                  <a:pt x="2784" y="760"/>
                </a:moveTo>
                <a:lnTo>
                  <a:pt x="2782" y="763"/>
                </a:lnTo>
                <a:lnTo>
                  <a:pt x="2784" y="766"/>
                </a:lnTo>
                <a:lnTo>
                  <a:pt x="2785" y="761"/>
                </a:lnTo>
                <a:lnTo>
                  <a:pt x="2787" y="763"/>
                </a:lnTo>
                <a:lnTo>
                  <a:pt x="2786" y="761"/>
                </a:lnTo>
                <a:lnTo>
                  <a:pt x="2785" y="759"/>
                </a:lnTo>
                <a:lnTo>
                  <a:pt x="2791" y="757"/>
                </a:lnTo>
                <a:lnTo>
                  <a:pt x="2796" y="758"/>
                </a:lnTo>
                <a:lnTo>
                  <a:pt x="2795" y="761"/>
                </a:lnTo>
                <a:lnTo>
                  <a:pt x="2796" y="766"/>
                </a:lnTo>
                <a:lnTo>
                  <a:pt x="2796" y="766"/>
                </a:lnTo>
                <a:lnTo>
                  <a:pt x="2789" y="771"/>
                </a:lnTo>
                <a:lnTo>
                  <a:pt x="2792" y="775"/>
                </a:lnTo>
                <a:lnTo>
                  <a:pt x="2786" y="780"/>
                </a:lnTo>
                <a:lnTo>
                  <a:pt x="2787" y="780"/>
                </a:lnTo>
                <a:lnTo>
                  <a:pt x="2787" y="780"/>
                </a:lnTo>
                <a:lnTo>
                  <a:pt x="2790" y="779"/>
                </a:lnTo>
                <a:lnTo>
                  <a:pt x="2795" y="782"/>
                </a:lnTo>
                <a:lnTo>
                  <a:pt x="2789" y="783"/>
                </a:lnTo>
                <a:lnTo>
                  <a:pt x="2789" y="783"/>
                </a:lnTo>
                <a:lnTo>
                  <a:pt x="2785" y="781"/>
                </a:lnTo>
                <a:lnTo>
                  <a:pt x="2784" y="781"/>
                </a:lnTo>
                <a:lnTo>
                  <a:pt x="2783" y="779"/>
                </a:lnTo>
                <a:lnTo>
                  <a:pt x="2783" y="780"/>
                </a:lnTo>
                <a:lnTo>
                  <a:pt x="2781" y="780"/>
                </a:lnTo>
                <a:lnTo>
                  <a:pt x="2775" y="780"/>
                </a:lnTo>
                <a:lnTo>
                  <a:pt x="2774" y="768"/>
                </a:lnTo>
                <a:lnTo>
                  <a:pt x="2771" y="765"/>
                </a:lnTo>
                <a:lnTo>
                  <a:pt x="2775" y="766"/>
                </a:lnTo>
                <a:lnTo>
                  <a:pt x="2781" y="763"/>
                </a:lnTo>
                <a:lnTo>
                  <a:pt x="2775" y="760"/>
                </a:lnTo>
                <a:lnTo>
                  <a:pt x="2784" y="760"/>
                </a:lnTo>
                <a:close/>
                <a:moveTo>
                  <a:pt x="2786" y="766"/>
                </a:moveTo>
                <a:lnTo>
                  <a:pt x="2788" y="766"/>
                </a:lnTo>
                <a:lnTo>
                  <a:pt x="2788" y="765"/>
                </a:lnTo>
                <a:lnTo>
                  <a:pt x="2786" y="766"/>
                </a:lnTo>
                <a:close/>
                <a:moveTo>
                  <a:pt x="2782" y="782"/>
                </a:moveTo>
                <a:lnTo>
                  <a:pt x="2781" y="784"/>
                </a:lnTo>
                <a:lnTo>
                  <a:pt x="2775" y="781"/>
                </a:lnTo>
                <a:lnTo>
                  <a:pt x="2774" y="782"/>
                </a:lnTo>
                <a:lnTo>
                  <a:pt x="2773" y="784"/>
                </a:lnTo>
                <a:lnTo>
                  <a:pt x="2779" y="788"/>
                </a:lnTo>
                <a:lnTo>
                  <a:pt x="2785" y="788"/>
                </a:lnTo>
                <a:lnTo>
                  <a:pt x="2782" y="782"/>
                </a:lnTo>
                <a:close/>
                <a:moveTo>
                  <a:pt x="2796" y="766"/>
                </a:moveTo>
                <a:lnTo>
                  <a:pt x="2796" y="766"/>
                </a:lnTo>
                <a:lnTo>
                  <a:pt x="2796" y="766"/>
                </a:lnTo>
                <a:lnTo>
                  <a:pt x="2796" y="766"/>
                </a:lnTo>
                <a:close/>
                <a:moveTo>
                  <a:pt x="2767" y="786"/>
                </a:moveTo>
                <a:lnTo>
                  <a:pt x="2773" y="777"/>
                </a:lnTo>
                <a:lnTo>
                  <a:pt x="2767" y="782"/>
                </a:lnTo>
                <a:lnTo>
                  <a:pt x="2767" y="786"/>
                </a:lnTo>
                <a:close/>
                <a:moveTo>
                  <a:pt x="2780" y="801"/>
                </a:moveTo>
                <a:lnTo>
                  <a:pt x="2780" y="798"/>
                </a:lnTo>
                <a:lnTo>
                  <a:pt x="2778" y="798"/>
                </a:lnTo>
                <a:lnTo>
                  <a:pt x="2780" y="801"/>
                </a:lnTo>
                <a:close/>
                <a:moveTo>
                  <a:pt x="2860" y="459"/>
                </a:moveTo>
                <a:lnTo>
                  <a:pt x="2858" y="456"/>
                </a:lnTo>
                <a:lnTo>
                  <a:pt x="2856" y="461"/>
                </a:lnTo>
                <a:lnTo>
                  <a:pt x="2860" y="460"/>
                </a:lnTo>
                <a:lnTo>
                  <a:pt x="2860" y="459"/>
                </a:lnTo>
                <a:lnTo>
                  <a:pt x="2858" y="459"/>
                </a:lnTo>
                <a:lnTo>
                  <a:pt x="2860" y="459"/>
                </a:lnTo>
                <a:close/>
                <a:moveTo>
                  <a:pt x="2797" y="530"/>
                </a:moveTo>
                <a:lnTo>
                  <a:pt x="2794" y="530"/>
                </a:lnTo>
                <a:lnTo>
                  <a:pt x="2792" y="534"/>
                </a:lnTo>
                <a:lnTo>
                  <a:pt x="2796" y="531"/>
                </a:lnTo>
                <a:lnTo>
                  <a:pt x="2795" y="531"/>
                </a:lnTo>
                <a:lnTo>
                  <a:pt x="2797" y="530"/>
                </a:lnTo>
                <a:close/>
                <a:moveTo>
                  <a:pt x="2808" y="514"/>
                </a:moveTo>
                <a:lnTo>
                  <a:pt x="2800" y="515"/>
                </a:lnTo>
                <a:lnTo>
                  <a:pt x="2802" y="515"/>
                </a:lnTo>
                <a:lnTo>
                  <a:pt x="2807" y="515"/>
                </a:lnTo>
                <a:lnTo>
                  <a:pt x="2807" y="515"/>
                </a:lnTo>
                <a:lnTo>
                  <a:pt x="2808" y="514"/>
                </a:lnTo>
                <a:close/>
                <a:moveTo>
                  <a:pt x="2829" y="486"/>
                </a:moveTo>
                <a:lnTo>
                  <a:pt x="2828" y="487"/>
                </a:lnTo>
                <a:lnTo>
                  <a:pt x="2830" y="487"/>
                </a:lnTo>
                <a:lnTo>
                  <a:pt x="2829" y="486"/>
                </a:lnTo>
                <a:lnTo>
                  <a:pt x="2829" y="486"/>
                </a:lnTo>
                <a:lnTo>
                  <a:pt x="2829" y="486"/>
                </a:lnTo>
                <a:close/>
                <a:moveTo>
                  <a:pt x="5086" y="427"/>
                </a:moveTo>
                <a:lnTo>
                  <a:pt x="5088" y="427"/>
                </a:lnTo>
                <a:lnTo>
                  <a:pt x="5088" y="426"/>
                </a:lnTo>
                <a:lnTo>
                  <a:pt x="5086" y="427"/>
                </a:lnTo>
                <a:close/>
                <a:moveTo>
                  <a:pt x="2687" y="626"/>
                </a:moveTo>
                <a:lnTo>
                  <a:pt x="2687" y="626"/>
                </a:lnTo>
                <a:lnTo>
                  <a:pt x="2687" y="627"/>
                </a:lnTo>
                <a:lnTo>
                  <a:pt x="2687" y="627"/>
                </a:lnTo>
                <a:lnTo>
                  <a:pt x="2687" y="626"/>
                </a:lnTo>
                <a:close/>
                <a:moveTo>
                  <a:pt x="2875" y="689"/>
                </a:moveTo>
                <a:lnTo>
                  <a:pt x="2879" y="688"/>
                </a:lnTo>
                <a:lnTo>
                  <a:pt x="2879" y="688"/>
                </a:lnTo>
                <a:lnTo>
                  <a:pt x="2879" y="686"/>
                </a:lnTo>
                <a:lnTo>
                  <a:pt x="2875" y="687"/>
                </a:lnTo>
                <a:lnTo>
                  <a:pt x="2875" y="689"/>
                </a:lnTo>
                <a:close/>
                <a:moveTo>
                  <a:pt x="2691" y="671"/>
                </a:moveTo>
                <a:lnTo>
                  <a:pt x="2690" y="672"/>
                </a:lnTo>
                <a:lnTo>
                  <a:pt x="2691" y="675"/>
                </a:lnTo>
                <a:lnTo>
                  <a:pt x="2692" y="672"/>
                </a:lnTo>
                <a:lnTo>
                  <a:pt x="2691" y="672"/>
                </a:lnTo>
                <a:lnTo>
                  <a:pt x="2691" y="671"/>
                </a:lnTo>
                <a:close/>
                <a:moveTo>
                  <a:pt x="3071" y="435"/>
                </a:moveTo>
                <a:lnTo>
                  <a:pt x="3068" y="433"/>
                </a:lnTo>
                <a:lnTo>
                  <a:pt x="3068" y="434"/>
                </a:lnTo>
                <a:lnTo>
                  <a:pt x="3070" y="435"/>
                </a:lnTo>
                <a:lnTo>
                  <a:pt x="3071" y="435"/>
                </a:lnTo>
                <a:close/>
                <a:moveTo>
                  <a:pt x="5230" y="455"/>
                </a:moveTo>
                <a:lnTo>
                  <a:pt x="5230" y="455"/>
                </a:lnTo>
                <a:lnTo>
                  <a:pt x="5230" y="455"/>
                </a:lnTo>
                <a:lnTo>
                  <a:pt x="5230" y="455"/>
                </a:lnTo>
                <a:lnTo>
                  <a:pt x="5230" y="455"/>
                </a:lnTo>
                <a:close/>
                <a:moveTo>
                  <a:pt x="5258" y="472"/>
                </a:moveTo>
                <a:lnTo>
                  <a:pt x="5254" y="468"/>
                </a:lnTo>
                <a:lnTo>
                  <a:pt x="5249" y="465"/>
                </a:lnTo>
                <a:lnTo>
                  <a:pt x="5249" y="466"/>
                </a:lnTo>
                <a:lnTo>
                  <a:pt x="5257" y="475"/>
                </a:lnTo>
                <a:lnTo>
                  <a:pt x="5258" y="473"/>
                </a:lnTo>
                <a:lnTo>
                  <a:pt x="5258" y="472"/>
                </a:lnTo>
                <a:close/>
                <a:moveTo>
                  <a:pt x="2864" y="685"/>
                </a:moveTo>
                <a:lnTo>
                  <a:pt x="2864" y="684"/>
                </a:lnTo>
                <a:lnTo>
                  <a:pt x="2862" y="684"/>
                </a:lnTo>
                <a:lnTo>
                  <a:pt x="2864" y="685"/>
                </a:lnTo>
                <a:close/>
                <a:moveTo>
                  <a:pt x="5224" y="453"/>
                </a:moveTo>
                <a:lnTo>
                  <a:pt x="5224" y="453"/>
                </a:lnTo>
                <a:lnTo>
                  <a:pt x="5224" y="453"/>
                </a:lnTo>
                <a:lnTo>
                  <a:pt x="5224" y="453"/>
                </a:lnTo>
                <a:lnTo>
                  <a:pt x="5224" y="453"/>
                </a:lnTo>
                <a:close/>
                <a:moveTo>
                  <a:pt x="4453" y="1159"/>
                </a:moveTo>
                <a:lnTo>
                  <a:pt x="4454" y="1158"/>
                </a:lnTo>
                <a:lnTo>
                  <a:pt x="4453" y="1158"/>
                </a:lnTo>
                <a:lnTo>
                  <a:pt x="4453" y="1158"/>
                </a:lnTo>
                <a:lnTo>
                  <a:pt x="4453" y="1159"/>
                </a:lnTo>
                <a:close/>
                <a:moveTo>
                  <a:pt x="3200" y="564"/>
                </a:moveTo>
                <a:lnTo>
                  <a:pt x="3200" y="564"/>
                </a:lnTo>
                <a:lnTo>
                  <a:pt x="3199" y="564"/>
                </a:lnTo>
                <a:lnTo>
                  <a:pt x="3200" y="564"/>
                </a:lnTo>
                <a:lnTo>
                  <a:pt x="3200" y="564"/>
                </a:lnTo>
                <a:close/>
                <a:moveTo>
                  <a:pt x="3199" y="564"/>
                </a:moveTo>
                <a:lnTo>
                  <a:pt x="3199" y="563"/>
                </a:lnTo>
                <a:lnTo>
                  <a:pt x="3196" y="563"/>
                </a:lnTo>
                <a:lnTo>
                  <a:pt x="3198" y="563"/>
                </a:lnTo>
                <a:lnTo>
                  <a:pt x="3199" y="564"/>
                </a:lnTo>
                <a:close/>
                <a:moveTo>
                  <a:pt x="4449" y="359"/>
                </a:moveTo>
                <a:lnTo>
                  <a:pt x="4449" y="360"/>
                </a:lnTo>
                <a:lnTo>
                  <a:pt x="4450" y="361"/>
                </a:lnTo>
                <a:lnTo>
                  <a:pt x="4450" y="361"/>
                </a:lnTo>
                <a:lnTo>
                  <a:pt x="4450" y="361"/>
                </a:lnTo>
                <a:lnTo>
                  <a:pt x="4449" y="361"/>
                </a:lnTo>
                <a:lnTo>
                  <a:pt x="4449" y="363"/>
                </a:lnTo>
                <a:lnTo>
                  <a:pt x="4452" y="363"/>
                </a:lnTo>
                <a:lnTo>
                  <a:pt x="4451" y="361"/>
                </a:lnTo>
                <a:lnTo>
                  <a:pt x="4459" y="362"/>
                </a:lnTo>
                <a:lnTo>
                  <a:pt x="4466" y="363"/>
                </a:lnTo>
                <a:lnTo>
                  <a:pt x="4470" y="366"/>
                </a:lnTo>
                <a:lnTo>
                  <a:pt x="4482" y="373"/>
                </a:lnTo>
                <a:lnTo>
                  <a:pt x="4487" y="372"/>
                </a:lnTo>
                <a:lnTo>
                  <a:pt x="4491" y="371"/>
                </a:lnTo>
                <a:lnTo>
                  <a:pt x="4493" y="371"/>
                </a:lnTo>
                <a:lnTo>
                  <a:pt x="4491" y="370"/>
                </a:lnTo>
                <a:lnTo>
                  <a:pt x="4489" y="369"/>
                </a:lnTo>
                <a:lnTo>
                  <a:pt x="4494" y="366"/>
                </a:lnTo>
                <a:lnTo>
                  <a:pt x="4492" y="365"/>
                </a:lnTo>
                <a:lnTo>
                  <a:pt x="4491" y="365"/>
                </a:lnTo>
                <a:lnTo>
                  <a:pt x="4493" y="363"/>
                </a:lnTo>
                <a:lnTo>
                  <a:pt x="4491" y="363"/>
                </a:lnTo>
                <a:lnTo>
                  <a:pt x="4489" y="363"/>
                </a:lnTo>
                <a:lnTo>
                  <a:pt x="4481" y="363"/>
                </a:lnTo>
                <a:lnTo>
                  <a:pt x="4467" y="355"/>
                </a:lnTo>
                <a:lnTo>
                  <a:pt x="4458" y="357"/>
                </a:lnTo>
                <a:lnTo>
                  <a:pt x="4451" y="358"/>
                </a:lnTo>
                <a:lnTo>
                  <a:pt x="4450" y="358"/>
                </a:lnTo>
                <a:lnTo>
                  <a:pt x="4449" y="359"/>
                </a:lnTo>
                <a:close/>
                <a:moveTo>
                  <a:pt x="4799" y="388"/>
                </a:moveTo>
                <a:lnTo>
                  <a:pt x="4800" y="387"/>
                </a:lnTo>
                <a:lnTo>
                  <a:pt x="4799" y="387"/>
                </a:lnTo>
                <a:lnTo>
                  <a:pt x="4799" y="387"/>
                </a:lnTo>
                <a:lnTo>
                  <a:pt x="4799" y="388"/>
                </a:lnTo>
                <a:close/>
                <a:moveTo>
                  <a:pt x="2847" y="467"/>
                </a:moveTo>
                <a:lnTo>
                  <a:pt x="2850" y="467"/>
                </a:lnTo>
                <a:lnTo>
                  <a:pt x="2847" y="466"/>
                </a:lnTo>
                <a:lnTo>
                  <a:pt x="2847" y="466"/>
                </a:lnTo>
                <a:lnTo>
                  <a:pt x="2847" y="466"/>
                </a:lnTo>
                <a:lnTo>
                  <a:pt x="2851" y="465"/>
                </a:lnTo>
                <a:lnTo>
                  <a:pt x="2851" y="463"/>
                </a:lnTo>
                <a:lnTo>
                  <a:pt x="2852" y="463"/>
                </a:lnTo>
                <a:lnTo>
                  <a:pt x="2851" y="458"/>
                </a:lnTo>
                <a:lnTo>
                  <a:pt x="2846" y="456"/>
                </a:lnTo>
                <a:lnTo>
                  <a:pt x="2839" y="466"/>
                </a:lnTo>
                <a:lnTo>
                  <a:pt x="2843" y="460"/>
                </a:lnTo>
                <a:lnTo>
                  <a:pt x="2840" y="457"/>
                </a:lnTo>
                <a:lnTo>
                  <a:pt x="2843" y="455"/>
                </a:lnTo>
                <a:lnTo>
                  <a:pt x="2839" y="455"/>
                </a:lnTo>
                <a:lnTo>
                  <a:pt x="2844" y="450"/>
                </a:lnTo>
                <a:lnTo>
                  <a:pt x="2846" y="446"/>
                </a:lnTo>
                <a:lnTo>
                  <a:pt x="2837" y="451"/>
                </a:lnTo>
                <a:lnTo>
                  <a:pt x="2835" y="452"/>
                </a:lnTo>
                <a:lnTo>
                  <a:pt x="2837" y="456"/>
                </a:lnTo>
                <a:lnTo>
                  <a:pt x="2838" y="455"/>
                </a:lnTo>
                <a:lnTo>
                  <a:pt x="2835" y="460"/>
                </a:lnTo>
                <a:lnTo>
                  <a:pt x="2837" y="463"/>
                </a:lnTo>
                <a:lnTo>
                  <a:pt x="2832" y="467"/>
                </a:lnTo>
                <a:lnTo>
                  <a:pt x="2833" y="467"/>
                </a:lnTo>
                <a:lnTo>
                  <a:pt x="2831" y="468"/>
                </a:lnTo>
                <a:lnTo>
                  <a:pt x="2831" y="468"/>
                </a:lnTo>
                <a:lnTo>
                  <a:pt x="2831" y="468"/>
                </a:lnTo>
                <a:lnTo>
                  <a:pt x="2831" y="468"/>
                </a:lnTo>
                <a:lnTo>
                  <a:pt x="2831" y="468"/>
                </a:lnTo>
                <a:lnTo>
                  <a:pt x="2825" y="471"/>
                </a:lnTo>
                <a:lnTo>
                  <a:pt x="2827" y="469"/>
                </a:lnTo>
                <a:lnTo>
                  <a:pt x="2821" y="471"/>
                </a:lnTo>
                <a:lnTo>
                  <a:pt x="2820" y="471"/>
                </a:lnTo>
                <a:lnTo>
                  <a:pt x="2821" y="475"/>
                </a:lnTo>
                <a:lnTo>
                  <a:pt x="2819" y="475"/>
                </a:lnTo>
                <a:lnTo>
                  <a:pt x="2818" y="478"/>
                </a:lnTo>
                <a:lnTo>
                  <a:pt x="2827" y="473"/>
                </a:lnTo>
                <a:lnTo>
                  <a:pt x="2830" y="469"/>
                </a:lnTo>
                <a:lnTo>
                  <a:pt x="2828" y="473"/>
                </a:lnTo>
                <a:lnTo>
                  <a:pt x="2837" y="467"/>
                </a:lnTo>
                <a:lnTo>
                  <a:pt x="2838" y="467"/>
                </a:lnTo>
                <a:lnTo>
                  <a:pt x="2833" y="475"/>
                </a:lnTo>
                <a:lnTo>
                  <a:pt x="2838" y="475"/>
                </a:lnTo>
                <a:lnTo>
                  <a:pt x="2840" y="469"/>
                </a:lnTo>
                <a:lnTo>
                  <a:pt x="2843" y="471"/>
                </a:lnTo>
                <a:lnTo>
                  <a:pt x="2846" y="467"/>
                </a:lnTo>
                <a:lnTo>
                  <a:pt x="2847" y="467"/>
                </a:lnTo>
                <a:lnTo>
                  <a:pt x="2846" y="469"/>
                </a:lnTo>
                <a:lnTo>
                  <a:pt x="2851" y="468"/>
                </a:lnTo>
                <a:lnTo>
                  <a:pt x="2851" y="467"/>
                </a:lnTo>
                <a:lnTo>
                  <a:pt x="2847" y="468"/>
                </a:lnTo>
                <a:lnTo>
                  <a:pt x="2847" y="467"/>
                </a:lnTo>
                <a:close/>
                <a:moveTo>
                  <a:pt x="2950" y="674"/>
                </a:moveTo>
                <a:lnTo>
                  <a:pt x="2949" y="674"/>
                </a:lnTo>
                <a:lnTo>
                  <a:pt x="2949" y="674"/>
                </a:lnTo>
                <a:lnTo>
                  <a:pt x="2948" y="674"/>
                </a:lnTo>
                <a:lnTo>
                  <a:pt x="2945" y="674"/>
                </a:lnTo>
                <a:lnTo>
                  <a:pt x="2948" y="675"/>
                </a:lnTo>
                <a:lnTo>
                  <a:pt x="2949" y="675"/>
                </a:lnTo>
                <a:lnTo>
                  <a:pt x="2949" y="675"/>
                </a:lnTo>
                <a:lnTo>
                  <a:pt x="2949" y="675"/>
                </a:lnTo>
                <a:lnTo>
                  <a:pt x="2950" y="674"/>
                </a:lnTo>
                <a:close/>
                <a:moveTo>
                  <a:pt x="4252" y="1362"/>
                </a:moveTo>
                <a:lnTo>
                  <a:pt x="4252" y="1363"/>
                </a:lnTo>
                <a:lnTo>
                  <a:pt x="4253" y="1363"/>
                </a:lnTo>
                <a:lnTo>
                  <a:pt x="4253" y="1363"/>
                </a:lnTo>
                <a:lnTo>
                  <a:pt x="4252" y="1362"/>
                </a:lnTo>
                <a:close/>
                <a:moveTo>
                  <a:pt x="4198" y="1515"/>
                </a:moveTo>
                <a:lnTo>
                  <a:pt x="4198" y="1514"/>
                </a:lnTo>
                <a:lnTo>
                  <a:pt x="4198" y="1514"/>
                </a:lnTo>
                <a:lnTo>
                  <a:pt x="4198" y="1515"/>
                </a:lnTo>
                <a:lnTo>
                  <a:pt x="4198" y="1515"/>
                </a:lnTo>
                <a:close/>
                <a:moveTo>
                  <a:pt x="4350" y="1290"/>
                </a:moveTo>
                <a:lnTo>
                  <a:pt x="4350" y="1290"/>
                </a:lnTo>
                <a:lnTo>
                  <a:pt x="4350" y="1290"/>
                </a:lnTo>
                <a:lnTo>
                  <a:pt x="4350" y="1290"/>
                </a:lnTo>
                <a:lnTo>
                  <a:pt x="4350" y="1290"/>
                </a:lnTo>
                <a:lnTo>
                  <a:pt x="4353" y="1291"/>
                </a:lnTo>
                <a:lnTo>
                  <a:pt x="4353" y="1291"/>
                </a:lnTo>
                <a:lnTo>
                  <a:pt x="4351" y="1288"/>
                </a:lnTo>
                <a:lnTo>
                  <a:pt x="4350" y="1289"/>
                </a:lnTo>
                <a:lnTo>
                  <a:pt x="4350" y="1290"/>
                </a:lnTo>
                <a:lnTo>
                  <a:pt x="4350" y="1290"/>
                </a:lnTo>
                <a:lnTo>
                  <a:pt x="4350" y="1290"/>
                </a:lnTo>
                <a:close/>
                <a:moveTo>
                  <a:pt x="4197" y="1515"/>
                </a:moveTo>
                <a:lnTo>
                  <a:pt x="4197" y="1515"/>
                </a:lnTo>
                <a:lnTo>
                  <a:pt x="4197" y="1515"/>
                </a:lnTo>
                <a:lnTo>
                  <a:pt x="4199" y="1515"/>
                </a:lnTo>
                <a:lnTo>
                  <a:pt x="4198" y="1515"/>
                </a:lnTo>
                <a:lnTo>
                  <a:pt x="4198" y="1515"/>
                </a:lnTo>
                <a:lnTo>
                  <a:pt x="4197" y="1515"/>
                </a:lnTo>
                <a:close/>
                <a:moveTo>
                  <a:pt x="4452" y="1159"/>
                </a:moveTo>
                <a:lnTo>
                  <a:pt x="4453" y="1160"/>
                </a:lnTo>
                <a:lnTo>
                  <a:pt x="4453" y="1159"/>
                </a:lnTo>
                <a:lnTo>
                  <a:pt x="4453" y="1159"/>
                </a:lnTo>
                <a:lnTo>
                  <a:pt x="4452" y="1159"/>
                </a:lnTo>
                <a:close/>
                <a:moveTo>
                  <a:pt x="4453" y="1113"/>
                </a:moveTo>
                <a:lnTo>
                  <a:pt x="4453" y="1113"/>
                </a:lnTo>
                <a:lnTo>
                  <a:pt x="4453" y="1113"/>
                </a:lnTo>
                <a:lnTo>
                  <a:pt x="4453" y="1113"/>
                </a:lnTo>
                <a:close/>
                <a:moveTo>
                  <a:pt x="4372" y="1261"/>
                </a:moveTo>
                <a:lnTo>
                  <a:pt x="4371" y="1263"/>
                </a:lnTo>
                <a:lnTo>
                  <a:pt x="4372" y="1264"/>
                </a:lnTo>
                <a:lnTo>
                  <a:pt x="4372" y="1264"/>
                </a:lnTo>
                <a:lnTo>
                  <a:pt x="4372" y="1263"/>
                </a:lnTo>
                <a:lnTo>
                  <a:pt x="4372" y="1261"/>
                </a:lnTo>
                <a:lnTo>
                  <a:pt x="4372" y="1261"/>
                </a:lnTo>
                <a:lnTo>
                  <a:pt x="4372" y="1261"/>
                </a:lnTo>
                <a:close/>
                <a:moveTo>
                  <a:pt x="4350" y="1290"/>
                </a:moveTo>
                <a:lnTo>
                  <a:pt x="4350" y="1290"/>
                </a:lnTo>
                <a:lnTo>
                  <a:pt x="4350" y="1290"/>
                </a:lnTo>
                <a:lnTo>
                  <a:pt x="4350" y="1290"/>
                </a:lnTo>
                <a:close/>
                <a:moveTo>
                  <a:pt x="2736" y="745"/>
                </a:moveTo>
                <a:lnTo>
                  <a:pt x="2738" y="743"/>
                </a:lnTo>
                <a:lnTo>
                  <a:pt x="2741" y="745"/>
                </a:lnTo>
                <a:lnTo>
                  <a:pt x="2742" y="743"/>
                </a:lnTo>
                <a:lnTo>
                  <a:pt x="2743" y="739"/>
                </a:lnTo>
                <a:lnTo>
                  <a:pt x="2739" y="742"/>
                </a:lnTo>
                <a:lnTo>
                  <a:pt x="2741" y="739"/>
                </a:lnTo>
                <a:lnTo>
                  <a:pt x="2746" y="736"/>
                </a:lnTo>
                <a:lnTo>
                  <a:pt x="2738" y="736"/>
                </a:lnTo>
                <a:lnTo>
                  <a:pt x="2731" y="743"/>
                </a:lnTo>
                <a:lnTo>
                  <a:pt x="2731" y="745"/>
                </a:lnTo>
                <a:lnTo>
                  <a:pt x="2736" y="746"/>
                </a:lnTo>
                <a:lnTo>
                  <a:pt x="2736" y="745"/>
                </a:lnTo>
                <a:close/>
                <a:moveTo>
                  <a:pt x="4045" y="1529"/>
                </a:moveTo>
                <a:lnTo>
                  <a:pt x="4044" y="1530"/>
                </a:lnTo>
                <a:lnTo>
                  <a:pt x="4044" y="1531"/>
                </a:lnTo>
                <a:lnTo>
                  <a:pt x="4045" y="1530"/>
                </a:lnTo>
                <a:lnTo>
                  <a:pt x="4045" y="1529"/>
                </a:lnTo>
                <a:close/>
                <a:moveTo>
                  <a:pt x="2691" y="832"/>
                </a:moveTo>
                <a:lnTo>
                  <a:pt x="2692" y="831"/>
                </a:lnTo>
                <a:lnTo>
                  <a:pt x="2691" y="830"/>
                </a:lnTo>
                <a:lnTo>
                  <a:pt x="2694" y="830"/>
                </a:lnTo>
                <a:lnTo>
                  <a:pt x="2695" y="828"/>
                </a:lnTo>
                <a:lnTo>
                  <a:pt x="2695" y="828"/>
                </a:lnTo>
                <a:lnTo>
                  <a:pt x="2695" y="828"/>
                </a:lnTo>
                <a:lnTo>
                  <a:pt x="2695" y="828"/>
                </a:lnTo>
                <a:lnTo>
                  <a:pt x="2692" y="825"/>
                </a:lnTo>
                <a:lnTo>
                  <a:pt x="2691" y="824"/>
                </a:lnTo>
                <a:lnTo>
                  <a:pt x="2688" y="820"/>
                </a:lnTo>
                <a:lnTo>
                  <a:pt x="2687" y="821"/>
                </a:lnTo>
                <a:lnTo>
                  <a:pt x="2684" y="820"/>
                </a:lnTo>
                <a:lnTo>
                  <a:pt x="2682" y="828"/>
                </a:lnTo>
                <a:lnTo>
                  <a:pt x="2690" y="832"/>
                </a:lnTo>
                <a:lnTo>
                  <a:pt x="2691" y="832"/>
                </a:lnTo>
                <a:close/>
                <a:moveTo>
                  <a:pt x="2794" y="792"/>
                </a:moveTo>
                <a:lnTo>
                  <a:pt x="2795" y="792"/>
                </a:lnTo>
                <a:lnTo>
                  <a:pt x="2795" y="791"/>
                </a:lnTo>
                <a:lnTo>
                  <a:pt x="2794" y="791"/>
                </a:lnTo>
                <a:lnTo>
                  <a:pt x="2793" y="793"/>
                </a:lnTo>
                <a:lnTo>
                  <a:pt x="2794" y="792"/>
                </a:lnTo>
                <a:lnTo>
                  <a:pt x="2794" y="792"/>
                </a:lnTo>
                <a:close/>
                <a:moveTo>
                  <a:pt x="2720" y="1628"/>
                </a:moveTo>
                <a:lnTo>
                  <a:pt x="2719" y="1630"/>
                </a:lnTo>
                <a:lnTo>
                  <a:pt x="2722" y="1630"/>
                </a:lnTo>
                <a:lnTo>
                  <a:pt x="2721" y="1628"/>
                </a:lnTo>
                <a:lnTo>
                  <a:pt x="2721" y="1628"/>
                </a:lnTo>
                <a:lnTo>
                  <a:pt x="2720" y="1628"/>
                </a:lnTo>
                <a:close/>
                <a:moveTo>
                  <a:pt x="3927" y="1348"/>
                </a:moveTo>
                <a:lnTo>
                  <a:pt x="3928" y="1348"/>
                </a:lnTo>
                <a:lnTo>
                  <a:pt x="3927" y="1348"/>
                </a:lnTo>
                <a:lnTo>
                  <a:pt x="3927" y="1348"/>
                </a:lnTo>
                <a:lnTo>
                  <a:pt x="3927" y="1348"/>
                </a:lnTo>
                <a:close/>
                <a:moveTo>
                  <a:pt x="3927" y="1349"/>
                </a:moveTo>
                <a:lnTo>
                  <a:pt x="3927" y="1352"/>
                </a:lnTo>
                <a:lnTo>
                  <a:pt x="3927" y="1352"/>
                </a:lnTo>
                <a:lnTo>
                  <a:pt x="3928" y="1355"/>
                </a:lnTo>
                <a:lnTo>
                  <a:pt x="3927" y="1356"/>
                </a:lnTo>
                <a:lnTo>
                  <a:pt x="3927" y="1358"/>
                </a:lnTo>
                <a:lnTo>
                  <a:pt x="3927" y="1359"/>
                </a:lnTo>
                <a:lnTo>
                  <a:pt x="3927" y="1359"/>
                </a:lnTo>
                <a:lnTo>
                  <a:pt x="3928" y="1359"/>
                </a:lnTo>
                <a:lnTo>
                  <a:pt x="3928" y="1359"/>
                </a:lnTo>
                <a:lnTo>
                  <a:pt x="3931" y="1358"/>
                </a:lnTo>
                <a:lnTo>
                  <a:pt x="3931" y="1352"/>
                </a:lnTo>
                <a:lnTo>
                  <a:pt x="3928" y="1348"/>
                </a:lnTo>
                <a:lnTo>
                  <a:pt x="3928" y="1348"/>
                </a:lnTo>
                <a:lnTo>
                  <a:pt x="3928" y="1348"/>
                </a:lnTo>
                <a:lnTo>
                  <a:pt x="3927" y="1349"/>
                </a:lnTo>
                <a:close/>
                <a:moveTo>
                  <a:pt x="5326" y="503"/>
                </a:moveTo>
                <a:lnTo>
                  <a:pt x="5325" y="503"/>
                </a:lnTo>
                <a:lnTo>
                  <a:pt x="5326" y="503"/>
                </a:lnTo>
                <a:lnTo>
                  <a:pt x="5326" y="503"/>
                </a:lnTo>
                <a:lnTo>
                  <a:pt x="5326" y="503"/>
                </a:lnTo>
                <a:close/>
                <a:moveTo>
                  <a:pt x="3584" y="443"/>
                </a:moveTo>
                <a:lnTo>
                  <a:pt x="3582" y="442"/>
                </a:lnTo>
                <a:lnTo>
                  <a:pt x="3582" y="443"/>
                </a:lnTo>
                <a:lnTo>
                  <a:pt x="3584" y="443"/>
                </a:lnTo>
                <a:close/>
                <a:moveTo>
                  <a:pt x="3582" y="427"/>
                </a:moveTo>
                <a:lnTo>
                  <a:pt x="3582" y="427"/>
                </a:lnTo>
                <a:lnTo>
                  <a:pt x="3583" y="427"/>
                </a:lnTo>
                <a:lnTo>
                  <a:pt x="3582" y="427"/>
                </a:lnTo>
                <a:close/>
                <a:moveTo>
                  <a:pt x="3585" y="427"/>
                </a:moveTo>
                <a:lnTo>
                  <a:pt x="3584" y="427"/>
                </a:lnTo>
                <a:lnTo>
                  <a:pt x="3583" y="427"/>
                </a:lnTo>
                <a:lnTo>
                  <a:pt x="3584" y="427"/>
                </a:lnTo>
                <a:lnTo>
                  <a:pt x="3585" y="427"/>
                </a:lnTo>
                <a:close/>
                <a:moveTo>
                  <a:pt x="3819" y="409"/>
                </a:moveTo>
                <a:lnTo>
                  <a:pt x="3819" y="409"/>
                </a:lnTo>
                <a:lnTo>
                  <a:pt x="3819" y="409"/>
                </a:lnTo>
                <a:lnTo>
                  <a:pt x="3819" y="409"/>
                </a:lnTo>
                <a:close/>
                <a:moveTo>
                  <a:pt x="3444" y="460"/>
                </a:moveTo>
                <a:lnTo>
                  <a:pt x="3442" y="461"/>
                </a:lnTo>
                <a:lnTo>
                  <a:pt x="3454" y="458"/>
                </a:lnTo>
                <a:lnTo>
                  <a:pt x="3454" y="458"/>
                </a:lnTo>
                <a:lnTo>
                  <a:pt x="3444" y="460"/>
                </a:lnTo>
                <a:close/>
                <a:moveTo>
                  <a:pt x="3819" y="409"/>
                </a:moveTo>
                <a:lnTo>
                  <a:pt x="3819" y="409"/>
                </a:lnTo>
                <a:lnTo>
                  <a:pt x="3819" y="409"/>
                </a:lnTo>
                <a:lnTo>
                  <a:pt x="3819" y="409"/>
                </a:lnTo>
                <a:close/>
                <a:moveTo>
                  <a:pt x="4728" y="375"/>
                </a:moveTo>
                <a:lnTo>
                  <a:pt x="4728" y="375"/>
                </a:lnTo>
                <a:lnTo>
                  <a:pt x="4729" y="374"/>
                </a:lnTo>
                <a:lnTo>
                  <a:pt x="4727" y="375"/>
                </a:lnTo>
                <a:lnTo>
                  <a:pt x="4727" y="375"/>
                </a:lnTo>
                <a:lnTo>
                  <a:pt x="4728" y="375"/>
                </a:lnTo>
                <a:close/>
                <a:moveTo>
                  <a:pt x="3821" y="403"/>
                </a:moveTo>
                <a:lnTo>
                  <a:pt x="3821" y="403"/>
                </a:lnTo>
                <a:lnTo>
                  <a:pt x="3821" y="403"/>
                </a:lnTo>
                <a:lnTo>
                  <a:pt x="3820" y="405"/>
                </a:lnTo>
                <a:lnTo>
                  <a:pt x="3819" y="409"/>
                </a:lnTo>
                <a:lnTo>
                  <a:pt x="3823" y="407"/>
                </a:lnTo>
                <a:lnTo>
                  <a:pt x="3821" y="403"/>
                </a:lnTo>
                <a:close/>
                <a:moveTo>
                  <a:pt x="3470" y="455"/>
                </a:moveTo>
                <a:lnTo>
                  <a:pt x="3467" y="454"/>
                </a:lnTo>
                <a:lnTo>
                  <a:pt x="3467" y="455"/>
                </a:lnTo>
                <a:lnTo>
                  <a:pt x="3473" y="455"/>
                </a:lnTo>
                <a:lnTo>
                  <a:pt x="3470" y="455"/>
                </a:lnTo>
                <a:close/>
                <a:moveTo>
                  <a:pt x="2948" y="423"/>
                </a:moveTo>
                <a:lnTo>
                  <a:pt x="2948" y="423"/>
                </a:lnTo>
                <a:lnTo>
                  <a:pt x="2948" y="423"/>
                </a:lnTo>
                <a:lnTo>
                  <a:pt x="2948" y="423"/>
                </a:lnTo>
                <a:close/>
                <a:moveTo>
                  <a:pt x="2860" y="455"/>
                </a:moveTo>
                <a:lnTo>
                  <a:pt x="2860" y="455"/>
                </a:lnTo>
                <a:lnTo>
                  <a:pt x="2858" y="456"/>
                </a:lnTo>
                <a:lnTo>
                  <a:pt x="2860" y="455"/>
                </a:lnTo>
                <a:close/>
                <a:moveTo>
                  <a:pt x="2883" y="434"/>
                </a:moveTo>
                <a:lnTo>
                  <a:pt x="2875" y="430"/>
                </a:lnTo>
                <a:lnTo>
                  <a:pt x="2875" y="435"/>
                </a:lnTo>
                <a:lnTo>
                  <a:pt x="2875" y="435"/>
                </a:lnTo>
                <a:lnTo>
                  <a:pt x="2877" y="437"/>
                </a:lnTo>
                <a:lnTo>
                  <a:pt x="2873" y="439"/>
                </a:lnTo>
                <a:lnTo>
                  <a:pt x="2882" y="439"/>
                </a:lnTo>
                <a:lnTo>
                  <a:pt x="2883" y="439"/>
                </a:lnTo>
                <a:lnTo>
                  <a:pt x="2883" y="434"/>
                </a:lnTo>
                <a:close/>
                <a:moveTo>
                  <a:pt x="3393" y="471"/>
                </a:moveTo>
                <a:lnTo>
                  <a:pt x="3393" y="471"/>
                </a:lnTo>
                <a:lnTo>
                  <a:pt x="3393" y="471"/>
                </a:lnTo>
                <a:lnTo>
                  <a:pt x="3393" y="471"/>
                </a:lnTo>
                <a:lnTo>
                  <a:pt x="3393" y="471"/>
                </a:lnTo>
                <a:close/>
                <a:moveTo>
                  <a:pt x="2837" y="479"/>
                </a:moveTo>
                <a:lnTo>
                  <a:pt x="2837" y="479"/>
                </a:lnTo>
                <a:lnTo>
                  <a:pt x="2833" y="479"/>
                </a:lnTo>
                <a:lnTo>
                  <a:pt x="2837" y="479"/>
                </a:lnTo>
                <a:close/>
                <a:moveTo>
                  <a:pt x="2992" y="398"/>
                </a:moveTo>
                <a:lnTo>
                  <a:pt x="2989" y="400"/>
                </a:lnTo>
                <a:lnTo>
                  <a:pt x="2989" y="400"/>
                </a:lnTo>
                <a:lnTo>
                  <a:pt x="2992" y="398"/>
                </a:lnTo>
                <a:close/>
                <a:moveTo>
                  <a:pt x="3192" y="561"/>
                </a:moveTo>
                <a:lnTo>
                  <a:pt x="3192" y="561"/>
                </a:lnTo>
                <a:lnTo>
                  <a:pt x="3194" y="562"/>
                </a:lnTo>
                <a:lnTo>
                  <a:pt x="3192" y="561"/>
                </a:lnTo>
                <a:lnTo>
                  <a:pt x="3192" y="561"/>
                </a:lnTo>
                <a:close/>
                <a:moveTo>
                  <a:pt x="3213" y="500"/>
                </a:moveTo>
                <a:lnTo>
                  <a:pt x="3212" y="503"/>
                </a:lnTo>
                <a:lnTo>
                  <a:pt x="3213" y="503"/>
                </a:lnTo>
                <a:lnTo>
                  <a:pt x="3213" y="500"/>
                </a:lnTo>
                <a:close/>
                <a:moveTo>
                  <a:pt x="3662" y="500"/>
                </a:moveTo>
                <a:lnTo>
                  <a:pt x="3662" y="500"/>
                </a:lnTo>
                <a:lnTo>
                  <a:pt x="3662" y="500"/>
                </a:lnTo>
                <a:lnTo>
                  <a:pt x="3662" y="500"/>
                </a:lnTo>
                <a:lnTo>
                  <a:pt x="3662" y="500"/>
                </a:lnTo>
                <a:close/>
                <a:moveTo>
                  <a:pt x="4232" y="313"/>
                </a:moveTo>
                <a:lnTo>
                  <a:pt x="4232" y="313"/>
                </a:lnTo>
                <a:lnTo>
                  <a:pt x="4232" y="313"/>
                </a:lnTo>
                <a:lnTo>
                  <a:pt x="4232" y="313"/>
                </a:lnTo>
                <a:lnTo>
                  <a:pt x="4232" y="313"/>
                </a:lnTo>
                <a:close/>
                <a:moveTo>
                  <a:pt x="4251" y="314"/>
                </a:moveTo>
                <a:lnTo>
                  <a:pt x="4251" y="314"/>
                </a:lnTo>
                <a:lnTo>
                  <a:pt x="4251" y="314"/>
                </a:lnTo>
                <a:lnTo>
                  <a:pt x="4251" y="314"/>
                </a:lnTo>
                <a:lnTo>
                  <a:pt x="4251" y="314"/>
                </a:lnTo>
                <a:close/>
                <a:moveTo>
                  <a:pt x="4409" y="350"/>
                </a:moveTo>
                <a:lnTo>
                  <a:pt x="4406" y="350"/>
                </a:lnTo>
                <a:lnTo>
                  <a:pt x="4409" y="351"/>
                </a:lnTo>
                <a:lnTo>
                  <a:pt x="4409" y="350"/>
                </a:lnTo>
                <a:close/>
                <a:moveTo>
                  <a:pt x="4257" y="252"/>
                </a:moveTo>
                <a:lnTo>
                  <a:pt x="4257" y="252"/>
                </a:lnTo>
                <a:lnTo>
                  <a:pt x="4258" y="252"/>
                </a:lnTo>
                <a:lnTo>
                  <a:pt x="4257" y="252"/>
                </a:lnTo>
                <a:close/>
                <a:moveTo>
                  <a:pt x="4409" y="321"/>
                </a:moveTo>
                <a:lnTo>
                  <a:pt x="4409" y="321"/>
                </a:lnTo>
                <a:lnTo>
                  <a:pt x="4409" y="321"/>
                </a:lnTo>
                <a:lnTo>
                  <a:pt x="4409" y="321"/>
                </a:lnTo>
                <a:lnTo>
                  <a:pt x="4409" y="321"/>
                </a:lnTo>
                <a:close/>
                <a:moveTo>
                  <a:pt x="4257" y="250"/>
                </a:moveTo>
                <a:lnTo>
                  <a:pt x="4258" y="250"/>
                </a:lnTo>
                <a:lnTo>
                  <a:pt x="4252" y="250"/>
                </a:lnTo>
                <a:lnTo>
                  <a:pt x="4257" y="252"/>
                </a:lnTo>
                <a:lnTo>
                  <a:pt x="4257" y="251"/>
                </a:lnTo>
                <a:lnTo>
                  <a:pt x="4257" y="250"/>
                </a:lnTo>
                <a:close/>
                <a:moveTo>
                  <a:pt x="4538" y="375"/>
                </a:moveTo>
                <a:lnTo>
                  <a:pt x="4538" y="376"/>
                </a:lnTo>
                <a:lnTo>
                  <a:pt x="4540" y="375"/>
                </a:lnTo>
                <a:lnTo>
                  <a:pt x="4538" y="375"/>
                </a:lnTo>
                <a:close/>
                <a:moveTo>
                  <a:pt x="4453" y="330"/>
                </a:moveTo>
                <a:lnTo>
                  <a:pt x="4453" y="330"/>
                </a:lnTo>
                <a:lnTo>
                  <a:pt x="4453" y="330"/>
                </a:lnTo>
                <a:lnTo>
                  <a:pt x="4453" y="330"/>
                </a:lnTo>
                <a:lnTo>
                  <a:pt x="4453" y="330"/>
                </a:lnTo>
                <a:close/>
                <a:moveTo>
                  <a:pt x="3823" y="414"/>
                </a:moveTo>
                <a:lnTo>
                  <a:pt x="3823" y="415"/>
                </a:lnTo>
                <a:lnTo>
                  <a:pt x="3821" y="418"/>
                </a:lnTo>
                <a:lnTo>
                  <a:pt x="3824" y="414"/>
                </a:lnTo>
                <a:lnTo>
                  <a:pt x="3823" y="412"/>
                </a:lnTo>
                <a:lnTo>
                  <a:pt x="3823" y="414"/>
                </a:lnTo>
                <a:close/>
                <a:moveTo>
                  <a:pt x="3987" y="253"/>
                </a:moveTo>
                <a:lnTo>
                  <a:pt x="3986" y="253"/>
                </a:lnTo>
                <a:lnTo>
                  <a:pt x="3985" y="254"/>
                </a:lnTo>
                <a:lnTo>
                  <a:pt x="3986" y="254"/>
                </a:lnTo>
                <a:lnTo>
                  <a:pt x="3987" y="253"/>
                </a:lnTo>
                <a:close/>
                <a:moveTo>
                  <a:pt x="3815" y="420"/>
                </a:moveTo>
                <a:lnTo>
                  <a:pt x="3815" y="420"/>
                </a:lnTo>
                <a:lnTo>
                  <a:pt x="3815" y="422"/>
                </a:lnTo>
                <a:lnTo>
                  <a:pt x="3817" y="423"/>
                </a:lnTo>
                <a:lnTo>
                  <a:pt x="3815" y="421"/>
                </a:lnTo>
                <a:lnTo>
                  <a:pt x="3815" y="420"/>
                </a:lnTo>
                <a:close/>
                <a:moveTo>
                  <a:pt x="3817" y="423"/>
                </a:moveTo>
                <a:lnTo>
                  <a:pt x="3817" y="423"/>
                </a:lnTo>
                <a:lnTo>
                  <a:pt x="3817" y="423"/>
                </a:lnTo>
                <a:lnTo>
                  <a:pt x="3817" y="423"/>
                </a:lnTo>
                <a:close/>
                <a:moveTo>
                  <a:pt x="3818" y="425"/>
                </a:moveTo>
                <a:lnTo>
                  <a:pt x="3817" y="423"/>
                </a:lnTo>
                <a:lnTo>
                  <a:pt x="3816" y="423"/>
                </a:lnTo>
                <a:lnTo>
                  <a:pt x="3818" y="425"/>
                </a:lnTo>
                <a:close/>
                <a:moveTo>
                  <a:pt x="3859" y="292"/>
                </a:moveTo>
                <a:lnTo>
                  <a:pt x="3862" y="293"/>
                </a:lnTo>
                <a:lnTo>
                  <a:pt x="3862" y="293"/>
                </a:lnTo>
                <a:lnTo>
                  <a:pt x="3859" y="292"/>
                </a:lnTo>
                <a:close/>
                <a:moveTo>
                  <a:pt x="3858" y="299"/>
                </a:moveTo>
                <a:lnTo>
                  <a:pt x="3856" y="302"/>
                </a:lnTo>
                <a:lnTo>
                  <a:pt x="3860" y="302"/>
                </a:lnTo>
                <a:lnTo>
                  <a:pt x="3865" y="301"/>
                </a:lnTo>
                <a:lnTo>
                  <a:pt x="3863" y="300"/>
                </a:lnTo>
                <a:lnTo>
                  <a:pt x="3858" y="299"/>
                </a:lnTo>
                <a:close/>
                <a:moveTo>
                  <a:pt x="3780" y="327"/>
                </a:moveTo>
                <a:lnTo>
                  <a:pt x="3780" y="327"/>
                </a:lnTo>
                <a:lnTo>
                  <a:pt x="3775" y="327"/>
                </a:lnTo>
                <a:lnTo>
                  <a:pt x="3778" y="329"/>
                </a:lnTo>
                <a:lnTo>
                  <a:pt x="3779" y="328"/>
                </a:lnTo>
                <a:lnTo>
                  <a:pt x="3779" y="327"/>
                </a:lnTo>
                <a:lnTo>
                  <a:pt x="3780" y="327"/>
                </a:lnTo>
                <a:close/>
                <a:moveTo>
                  <a:pt x="2910" y="1091"/>
                </a:moveTo>
                <a:lnTo>
                  <a:pt x="2906" y="1095"/>
                </a:lnTo>
                <a:lnTo>
                  <a:pt x="2913" y="1097"/>
                </a:lnTo>
                <a:lnTo>
                  <a:pt x="2910" y="1091"/>
                </a:lnTo>
                <a:close/>
                <a:moveTo>
                  <a:pt x="2765" y="1014"/>
                </a:moveTo>
                <a:lnTo>
                  <a:pt x="2765" y="1010"/>
                </a:lnTo>
                <a:lnTo>
                  <a:pt x="2761" y="1012"/>
                </a:lnTo>
                <a:lnTo>
                  <a:pt x="2765" y="1014"/>
                </a:lnTo>
                <a:close/>
                <a:moveTo>
                  <a:pt x="2752" y="1049"/>
                </a:moveTo>
                <a:lnTo>
                  <a:pt x="2754" y="1047"/>
                </a:lnTo>
                <a:lnTo>
                  <a:pt x="2753" y="1042"/>
                </a:lnTo>
                <a:lnTo>
                  <a:pt x="2748" y="1042"/>
                </a:lnTo>
                <a:lnTo>
                  <a:pt x="2739" y="1049"/>
                </a:lnTo>
                <a:lnTo>
                  <a:pt x="2735" y="1049"/>
                </a:lnTo>
                <a:lnTo>
                  <a:pt x="2734" y="1047"/>
                </a:lnTo>
                <a:lnTo>
                  <a:pt x="2732" y="1053"/>
                </a:lnTo>
                <a:lnTo>
                  <a:pt x="2734" y="1053"/>
                </a:lnTo>
                <a:lnTo>
                  <a:pt x="2737" y="1058"/>
                </a:lnTo>
                <a:lnTo>
                  <a:pt x="2735" y="1065"/>
                </a:lnTo>
                <a:lnTo>
                  <a:pt x="2739" y="1065"/>
                </a:lnTo>
                <a:lnTo>
                  <a:pt x="2737" y="1068"/>
                </a:lnTo>
                <a:lnTo>
                  <a:pt x="2735" y="1072"/>
                </a:lnTo>
                <a:lnTo>
                  <a:pt x="2737" y="1077"/>
                </a:lnTo>
                <a:lnTo>
                  <a:pt x="2735" y="1077"/>
                </a:lnTo>
                <a:lnTo>
                  <a:pt x="2735" y="1081"/>
                </a:lnTo>
                <a:lnTo>
                  <a:pt x="2737" y="1079"/>
                </a:lnTo>
                <a:lnTo>
                  <a:pt x="2737" y="1079"/>
                </a:lnTo>
                <a:lnTo>
                  <a:pt x="2741" y="1081"/>
                </a:lnTo>
                <a:lnTo>
                  <a:pt x="2743" y="1081"/>
                </a:lnTo>
                <a:lnTo>
                  <a:pt x="2743" y="1080"/>
                </a:lnTo>
                <a:lnTo>
                  <a:pt x="2743" y="1075"/>
                </a:lnTo>
                <a:lnTo>
                  <a:pt x="2752" y="1079"/>
                </a:lnTo>
                <a:lnTo>
                  <a:pt x="2753" y="1062"/>
                </a:lnTo>
                <a:lnTo>
                  <a:pt x="2753" y="1058"/>
                </a:lnTo>
                <a:lnTo>
                  <a:pt x="2756" y="1054"/>
                </a:lnTo>
                <a:lnTo>
                  <a:pt x="2753" y="1049"/>
                </a:lnTo>
                <a:lnTo>
                  <a:pt x="2752" y="1049"/>
                </a:lnTo>
                <a:close/>
                <a:moveTo>
                  <a:pt x="3002" y="1116"/>
                </a:moveTo>
                <a:lnTo>
                  <a:pt x="3003" y="1115"/>
                </a:lnTo>
                <a:lnTo>
                  <a:pt x="3000" y="1114"/>
                </a:lnTo>
                <a:lnTo>
                  <a:pt x="3002" y="1116"/>
                </a:lnTo>
                <a:close/>
                <a:moveTo>
                  <a:pt x="2670" y="1061"/>
                </a:moveTo>
                <a:lnTo>
                  <a:pt x="2670" y="1063"/>
                </a:lnTo>
                <a:lnTo>
                  <a:pt x="2675" y="1066"/>
                </a:lnTo>
                <a:lnTo>
                  <a:pt x="2675" y="1064"/>
                </a:lnTo>
                <a:lnTo>
                  <a:pt x="2674" y="1061"/>
                </a:lnTo>
                <a:lnTo>
                  <a:pt x="2670" y="1061"/>
                </a:lnTo>
                <a:close/>
                <a:moveTo>
                  <a:pt x="2911" y="1083"/>
                </a:moveTo>
                <a:lnTo>
                  <a:pt x="2910" y="1082"/>
                </a:lnTo>
                <a:lnTo>
                  <a:pt x="2910" y="1082"/>
                </a:lnTo>
                <a:lnTo>
                  <a:pt x="2910" y="1087"/>
                </a:lnTo>
                <a:lnTo>
                  <a:pt x="2911" y="1086"/>
                </a:lnTo>
                <a:lnTo>
                  <a:pt x="2911" y="1083"/>
                </a:lnTo>
                <a:close/>
                <a:moveTo>
                  <a:pt x="2945" y="1126"/>
                </a:moveTo>
                <a:lnTo>
                  <a:pt x="2945" y="1128"/>
                </a:lnTo>
                <a:lnTo>
                  <a:pt x="2944" y="1129"/>
                </a:lnTo>
                <a:lnTo>
                  <a:pt x="2947" y="1129"/>
                </a:lnTo>
                <a:lnTo>
                  <a:pt x="2947" y="1127"/>
                </a:lnTo>
                <a:lnTo>
                  <a:pt x="2946" y="1127"/>
                </a:lnTo>
                <a:lnTo>
                  <a:pt x="2945" y="1126"/>
                </a:lnTo>
                <a:close/>
                <a:moveTo>
                  <a:pt x="2911" y="1102"/>
                </a:moveTo>
                <a:lnTo>
                  <a:pt x="2913" y="1103"/>
                </a:lnTo>
                <a:lnTo>
                  <a:pt x="2914" y="1103"/>
                </a:lnTo>
                <a:lnTo>
                  <a:pt x="2917" y="1103"/>
                </a:lnTo>
                <a:lnTo>
                  <a:pt x="2911" y="1099"/>
                </a:lnTo>
                <a:lnTo>
                  <a:pt x="2911" y="1102"/>
                </a:lnTo>
                <a:close/>
                <a:moveTo>
                  <a:pt x="2978" y="1104"/>
                </a:moveTo>
                <a:lnTo>
                  <a:pt x="2976" y="1103"/>
                </a:lnTo>
                <a:lnTo>
                  <a:pt x="2974" y="1103"/>
                </a:lnTo>
                <a:lnTo>
                  <a:pt x="2978" y="1106"/>
                </a:lnTo>
                <a:lnTo>
                  <a:pt x="2978" y="1104"/>
                </a:lnTo>
                <a:close/>
                <a:moveTo>
                  <a:pt x="2739" y="1033"/>
                </a:moveTo>
                <a:lnTo>
                  <a:pt x="2742" y="1033"/>
                </a:lnTo>
                <a:lnTo>
                  <a:pt x="2743" y="1033"/>
                </a:lnTo>
                <a:lnTo>
                  <a:pt x="2743" y="1033"/>
                </a:lnTo>
                <a:lnTo>
                  <a:pt x="2743" y="1035"/>
                </a:lnTo>
                <a:lnTo>
                  <a:pt x="2749" y="1039"/>
                </a:lnTo>
                <a:lnTo>
                  <a:pt x="2750" y="1033"/>
                </a:lnTo>
                <a:lnTo>
                  <a:pt x="2753" y="1027"/>
                </a:lnTo>
                <a:lnTo>
                  <a:pt x="2754" y="1024"/>
                </a:lnTo>
                <a:lnTo>
                  <a:pt x="2753" y="1009"/>
                </a:lnTo>
                <a:lnTo>
                  <a:pt x="2750" y="1009"/>
                </a:lnTo>
                <a:lnTo>
                  <a:pt x="2749" y="1017"/>
                </a:lnTo>
                <a:lnTo>
                  <a:pt x="2747" y="1017"/>
                </a:lnTo>
                <a:lnTo>
                  <a:pt x="2742" y="1019"/>
                </a:lnTo>
                <a:lnTo>
                  <a:pt x="2739" y="1022"/>
                </a:lnTo>
                <a:lnTo>
                  <a:pt x="2742" y="1025"/>
                </a:lnTo>
                <a:lnTo>
                  <a:pt x="2739" y="1025"/>
                </a:lnTo>
                <a:lnTo>
                  <a:pt x="2739" y="1025"/>
                </a:lnTo>
                <a:lnTo>
                  <a:pt x="2739" y="1027"/>
                </a:lnTo>
                <a:lnTo>
                  <a:pt x="2739" y="1033"/>
                </a:lnTo>
                <a:close/>
                <a:moveTo>
                  <a:pt x="2858" y="1013"/>
                </a:moveTo>
                <a:lnTo>
                  <a:pt x="2859" y="1015"/>
                </a:lnTo>
                <a:lnTo>
                  <a:pt x="2859" y="1013"/>
                </a:lnTo>
                <a:lnTo>
                  <a:pt x="2858" y="1013"/>
                </a:lnTo>
                <a:close/>
                <a:moveTo>
                  <a:pt x="2846" y="1011"/>
                </a:moveTo>
                <a:lnTo>
                  <a:pt x="2850" y="1010"/>
                </a:lnTo>
                <a:lnTo>
                  <a:pt x="2846" y="1010"/>
                </a:lnTo>
                <a:lnTo>
                  <a:pt x="2846" y="1011"/>
                </a:lnTo>
                <a:close/>
                <a:moveTo>
                  <a:pt x="2859" y="1015"/>
                </a:moveTo>
                <a:lnTo>
                  <a:pt x="2855" y="1014"/>
                </a:lnTo>
                <a:lnTo>
                  <a:pt x="2858" y="1017"/>
                </a:lnTo>
                <a:lnTo>
                  <a:pt x="2863" y="1017"/>
                </a:lnTo>
                <a:lnTo>
                  <a:pt x="2859" y="1016"/>
                </a:lnTo>
                <a:lnTo>
                  <a:pt x="2859" y="1015"/>
                </a:lnTo>
                <a:close/>
                <a:moveTo>
                  <a:pt x="2858" y="1010"/>
                </a:moveTo>
                <a:lnTo>
                  <a:pt x="2861" y="1010"/>
                </a:lnTo>
                <a:lnTo>
                  <a:pt x="2863" y="1009"/>
                </a:lnTo>
                <a:lnTo>
                  <a:pt x="2860" y="1009"/>
                </a:lnTo>
                <a:lnTo>
                  <a:pt x="2852" y="1009"/>
                </a:lnTo>
                <a:lnTo>
                  <a:pt x="2857" y="1010"/>
                </a:lnTo>
                <a:lnTo>
                  <a:pt x="2858" y="1010"/>
                </a:lnTo>
                <a:close/>
                <a:moveTo>
                  <a:pt x="2634" y="1086"/>
                </a:moveTo>
                <a:lnTo>
                  <a:pt x="2636" y="1086"/>
                </a:lnTo>
                <a:lnTo>
                  <a:pt x="2634" y="1084"/>
                </a:lnTo>
                <a:lnTo>
                  <a:pt x="2634" y="1086"/>
                </a:lnTo>
                <a:close/>
                <a:moveTo>
                  <a:pt x="2815" y="1048"/>
                </a:moveTo>
                <a:lnTo>
                  <a:pt x="2815" y="1050"/>
                </a:lnTo>
                <a:lnTo>
                  <a:pt x="2816" y="1050"/>
                </a:lnTo>
                <a:lnTo>
                  <a:pt x="2815" y="1048"/>
                </a:lnTo>
                <a:close/>
                <a:moveTo>
                  <a:pt x="2630" y="1080"/>
                </a:moveTo>
                <a:lnTo>
                  <a:pt x="2633" y="1082"/>
                </a:lnTo>
                <a:lnTo>
                  <a:pt x="2637" y="1080"/>
                </a:lnTo>
                <a:lnTo>
                  <a:pt x="2637" y="1079"/>
                </a:lnTo>
                <a:lnTo>
                  <a:pt x="2633" y="1080"/>
                </a:lnTo>
                <a:lnTo>
                  <a:pt x="2630" y="1080"/>
                </a:lnTo>
                <a:close/>
                <a:moveTo>
                  <a:pt x="2659" y="1065"/>
                </a:moveTo>
                <a:lnTo>
                  <a:pt x="2656" y="1065"/>
                </a:lnTo>
                <a:lnTo>
                  <a:pt x="2646" y="1069"/>
                </a:lnTo>
                <a:lnTo>
                  <a:pt x="2646" y="1071"/>
                </a:lnTo>
                <a:lnTo>
                  <a:pt x="2651" y="1069"/>
                </a:lnTo>
                <a:lnTo>
                  <a:pt x="2653" y="1072"/>
                </a:lnTo>
                <a:lnTo>
                  <a:pt x="2659" y="1075"/>
                </a:lnTo>
                <a:lnTo>
                  <a:pt x="2660" y="1073"/>
                </a:lnTo>
                <a:lnTo>
                  <a:pt x="2665" y="1069"/>
                </a:lnTo>
                <a:lnTo>
                  <a:pt x="2660" y="1069"/>
                </a:lnTo>
                <a:lnTo>
                  <a:pt x="2659" y="1065"/>
                </a:lnTo>
                <a:close/>
                <a:moveTo>
                  <a:pt x="2859" y="1015"/>
                </a:moveTo>
                <a:lnTo>
                  <a:pt x="2859" y="1015"/>
                </a:lnTo>
                <a:lnTo>
                  <a:pt x="2859" y="1015"/>
                </a:lnTo>
                <a:lnTo>
                  <a:pt x="2859" y="1015"/>
                </a:lnTo>
                <a:close/>
                <a:moveTo>
                  <a:pt x="2978" y="1116"/>
                </a:moveTo>
                <a:lnTo>
                  <a:pt x="2979" y="1115"/>
                </a:lnTo>
                <a:lnTo>
                  <a:pt x="2978" y="1115"/>
                </a:lnTo>
                <a:lnTo>
                  <a:pt x="2978" y="1116"/>
                </a:lnTo>
                <a:close/>
                <a:moveTo>
                  <a:pt x="2988" y="1105"/>
                </a:moveTo>
                <a:lnTo>
                  <a:pt x="2988" y="1106"/>
                </a:lnTo>
                <a:lnTo>
                  <a:pt x="2991" y="1105"/>
                </a:lnTo>
                <a:lnTo>
                  <a:pt x="2995" y="1103"/>
                </a:lnTo>
                <a:lnTo>
                  <a:pt x="2989" y="1104"/>
                </a:lnTo>
                <a:lnTo>
                  <a:pt x="2988" y="1105"/>
                </a:lnTo>
                <a:close/>
                <a:moveTo>
                  <a:pt x="2980" y="1119"/>
                </a:moveTo>
                <a:lnTo>
                  <a:pt x="2978" y="1118"/>
                </a:lnTo>
                <a:lnTo>
                  <a:pt x="2980" y="1121"/>
                </a:lnTo>
                <a:lnTo>
                  <a:pt x="2980" y="1119"/>
                </a:lnTo>
                <a:close/>
                <a:moveTo>
                  <a:pt x="2980" y="1111"/>
                </a:moveTo>
                <a:lnTo>
                  <a:pt x="2980" y="1111"/>
                </a:lnTo>
                <a:lnTo>
                  <a:pt x="2980" y="1111"/>
                </a:lnTo>
                <a:lnTo>
                  <a:pt x="2979" y="1114"/>
                </a:lnTo>
                <a:lnTo>
                  <a:pt x="2980" y="1114"/>
                </a:lnTo>
                <a:lnTo>
                  <a:pt x="2980" y="1114"/>
                </a:lnTo>
                <a:lnTo>
                  <a:pt x="2979" y="1115"/>
                </a:lnTo>
                <a:lnTo>
                  <a:pt x="2980" y="1116"/>
                </a:lnTo>
                <a:lnTo>
                  <a:pt x="2984" y="1115"/>
                </a:lnTo>
                <a:lnTo>
                  <a:pt x="2980" y="1111"/>
                </a:lnTo>
                <a:close/>
                <a:moveTo>
                  <a:pt x="2980" y="1106"/>
                </a:moveTo>
                <a:lnTo>
                  <a:pt x="2978" y="1106"/>
                </a:lnTo>
                <a:lnTo>
                  <a:pt x="2980" y="1108"/>
                </a:lnTo>
                <a:lnTo>
                  <a:pt x="2980" y="1106"/>
                </a:lnTo>
                <a:close/>
                <a:moveTo>
                  <a:pt x="2978" y="1064"/>
                </a:moveTo>
                <a:lnTo>
                  <a:pt x="2978" y="1063"/>
                </a:lnTo>
                <a:lnTo>
                  <a:pt x="2980" y="1067"/>
                </a:lnTo>
                <a:lnTo>
                  <a:pt x="2980" y="1061"/>
                </a:lnTo>
                <a:lnTo>
                  <a:pt x="2976" y="1063"/>
                </a:lnTo>
                <a:lnTo>
                  <a:pt x="2976" y="1064"/>
                </a:lnTo>
                <a:lnTo>
                  <a:pt x="2978" y="1067"/>
                </a:lnTo>
                <a:lnTo>
                  <a:pt x="2978" y="1064"/>
                </a:lnTo>
                <a:close/>
                <a:moveTo>
                  <a:pt x="2980" y="1125"/>
                </a:moveTo>
                <a:lnTo>
                  <a:pt x="2980" y="1126"/>
                </a:lnTo>
                <a:lnTo>
                  <a:pt x="2981" y="1125"/>
                </a:lnTo>
                <a:lnTo>
                  <a:pt x="2980" y="1125"/>
                </a:lnTo>
                <a:close/>
                <a:moveTo>
                  <a:pt x="2981" y="1086"/>
                </a:moveTo>
                <a:lnTo>
                  <a:pt x="2981" y="1087"/>
                </a:lnTo>
                <a:lnTo>
                  <a:pt x="2984" y="1086"/>
                </a:lnTo>
                <a:lnTo>
                  <a:pt x="2981" y="1086"/>
                </a:lnTo>
                <a:close/>
                <a:moveTo>
                  <a:pt x="2978" y="1118"/>
                </a:moveTo>
                <a:lnTo>
                  <a:pt x="2978" y="1116"/>
                </a:lnTo>
                <a:lnTo>
                  <a:pt x="2976" y="1118"/>
                </a:lnTo>
                <a:lnTo>
                  <a:pt x="2978" y="1118"/>
                </a:lnTo>
                <a:close/>
                <a:moveTo>
                  <a:pt x="2991" y="1080"/>
                </a:moveTo>
                <a:lnTo>
                  <a:pt x="2993" y="1081"/>
                </a:lnTo>
                <a:lnTo>
                  <a:pt x="2998" y="1081"/>
                </a:lnTo>
                <a:lnTo>
                  <a:pt x="2997" y="1078"/>
                </a:lnTo>
                <a:lnTo>
                  <a:pt x="2995" y="1075"/>
                </a:lnTo>
                <a:lnTo>
                  <a:pt x="2992" y="1073"/>
                </a:lnTo>
                <a:lnTo>
                  <a:pt x="2987" y="1076"/>
                </a:lnTo>
                <a:lnTo>
                  <a:pt x="2989" y="1078"/>
                </a:lnTo>
                <a:lnTo>
                  <a:pt x="2991" y="1080"/>
                </a:lnTo>
                <a:close/>
                <a:moveTo>
                  <a:pt x="2992" y="1061"/>
                </a:moveTo>
                <a:lnTo>
                  <a:pt x="2992" y="1059"/>
                </a:lnTo>
                <a:lnTo>
                  <a:pt x="2988" y="1059"/>
                </a:lnTo>
                <a:lnTo>
                  <a:pt x="2988" y="1060"/>
                </a:lnTo>
                <a:lnTo>
                  <a:pt x="2987" y="1061"/>
                </a:lnTo>
                <a:lnTo>
                  <a:pt x="2988" y="1061"/>
                </a:lnTo>
                <a:lnTo>
                  <a:pt x="2992" y="1061"/>
                </a:lnTo>
                <a:close/>
                <a:moveTo>
                  <a:pt x="2993" y="1067"/>
                </a:moveTo>
                <a:lnTo>
                  <a:pt x="2993" y="1069"/>
                </a:lnTo>
                <a:lnTo>
                  <a:pt x="2993" y="1069"/>
                </a:lnTo>
                <a:lnTo>
                  <a:pt x="2993" y="1066"/>
                </a:lnTo>
                <a:lnTo>
                  <a:pt x="2992" y="1066"/>
                </a:lnTo>
                <a:lnTo>
                  <a:pt x="2993" y="1067"/>
                </a:lnTo>
                <a:close/>
                <a:moveTo>
                  <a:pt x="2989" y="1095"/>
                </a:moveTo>
                <a:lnTo>
                  <a:pt x="2992" y="1093"/>
                </a:lnTo>
                <a:lnTo>
                  <a:pt x="2992" y="1087"/>
                </a:lnTo>
                <a:lnTo>
                  <a:pt x="2987" y="1087"/>
                </a:lnTo>
                <a:lnTo>
                  <a:pt x="2988" y="1092"/>
                </a:lnTo>
                <a:lnTo>
                  <a:pt x="2987" y="1093"/>
                </a:lnTo>
                <a:lnTo>
                  <a:pt x="2989" y="1095"/>
                </a:lnTo>
                <a:close/>
                <a:moveTo>
                  <a:pt x="2985" y="1125"/>
                </a:moveTo>
                <a:lnTo>
                  <a:pt x="2985" y="1126"/>
                </a:lnTo>
                <a:lnTo>
                  <a:pt x="2987" y="1126"/>
                </a:lnTo>
                <a:lnTo>
                  <a:pt x="2985" y="1125"/>
                </a:lnTo>
                <a:lnTo>
                  <a:pt x="2985" y="1125"/>
                </a:lnTo>
                <a:close/>
                <a:moveTo>
                  <a:pt x="2985" y="1056"/>
                </a:moveTo>
                <a:lnTo>
                  <a:pt x="2984" y="1053"/>
                </a:lnTo>
                <a:lnTo>
                  <a:pt x="2980" y="1053"/>
                </a:lnTo>
                <a:lnTo>
                  <a:pt x="2984" y="1056"/>
                </a:lnTo>
                <a:lnTo>
                  <a:pt x="2985" y="1056"/>
                </a:lnTo>
                <a:close/>
                <a:moveTo>
                  <a:pt x="2988" y="1118"/>
                </a:moveTo>
                <a:lnTo>
                  <a:pt x="2985" y="1118"/>
                </a:lnTo>
                <a:lnTo>
                  <a:pt x="2987" y="1119"/>
                </a:lnTo>
                <a:lnTo>
                  <a:pt x="2988" y="1118"/>
                </a:lnTo>
                <a:close/>
                <a:moveTo>
                  <a:pt x="2874" y="1014"/>
                </a:moveTo>
                <a:lnTo>
                  <a:pt x="2874" y="1015"/>
                </a:lnTo>
                <a:lnTo>
                  <a:pt x="2875" y="1015"/>
                </a:lnTo>
                <a:lnTo>
                  <a:pt x="2875" y="1015"/>
                </a:lnTo>
                <a:lnTo>
                  <a:pt x="2874" y="1014"/>
                </a:lnTo>
                <a:close/>
                <a:moveTo>
                  <a:pt x="2966" y="1102"/>
                </a:moveTo>
                <a:lnTo>
                  <a:pt x="2964" y="1098"/>
                </a:lnTo>
                <a:lnTo>
                  <a:pt x="2964" y="1102"/>
                </a:lnTo>
                <a:lnTo>
                  <a:pt x="2966" y="1102"/>
                </a:lnTo>
                <a:close/>
                <a:moveTo>
                  <a:pt x="2948" y="1125"/>
                </a:moveTo>
                <a:lnTo>
                  <a:pt x="2948" y="1125"/>
                </a:lnTo>
                <a:lnTo>
                  <a:pt x="2947" y="1124"/>
                </a:lnTo>
                <a:lnTo>
                  <a:pt x="2948" y="1125"/>
                </a:lnTo>
                <a:lnTo>
                  <a:pt x="2948" y="1125"/>
                </a:lnTo>
                <a:close/>
                <a:moveTo>
                  <a:pt x="2947" y="1078"/>
                </a:moveTo>
                <a:lnTo>
                  <a:pt x="2947" y="1078"/>
                </a:lnTo>
                <a:lnTo>
                  <a:pt x="2947" y="1078"/>
                </a:lnTo>
                <a:lnTo>
                  <a:pt x="2947" y="1078"/>
                </a:lnTo>
                <a:lnTo>
                  <a:pt x="2947" y="1078"/>
                </a:lnTo>
                <a:close/>
                <a:moveTo>
                  <a:pt x="2929" y="1094"/>
                </a:moveTo>
                <a:lnTo>
                  <a:pt x="2924" y="1096"/>
                </a:lnTo>
                <a:lnTo>
                  <a:pt x="2919" y="1093"/>
                </a:lnTo>
                <a:lnTo>
                  <a:pt x="2919" y="1097"/>
                </a:lnTo>
                <a:lnTo>
                  <a:pt x="2916" y="1099"/>
                </a:lnTo>
                <a:lnTo>
                  <a:pt x="2923" y="1108"/>
                </a:lnTo>
                <a:lnTo>
                  <a:pt x="2923" y="1110"/>
                </a:lnTo>
                <a:lnTo>
                  <a:pt x="2922" y="1114"/>
                </a:lnTo>
                <a:lnTo>
                  <a:pt x="2923" y="1116"/>
                </a:lnTo>
                <a:lnTo>
                  <a:pt x="2923" y="1118"/>
                </a:lnTo>
                <a:lnTo>
                  <a:pt x="2928" y="1119"/>
                </a:lnTo>
                <a:lnTo>
                  <a:pt x="2930" y="1119"/>
                </a:lnTo>
                <a:lnTo>
                  <a:pt x="2929" y="1118"/>
                </a:lnTo>
                <a:lnTo>
                  <a:pt x="2932" y="1118"/>
                </a:lnTo>
                <a:lnTo>
                  <a:pt x="2935" y="1126"/>
                </a:lnTo>
                <a:lnTo>
                  <a:pt x="2935" y="1121"/>
                </a:lnTo>
                <a:lnTo>
                  <a:pt x="2939" y="1118"/>
                </a:lnTo>
                <a:lnTo>
                  <a:pt x="2943" y="1118"/>
                </a:lnTo>
                <a:lnTo>
                  <a:pt x="2945" y="1123"/>
                </a:lnTo>
                <a:lnTo>
                  <a:pt x="2947" y="1124"/>
                </a:lnTo>
                <a:lnTo>
                  <a:pt x="2945" y="1121"/>
                </a:lnTo>
                <a:lnTo>
                  <a:pt x="2946" y="1120"/>
                </a:lnTo>
                <a:lnTo>
                  <a:pt x="2947" y="1119"/>
                </a:lnTo>
                <a:lnTo>
                  <a:pt x="2943" y="1104"/>
                </a:lnTo>
                <a:lnTo>
                  <a:pt x="2947" y="1108"/>
                </a:lnTo>
                <a:lnTo>
                  <a:pt x="2948" y="1109"/>
                </a:lnTo>
                <a:lnTo>
                  <a:pt x="2948" y="1111"/>
                </a:lnTo>
                <a:lnTo>
                  <a:pt x="2951" y="1110"/>
                </a:lnTo>
                <a:lnTo>
                  <a:pt x="2954" y="1110"/>
                </a:lnTo>
                <a:lnTo>
                  <a:pt x="2952" y="1106"/>
                </a:lnTo>
                <a:lnTo>
                  <a:pt x="2948" y="1106"/>
                </a:lnTo>
                <a:lnTo>
                  <a:pt x="2948" y="1106"/>
                </a:lnTo>
                <a:lnTo>
                  <a:pt x="2947" y="1104"/>
                </a:lnTo>
                <a:lnTo>
                  <a:pt x="2947" y="1103"/>
                </a:lnTo>
                <a:lnTo>
                  <a:pt x="2947" y="1102"/>
                </a:lnTo>
                <a:lnTo>
                  <a:pt x="2945" y="1102"/>
                </a:lnTo>
                <a:lnTo>
                  <a:pt x="2944" y="1102"/>
                </a:lnTo>
                <a:lnTo>
                  <a:pt x="2929" y="1094"/>
                </a:lnTo>
                <a:close/>
                <a:moveTo>
                  <a:pt x="2956" y="1063"/>
                </a:moveTo>
                <a:lnTo>
                  <a:pt x="2953" y="1061"/>
                </a:lnTo>
                <a:lnTo>
                  <a:pt x="2951" y="1061"/>
                </a:lnTo>
                <a:lnTo>
                  <a:pt x="2952" y="1063"/>
                </a:lnTo>
                <a:lnTo>
                  <a:pt x="2956" y="1063"/>
                </a:lnTo>
                <a:close/>
                <a:moveTo>
                  <a:pt x="2899" y="1067"/>
                </a:moveTo>
                <a:lnTo>
                  <a:pt x="2898" y="1064"/>
                </a:lnTo>
                <a:lnTo>
                  <a:pt x="2897" y="1067"/>
                </a:lnTo>
                <a:lnTo>
                  <a:pt x="2897" y="1068"/>
                </a:lnTo>
                <a:lnTo>
                  <a:pt x="2899" y="1071"/>
                </a:lnTo>
                <a:lnTo>
                  <a:pt x="2898" y="1068"/>
                </a:lnTo>
                <a:lnTo>
                  <a:pt x="2899" y="1067"/>
                </a:lnTo>
                <a:close/>
                <a:moveTo>
                  <a:pt x="2902" y="1069"/>
                </a:moveTo>
                <a:lnTo>
                  <a:pt x="2903" y="1069"/>
                </a:lnTo>
                <a:lnTo>
                  <a:pt x="2903" y="1069"/>
                </a:lnTo>
                <a:lnTo>
                  <a:pt x="2902" y="1069"/>
                </a:lnTo>
                <a:close/>
                <a:moveTo>
                  <a:pt x="2899" y="1071"/>
                </a:moveTo>
                <a:lnTo>
                  <a:pt x="2903" y="1073"/>
                </a:lnTo>
                <a:lnTo>
                  <a:pt x="2903" y="1072"/>
                </a:lnTo>
                <a:lnTo>
                  <a:pt x="2902" y="1071"/>
                </a:lnTo>
                <a:lnTo>
                  <a:pt x="2899" y="1071"/>
                </a:lnTo>
                <a:close/>
                <a:moveTo>
                  <a:pt x="3002" y="1120"/>
                </a:moveTo>
                <a:lnTo>
                  <a:pt x="3006" y="1119"/>
                </a:lnTo>
                <a:lnTo>
                  <a:pt x="3007" y="1118"/>
                </a:lnTo>
                <a:lnTo>
                  <a:pt x="3003" y="1118"/>
                </a:lnTo>
                <a:lnTo>
                  <a:pt x="3002" y="1120"/>
                </a:lnTo>
                <a:close/>
                <a:moveTo>
                  <a:pt x="2698" y="670"/>
                </a:moveTo>
                <a:lnTo>
                  <a:pt x="2699" y="669"/>
                </a:lnTo>
                <a:lnTo>
                  <a:pt x="2698" y="669"/>
                </a:lnTo>
                <a:lnTo>
                  <a:pt x="2698" y="670"/>
                </a:lnTo>
                <a:close/>
                <a:moveTo>
                  <a:pt x="3022" y="1124"/>
                </a:moveTo>
                <a:lnTo>
                  <a:pt x="3020" y="1125"/>
                </a:lnTo>
                <a:lnTo>
                  <a:pt x="3023" y="1122"/>
                </a:lnTo>
                <a:lnTo>
                  <a:pt x="3021" y="1122"/>
                </a:lnTo>
                <a:lnTo>
                  <a:pt x="3022" y="1124"/>
                </a:lnTo>
                <a:close/>
                <a:moveTo>
                  <a:pt x="2735" y="608"/>
                </a:moveTo>
                <a:lnTo>
                  <a:pt x="2735" y="609"/>
                </a:lnTo>
                <a:lnTo>
                  <a:pt x="2735" y="608"/>
                </a:lnTo>
                <a:lnTo>
                  <a:pt x="2735" y="608"/>
                </a:lnTo>
                <a:close/>
                <a:moveTo>
                  <a:pt x="4257" y="266"/>
                </a:moveTo>
                <a:lnTo>
                  <a:pt x="4257" y="266"/>
                </a:lnTo>
                <a:lnTo>
                  <a:pt x="4258" y="266"/>
                </a:lnTo>
                <a:lnTo>
                  <a:pt x="4257" y="266"/>
                </a:lnTo>
                <a:close/>
                <a:moveTo>
                  <a:pt x="2996" y="1089"/>
                </a:moveTo>
                <a:lnTo>
                  <a:pt x="2996" y="1094"/>
                </a:lnTo>
                <a:lnTo>
                  <a:pt x="2992" y="1094"/>
                </a:lnTo>
                <a:lnTo>
                  <a:pt x="2992" y="1095"/>
                </a:lnTo>
                <a:lnTo>
                  <a:pt x="3001" y="1098"/>
                </a:lnTo>
                <a:lnTo>
                  <a:pt x="3001" y="1098"/>
                </a:lnTo>
                <a:lnTo>
                  <a:pt x="3001" y="1098"/>
                </a:lnTo>
                <a:lnTo>
                  <a:pt x="3002" y="1096"/>
                </a:lnTo>
                <a:lnTo>
                  <a:pt x="3002" y="1095"/>
                </a:lnTo>
                <a:lnTo>
                  <a:pt x="3000" y="1089"/>
                </a:lnTo>
                <a:lnTo>
                  <a:pt x="2996" y="1089"/>
                </a:lnTo>
                <a:close/>
                <a:moveTo>
                  <a:pt x="3002" y="1095"/>
                </a:moveTo>
                <a:lnTo>
                  <a:pt x="3003" y="1095"/>
                </a:lnTo>
                <a:lnTo>
                  <a:pt x="3003" y="1095"/>
                </a:lnTo>
                <a:lnTo>
                  <a:pt x="3002" y="1095"/>
                </a:lnTo>
                <a:lnTo>
                  <a:pt x="3002" y="1095"/>
                </a:lnTo>
                <a:close/>
                <a:moveTo>
                  <a:pt x="2882" y="1021"/>
                </a:moveTo>
                <a:lnTo>
                  <a:pt x="2882" y="1021"/>
                </a:lnTo>
                <a:lnTo>
                  <a:pt x="2882" y="1021"/>
                </a:lnTo>
                <a:lnTo>
                  <a:pt x="2882" y="1021"/>
                </a:lnTo>
                <a:close/>
                <a:moveTo>
                  <a:pt x="3008" y="1118"/>
                </a:moveTo>
                <a:lnTo>
                  <a:pt x="3007" y="1118"/>
                </a:lnTo>
                <a:lnTo>
                  <a:pt x="3008" y="1118"/>
                </a:lnTo>
                <a:lnTo>
                  <a:pt x="3014" y="1118"/>
                </a:lnTo>
                <a:lnTo>
                  <a:pt x="3014" y="1117"/>
                </a:lnTo>
                <a:lnTo>
                  <a:pt x="3008" y="1117"/>
                </a:lnTo>
                <a:lnTo>
                  <a:pt x="3008" y="1118"/>
                </a:lnTo>
                <a:close/>
                <a:moveTo>
                  <a:pt x="2586" y="1154"/>
                </a:moveTo>
                <a:lnTo>
                  <a:pt x="2586" y="1154"/>
                </a:lnTo>
                <a:lnTo>
                  <a:pt x="2586" y="1154"/>
                </a:lnTo>
                <a:lnTo>
                  <a:pt x="2586" y="1154"/>
                </a:lnTo>
                <a:lnTo>
                  <a:pt x="2586" y="1154"/>
                </a:lnTo>
                <a:close/>
                <a:moveTo>
                  <a:pt x="2829" y="990"/>
                </a:moveTo>
                <a:lnTo>
                  <a:pt x="2834" y="995"/>
                </a:lnTo>
                <a:lnTo>
                  <a:pt x="2832" y="991"/>
                </a:lnTo>
                <a:lnTo>
                  <a:pt x="2829" y="990"/>
                </a:lnTo>
                <a:close/>
                <a:moveTo>
                  <a:pt x="2755" y="1114"/>
                </a:moveTo>
                <a:lnTo>
                  <a:pt x="2755" y="1114"/>
                </a:lnTo>
                <a:lnTo>
                  <a:pt x="2756" y="1113"/>
                </a:lnTo>
                <a:lnTo>
                  <a:pt x="2755" y="1112"/>
                </a:lnTo>
                <a:lnTo>
                  <a:pt x="2755" y="1114"/>
                </a:lnTo>
                <a:close/>
                <a:moveTo>
                  <a:pt x="2566" y="1142"/>
                </a:moveTo>
                <a:lnTo>
                  <a:pt x="2566" y="1145"/>
                </a:lnTo>
                <a:lnTo>
                  <a:pt x="2566" y="1145"/>
                </a:lnTo>
                <a:lnTo>
                  <a:pt x="2567" y="1145"/>
                </a:lnTo>
                <a:lnTo>
                  <a:pt x="2566" y="1142"/>
                </a:lnTo>
                <a:close/>
                <a:moveTo>
                  <a:pt x="3078" y="1210"/>
                </a:moveTo>
                <a:lnTo>
                  <a:pt x="3078" y="1210"/>
                </a:lnTo>
                <a:lnTo>
                  <a:pt x="3078" y="1210"/>
                </a:lnTo>
                <a:lnTo>
                  <a:pt x="3078" y="1210"/>
                </a:lnTo>
                <a:lnTo>
                  <a:pt x="3078" y="1210"/>
                </a:lnTo>
                <a:close/>
                <a:moveTo>
                  <a:pt x="2681" y="1005"/>
                </a:moveTo>
                <a:lnTo>
                  <a:pt x="2678" y="1002"/>
                </a:lnTo>
                <a:lnTo>
                  <a:pt x="2678" y="1005"/>
                </a:lnTo>
                <a:lnTo>
                  <a:pt x="2681" y="1005"/>
                </a:lnTo>
                <a:close/>
                <a:moveTo>
                  <a:pt x="2835" y="986"/>
                </a:moveTo>
                <a:lnTo>
                  <a:pt x="2827" y="980"/>
                </a:lnTo>
                <a:lnTo>
                  <a:pt x="2832" y="986"/>
                </a:lnTo>
                <a:lnTo>
                  <a:pt x="2835" y="986"/>
                </a:lnTo>
                <a:close/>
                <a:moveTo>
                  <a:pt x="2882" y="1021"/>
                </a:moveTo>
                <a:lnTo>
                  <a:pt x="2879" y="1018"/>
                </a:lnTo>
                <a:lnTo>
                  <a:pt x="2879" y="1021"/>
                </a:lnTo>
                <a:lnTo>
                  <a:pt x="2882" y="1021"/>
                </a:lnTo>
                <a:close/>
                <a:moveTo>
                  <a:pt x="2829" y="977"/>
                </a:moveTo>
                <a:lnTo>
                  <a:pt x="2823" y="971"/>
                </a:lnTo>
                <a:lnTo>
                  <a:pt x="2823" y="974"/>
                </a:lnTo>
                <a:lnTo>
                  <a:pt x="2821" y="972"/>
                </a:lnTo>
                <a:lnTo>
                  <a:pt x="2822" y="977"/>
                </a:lnTo>
                <a:lnTo>
                  <a:pt x="2821" y="977"/>
                </a:lnTo>
                <a:lnTo>
                  <a:pt x="2823" y="981"/>
                </a:lnTo>
                <a:lnTo>
                  <a:pt x="2823" y="975"/>
                </a:lnTo>
                <a:lnTo>
                  <a:pt x="2827" y="977"/>
                </a:lnTo>
                <a:lnTo>
                  <a:pt x="2829" y="977"/>
                </a:lnTo>
                <a:close/>
                <a:moveTo>
                  <a:pt x="2952" y="1078"/>
                </a:moveTo>
                <a:lnTo>
                  <a:pt x="2952" y="1078"/>
                </a:lnTo>
                <a:lnTo>
                  <a:pt x="2954" y="1076"/>
                </a:lnTo>
                <a:lnTo>
                  <a:pt x="2952" y="1076"/>
                </a:lnTo>
                <a:lnTo>
                  <a:pt x="2952" y="1078"/>
                </a:lnTo>
                <a:close/>
                <a:moveTo>
                  <a:pt x="2873" y="1015"/>
                </a:moveTo>
                <a:lnTo>
                  <a:pt x="2872" y="1017"/>
                </a:lnTo>
                <a:lnTo>
                  <a:pt x="2873" y="1017"/>
                </a:lnTo>
                <a:lnTo>
                  <a:pt x="2875" y="1015"/>
                </a:lnTo>
                <a:lnTo>
                  <a:pt x="2874" y="1015"/>
                </a:lnTo>
                <a:lnTo>
                  <a:pt x="2873" y="1015"/>
                </a:lnTo>
                <a:close/>
                <a:moveTo>
                  <a:pt x="2869" y="1017"/>
                </a:moveTo>
                <a:lnTo>
                  <a:pt x="2872" y="1017"/>
                </a:lnTo>
                <a:lnTo>
                  <a:pt x="2861" y="1013"/>
                </a:lnTo>
                <a:lnTo>
                  <a:pt x="2869" y="1017"/>
                </a:lnTo>
                <a:close/>
                <a:moveTo>
                  <a:pt x="2838" y="1094"/>
                </a:moveTo>
                <a:lnTo>
                  <a:pt x="2831" y="1098"/>
                </a:lnTo>
                <a:lnTo>
                  <a:pt x="2829" y="1098"/>
                </a:lnTo>
                <a:lnTo>
                  <a:pt x="2824" y="1098"/>
                </a:lnTo>
                <a:lnTo>
                  <a:pt x="2812" y="1100"/>
                </a:lnTo>
                <a:lnTo>
                  <a:pt x="2808" y="1097"/>
                </a:lnTo>
                <a:lnTo>
                  <a:pt x="2807" y="1093"/>
                </a:lnTo>
                <a:lnTo>
                  <a:pt x="2803" y="1096"/>
                </a:lnTo>
                <a:lnTo>
                  <a:pt x="2803" y="1098"/>
                </a:lnTo>
                <a:lnTo>
                  <a:pt x="2801" y="1098"/>
                </a:lnTo>
                <a:lnTo>
                  <a:pt x="2798" y="1096"/>
                </a:lnTo>
                <a:lnTo>
                  <a:pt x="2796" y="1100"/>
                </a:lnTo>
                <a:lnTo>
                  <a:pt x="2794" y="1103"/>
                </a:lnTo>
                <a:lnTo>
                  <a:pt x="2797" y="1105"/>
                </a:lnTo>
                <a:lnTo>
                  <a:pt x="2805" y="1107"/>
                </a:lnTo>
                <a:lnTo>
                  <a:pt x="2815" y="1114"/>
                </a:lnTo>
                <a:lnTo>
                  <a:pt x="2819" y="1115"/>
                </a:lnTo>
                <a:lnTo>
                  <a:pt x="2824" y="1120"/>
                </a:lnTo>
                <a:lnTo>
                  <a:pt x="2831" y="1123"/>
                </a:lnTo>
                <a:lnTo>
                  <a:pt x="2834" y="1117"/>
                </a:lnTo>
                <a:lnTo>
                  <a:pt x="2835" y="1115"/>
                </a:lnTo>
                <a:lnTo>
                  <a:pt x="2831" y="1107"/>
                </a:lnTo>
                <a:lnTo>
                  <a:pt x="2834" y="1103"/>
                </a:lnTo>
                <a:lnTo>
                  <a:pt x="2839" y="1096"/>
                </a:lnTo>
                <a:lnTo>
                  <a:pt x="2839" y="1094"/>
                </a:lnTo>
                <a:lnTo>
                  <a:pt x="2838" y="1094"/>
                </a:lnTo>
                <a:close/>
                <a:moveTo>
                  <a:pt x="2879" y="1018"/>
                </a:moveTo>
                <a:lnTo>
                  <a:pt x="2879" y="1018"/>
                </a:lnTo>
                <a:lnTo>
                  <a:pt x="2877" y="1016"/>
                </a:lnTo>
                <a:lnTo>
                  <a:pt x="2879" y="1018"/>
                </a:lnTo>
                <a:close/>
                <a:moveTo>
                  <a:pt x="2847" y="1030"/>
                </a:moveTo>
                <a:lnTo>
                  <a:pt x="2844" y="1033"/>
                </a:lnTo>
                <a:lnTo>
                  <a:pt x="2847" y="1033"/>
                </a:lnTo>
                <a:lnTo>
                  <a:pt x="2847" y="1030"/>
                </a:lnTo>
                <a:close/>
                <a:moveTo>
                  <a:pt x="4465" y="1151"/>
                </a:moveTo>
                <a:lnTo>
                  <a:pt x="4465" y="1152"/>
                </a:lnTo>
                <a:lnTo>
                  <a:pt x="4466" y="1153"/>
                </a:lnTo>
                <a:lnTo>
                  <a:pt x="4466" y="1154"/>
                </a:lnTo>
                <a:lnTo>
                  <a:pt x="4466" y="1154"/>
                </a:lnTo>
                <a:lnTo>
                  <a:pt x="4466" y="1154"/>
                </a:lnTo>
                <a:lnTo>
                  <a:pt x="4466" y="1152"/>
                </a:lnTo>
                <a:lnTo>
                  <a:pt x="4466" y="1150"/>
                </a:lnTo>
                <a:lnTo>
                  <a:pt x="4465" y="1150"/>
                </a:lnTo>
                <a:lnTo>
                  <a:pt x="4465" y="1151"/>
                </a:lnTo>
                <a:close/>
                <a:moveTo>
                  <a:pt x="2875" y="1015"/>
                </a:moveTo>
                <a:lnTo>
                  <a:pt x="2877" y="1016"/>
                </a:lnTo>
                <a:lnTo>
                  <a:pt x="2875" y="1015"/>
                </a:lnTo>
                <a:lnTo>
                  <a:pt x="2875" y="1015"/>
                </a:lnTo>
                <a:lnTo>
                  <a:pt x="2875" y="1015"/>
                </a:lnTo>
                <a:close/>
                <a:moveTo>
                  <a:pt x="1841" y="543"/>
                </a:moveTo>
                <a:lnTo>
                  <a:pt x="1842" y="543"/>
                </a:lnTo>
                <a:lnTo>
                  <a:pt x="1841" y="543"/>
                </a:lnTo>
                <a:lnTo>
                  <a:pt x="1841" y="543"/>
                </a:lnTo>
                <a:close/>
                <a:moveTo>
                  <a:pt x="2414" y="555"/>
                </a:moveTo>
                <a:lnTo>
                  <a:pt x="2413" y="555"/>
                </a:lnTo>
                <a:lnTo>
                  <a:pt x="2410" y="555"/>
                </a:lnTo>
                <a:lnTo>
                  <a:pt x="2413" y="557"/>
                </a:lnTo>
                <a:lnTo>
                  <a:pt x="2414" y="555"/>
                </a:lnTo>
                <a:close/>
                <a:moveTo>
                  <a:pt x="4060" y="1599"/>
                </a:moveTo>
                <a:lnTo>
                  <a:pt x="4060" y="1598"/>
                </a:lnTo>
                <a:lnTo>
                  <a:pt x="4061" y="1600"/>
                </a:lnTo>
                <a:lnTo>
                  <a:pt x="4062" y="1598"/>
                </a:lnTo>
                <a:lnTo>
                  <a:pt x="4062" y="1596"/>
                </a:lnTo>
                <a:lnTo>
                  <a:pt x="4060" y="1596"/>
                </a:lnTo>
                <a:lnTo>
                  <a:pt x="4060" y="1596"/>
                </a:lnTo>
                <a:lnTo>
                  <a:pt x="4059" y="1596"/>
                </a:lnTo>
                <a:lnTo>
                  <a:pt x="4059" y="1596"/>
                </a:lnTo>
                <a:lnTo>
                  <a:pt x="4059" y="1597"/>
                </a:lnTo>
                <a:lnTo>
                  <a:pt x="4058" y="1598"/>
                </a:lnTo>
                <a:lnTo>
                  <a:pt x="4060" y="1599"/>
                </a:lnTo>
                <a:close/>
                <a:moveTo>
                  <a:pt x="2409" y="555"/>
                </a:moveTo>
                <a:lnTo>
                  <a:pt x="2410" y="555"/>
                </a:lnTo>
                <a:lnTo>
                  <a:pt x="2409" y="554"/>
                </a:lnTo>
                <a:lnTo>
                  <a:pt x="2408" y="554"/>
                </a:lnTo>
                <a:lnTo>
                  <a:pt x="2409" y="555"/>
                </a:lnTo>
                <a:close/>
                <a:moveTo>
                  <a:pt x="2257" y="535"/>
                </a:moveTo>
                <a:lnTo>
                  <a:pt x="2257" y="538"/>
                </a:lnTo>
                <a:lnTo>
                  <a:pt x="2266" y="543"/>
                </a:lnTo>
                <a:lnTo>
                  <a:pt x="2263" y="543"/>
                </a:lnTo>
                <a:lnTo>
                  <a:pt x="2257" y="541"/>
                </a:lnTo>
                <a:lnTo>
                  <a:pt x="2254" y="543"/>
                </a:lnTo>
                <a:lnTo>
                  <a:pt x="2264" y="546"/>
                </a:lnTo>
                <a:lnTo>
                  <a:pt x="2272" y="543"/>
                </a:lnTo>
                <a:lnTo>
                  <a:pt x="2268" y="543"/>
                </a:lnTo>
                <a:lnTo>
                  <a:pt x="2257" y="535"/>
                </a:lnTo>
                <a:close/>
                <a:moveTo>
                  <a:pt x="2296" y="349"/>
                </a:moveTo>
                <a:lnTo>
                  <a:pt x="2292" y="353"/>
                </a:lnTo>
                <a:lnTo>
                  <a:pt x="2295" y="355"/>
                </a:lnTo>
                <a:lnTo>
                  <a:pt x="2296" y="359"/>
                </a:lnTo>
                <a:lnTo>
                  <a:pt x="2288" y="359"/>
                </a:lnTo>
                <a:lnTo>
                  <a:pt x="2296" y="362"/>
                </a:lnTo>
                <a:lnTo>
                  <a:pt x="2295" y="365"/>
                </a:lnTo>
                <a:lnTo>
                  <a:pt x="2283" y="362"/>
                </a:lnTo>
                <a:lnTo>
                  <a:pt x="2293" y="368"/>
                </a:lnTo>
                <a:lnTo>
                  <a:pt x="2293" y="371"/>
                </a:lnTo>
                <a:lnTo>
                  <a:pt x="2290" y="372"/>
                </a:lnTo>
                <a:lnTo>
                  <a:pt x="2267" y="362"/>
                </a:lnTo>
                <a:lnTo>
                  <a:pt x="2260" y="360"/>
                </a:lnTo>
                <a:lnTo>
                  <a:pt x="2258" y="352"/>
                </a:lnTo>
                <a:lnTo>
                  <a:pt x="2274" y="350"/>
                </a:lnTo>
                <a:lnTo>
                  <a:pt x="2258" y="349"/>
                </a:lnTo>
                <a:lnTo>
                  <a:pt x="2257" y="348"/>
                </a:lnTo>
                <a:lnTo>
                  <a:pt x="2277" y="346"/>
                </a:lnTo>
                <a:lnTo>
                  <a:pt x="2289" y="348"/>
                </a:lnTo>
                <a:lnTo>
                  <a:pt x="2296" y="349"/>
                </a:lnTo>
                <a:close/>
                <a:moveTo>
                  <a:pt x="2287" y="359"/>
                </a:moveTo>
                <a:lnTo>
                  <a:pt x="2283" y="354"/>
                </a:lnTo>
                <a:lnTo>
                  <a:pt x="2286" y="358"/>
                </a:lnTo>
                <a:lnTo>
                  <a:pt x="2287" y="359"/>
                </a:lnTo>
                <a:close/>
                <a:moveTo>
                  <a:pt x="2351" y="589"/>
                </a:moveTo>
                <a:lnTo>
                  <a:pt x="2350" y="588"/>
                </a:lnTo>
                <a:lnTo>
                  <a:pt x="2351" y="585"/>
                </a:lnTo>
                <a:lnTo>
                  <a:pt x="2363" y="584"/>
                </a:lnTo>
                <a:lnTo>
                  <a:pt x="2366" y="581"/>
                </a:lnTo>
                <a:lnTo>
                  <a:pt x="2366" y="584"/>
                </a:lnTo>
                <a:lnTo>
                  <a:pt x="2370" y="583"/>
                </a:lnTo>
                <a:lnTo>
                  <a:pt x="2376" y="576"/>
                </a:lnTo>
                <a:lnTo>
                  <a:pt x="2385" y="573"/>
                </a:lnTo>
                <a:lnTo>
                  <a:pt x="2385" y="571"/>
                </a:lnTo>
                <a:lnTo>
                  <a:pt x="2392" y="574"/>
                </a:lnTo>
                <a:lnTo>
                  <a:pt x="2396" y="571"/>
                </a:lnTo>
                <a:lnTo>
                  <a:pt x="2400" y="571"/>
                </a:lnTo>
                <a:lnTo>
                  <a:pt x="2402" y="567"/>
                </a:lnTo>
                <a:lnTo>
                  <a:pt x="2399" y="567"/>
                </a:lnTo>
                <a:lnTo>
                  <a:pt x="2402" y="563"/>
                </a:lnTo>
                <a:lnTo>
                  <a:pt x="2400" y="559"/>
                </a:lnTo>
                <a:lnTo>
                  <a:pt x="2404" y="563"/>
                </a:lnTo>
                <a:lnTo>
                  <a:pt x="2407" y="563"/>
                </a:lnTo>
                <a:lnTo>
                  <a:pt x="2406" y="562"/>
                </a:lnTo>
                <a:lnTo>
                  <a:pt x="2411" y="558"/>
                </a:lnTo>
                <a:lnTo>
                  <a:pt x="2409" y="555"/>
                </a:lnTo>
                <a:lnTo>
                  <a:pt x="2406" y="555"/>
                </a:lnTo>
                <a:lnTo>
                  <a:pt x="2408" y="554"/>
                </a:lnTo>
                <a:lnTo>
                  <a:pt x="2407" y="553"/>
                </a:lnTo>
                <a:lnTo>
                  <a:pt x="2409" y="554"/>
                </a:lnTo>
                <a:lnTo>
                  <a:pt x="2414" y="552"/>
                </a:lnTo>
                <a:lnTo>
                  <a:pt x="2411" y="548"/>
                </a:lnTo>
                <a:lnTo>
                  <a:pt x="2413" y="543"/>
                </a:lnTo>
                <a:lnTo>
                  <a:pt x="2413" y="542"/>
                </a:lnTo>
                <a:lnTo>
                  <a:pt x="2401" y="540"/>
                </a:lnTo>
                <a:lnTo>
                  <a:pt x="2401" y="536"/>
                </a:lnTo>
                <a:lnTo>
                  <a:pt x="2394" y="538"/>
                </a:lnTo>
                <a:lnTo>
                  <a:pt x="2398" y="531"/>
                </a:lnTo>
                <a:lnTo>
                  <a:pt x="2391" y="529"/>
                </a:lnTo>
                <a:lnTo>
                  <a:pt x="2393" y="527"/>
                </a:lnTo>
                <a:lnTo>
                  <a:pt x="2393" y="524"/>
                </a:lnTo>
                <a:lnTo>
                  <a:pt x="2396" y="523"/>
                </a:lnTo>
                <a:lnTo>
                  <a:pt x="2393" y="523"/>
                </a:lnTo>
                <a:lnTo>
                  <a:pt x="2387" y="527"/>
                </a:lnTo>
                <a:lnTo>
                  <a:pt x="2381" y="525"/>
                </a:lnTo>
                <a:lnTo>
                  <a:pt x="2381" y="522"/>
                </a:lnTo>
                <a:lnTo>
                  <a:pt x="2377" y="516"/>
                </a:lnTo>
                <a:lnTo>
                  <a:pt x="2369" y="519"/>
                </a:lnTo>
                <a:lnTo>
                  <a:pt x="2373" y="524"/>
                </a:lnTo>
                <a:lnTo>
                  <a:pt x="2368" y="527"/>
                </a:lnTo>
                <a:lnTo>
                  <a:pt x="2369" y="529"/>
                </a:lnTo>
                <a:lnTo>
                  <a:pt x="2362" y="527"/>
                </a:lnTo>
                <a:lnTo>
                  <a:pt x="2358" y="535"/>
                </a:lnTo>
                <a:lnTo>
                  <a:pt x="2355" y="535"/>
                </a:lnTo>
                <a:lnTo>
                  <a:pt x="2350" y="527"/>
                </a:lnTo>
                <a:lnTo>
                  <a:pt x="2345" y="527"/>
                </a:lnTo>
                <a:lnTo>
                  <a:pt x="2345" y="530"/>
                </a:lnTo>
                <a:lnTo>
                  <a:pt x="2345" y="535"/>
                </a:lnTo>
                <a:lnTo>
                  <a:pt x="2345" y="540"/>
                </a:lnTo>
                <a:lnTo>
                  <a:pt x="2345" y="534"/>
                </a:lnTo>
                <a:lnTo>
                  <a:pt x="2342" y="531"/>
                </a:lnTo>
                <a:lnTo>
                  <a:pt x="2340" y="529"/>
                </a:lnTo>
                <a:lnTo>
                  <a:pt x="2337" y="527"/>
                </a:lnTo>
                <a:lnTo>
                  <a:pt x="2333" y="527"/>
                </a:lnTo>
                <a:lnTo>
                  <a:pt x="2333" y="529"/>
                </a:lnTo>
                <a:lnTo>
                  <a:pt x="2325" y="530"/>
                </a:lnTo>
                <a:lnTo>
                  <a:pt x="2325" y="531"/>
                </a:lnTo>
                <a:lnTo>
                  <a:pt x="2328" y="535"/>
                </a:lnTo>
                <a:lnTo>
                  <a:pt x="2328" y="538"/>
                </a:lnTo>
                <a:lnTo>
                  <a:pt x="2325" y="537"/>
                </a:lnTo>
                <a:lnTo>
                  <a:pt x="2318" y="531"/>
                </a:lnTo>
                <a:lnTo>
                  <a:pt x="2313" y="531"/>
                </a:lnTo>
                <a:lnTo>
                  <a:pt x="2317" y="537"/>
                </a:lnTo>
                <a:lnTo>
                  <a:pt x="2314" y="541"/>
                </a:lnTo>
                <a:lnTo>
                  <a:pt x="2313" y="543"/>
                </a:lnTo>
                <a:lnTo>
                  <a:pt x="2309" y="542"/>
                </a:lnTo>
                <a:lnTo>
                  <a:pt x="2309" y="538"/>
                </a:lnTo>
                <a:lnTo>
                  <a:pt x="2306" y="543"/>
                </a:lnTo>
                <a:lnTo>
                  <a:pt x="2306" y="547"/>
                </a:lnTo>
                <a:lnTo>
                  <a:pt x="2301" y="547"/>
                </a:lnTo>
                <a:lnTo>
                  <a:pt x="2301" y="551"/>
                </a:lnTo>
                <a:lnTo>
                  <a:pt x="2299" y="542"/>
                </a:lnTo>
                <a:lnTo>
                  <a:pt x="2294" y="540"/>
                </a:lnTo>
                <a:lnTo>
                  <a:pt x="2294" y="537"/>
                </a:lnTo>
                <a:lnTo>
                  <a:pt x="2297" y="538"/>
                </a:lnTo>
                <a:lnTo>
                  <a:pt x="2297" y="534"/>
                </a:lnTo>
                <a:lnTo>
                  <a:pt x="2296" y="532"/>
                </a:lnTo>
                <a:lnTo>
                  <a:pt x="2299" y="531"/>
                </a:lnTo>
                <a:lnTo>
                  <a:pt x="2295" y="531"/>
                </a:lnTo>
                <a:lnTo>
                  <a:pt x="2294" y="527"/>
                </a:lnTo>
                <a:lnTo>
                  <a:pt x="2288" y="525"/>
                </a:lnTo>
                <a:lnTo>
                  <a:pt x="2285" y="523"/>
                </a:lnTo>
                <a:lnTo>
                  <a:pt x="2276" y="523"/>
                </a:lnTo>
                <a:lnTo>
                  <a:pt x="2273" y="525"/>
                </a:lnTo>
                <a:lnTo>
                  <a:pt x="2285" y="527"/>
                </a:lnTo>
                <a:lnTo>
                  <a:pt x="2276" y="527"/>
                </a:lnTo>
                <a:lnTo>
                  <a:pt x="2281" y="530"/>
                </a:lnTo>
                <a:lnTo>
                  <a:pt x="2281" y="531"/>
                </a:lnTo>
                <a:lnTo>
                  <a:pt x="2281" y="535"/>
                </a:lnTo>
                <a:lnTo>
                  <a:pt x="2281" y="531"/>
                </a:lnTo>
                <a:lnTo>
                  <a:pt x="2280" y="530"/>
                </a:lnTo>
                <a:lnTo>
                  <a:pt x="2279" y="531"/>
                </a:lnTo>
                <a:lnTo>
                  <a:pt x="2269" y="527"/>
                </a:lnTo>
                <a:lnTo>
                  <a:pt x="2267" y="529"/>
                </a:lnTo>
                <a:lnTo>
                  <a:pt x="2272" y="532"/>
                </a:lnTo>
                <a:lnTo>
                  <a:pt x="2266" y="531"/>
                </a:lnTo>
                <a:lnTo>
                  <a:pt x="2264" y="531"/>
                </a:lnTo>
                <a:lnTo>
                  <a:pt x="2273" y="535"/>
                </a:lnTo>
                <a:lnTo>
                  <a:pt x="2266" y="534"/>
                </a:lnTo>
                <a:lnTo>
                  <a:pt x="2264" y="537"/>
                </a:lnTo>
                <a:lnTo>
                  <a:pt x="2266" y="539"/>
                </a:lnTo>
                <a:lnTo>
                  <a:pt x="2273" y="539"/>
                </a:lnTo>
                <a:lnTo>
                  <a:pt x="2268" y="541"/>
                </a:lnTo>
                <a:lnTo>
                  <a:pt x="2272" y="543"/>
                </a:lnTo>
                <a:lnTo>
                  <a:pt x="2275" y="542"/>
                </a:lnTo>
                <a:lnTo>
                  <a:pt x="2285" y="543"/>
                </a:lnTo>
                <a:lnTo>
                  <a:pt x="2289" y="542"/>
                </a:lnTo>
                <a:lnTo>
                  <a:pt x="2287" y="543"/>
                </a:lnTo>
                <a:lnTo>
                  <a:pt x="2295" y="546"/>
                </a:lnTo>
                <a:lnTo>
                  <a:pt x="2283" y="551"/>
                </a:lnTo>
                <a:lnTo>
                  <a:pt x="2289" y="553"/>
                </a:lnTo>
                <a:lnTo>
                  <a:pt x="2294" y="551"/>
                </a:lnTo>
                <a:lnTo>
                  <a:pt x="2292" y="555"/>
                </a:lnTo>
                <a:lnTo>
                  <a:pt x="2273" y="555"/>
                </a:lnTo>
                <a:lnTo>
                  <a:pt x="2268" y="559"/>
                </a:lnTo>
                <a:lnTo>
                  <a:pt x="2261" y="559"/>
                </a:lnTo>
                <a:lnTo>
                  <a:pt x="2264" y="563"/>
                </a:lnTo>
                <a:lnTo>
                  <a:pt x="2269" y="559"/>
                </a:lnTo>
                <a:lnTo>
                  <a:pt x="2285" y="559"/>
                </a:lnTo>
                <a:lnTo>
                  <a:pt x="2287" y="563"/>
                </a:lnTo>
                <a:lnTo>
                  <a:pt x="2285" y="565"/>
                </a:lnTo>
                <a:lnTo>
                  <a:pt x="2287" y="566"/>
                </a:lnTo>
                <a:lnTo>
                  <a:pt x="2288" y="568"/>
                </a:lnTo>
                <a:lnTo>
                  <a:pt x="2294" y="566"/>
                </a:lnTo>
                <a:lnTo>
                  <a:pt x="2291" y="569"/>
                </a:lnTo>
                <a:lnTo>
                  <a:pt x="2289" y="573"/>
                </a:lnTo>
                <a:lnTo>
                  <a:pt x="2293" y="573"/>
                </a:lnTo>
                <a:lnTo>
                  <a:pt x="2292" y="575"/>
                </a:lnTo>
                <a:lnTo>
                  <a:pt x="2295" y="575"/>
                </a:lnTo>
                <a:lnTo>
                  <a:pt x="2291" y="577"/>
                </a:lnTo>
                <a:lnTo>
                  <a:pt x="2292" y="579"/>
                </a:lnTo>
                <a:lnTo>
                  <a:pt x="2291" y="579"/>
                </a:lnTo>
                <a:lnTo>
                  <a:pt x="2283" y="580"/>
                </a:lnTo>
                <a:lnTo>
                  <a:pt x="2281" y="579"/>
                </a:lnTo>
                <a:lnTo>
                  <a:pt x="2280" y="587"/>
                </a:lnTo>
                <a:lnTo>
                  <a:pt x="2295" y="587"/>
                </a:lnTo>
                <a:lnTo>
                  <a:pt x="2303" y="583"/>
                </a:lnTo>
                <a:lnTo>
                  <a:pt x="2307" y="585"/>
                </a:lnTo>
                <a:lnTo>
                  <a:pt x="2310" y="583"/>
                </a:lnTo>
                <a:lnTo>
                  <a:pt x="2312" y="585"/>
                </a:lnTo>
                <a:lnTo>
                  <a:pt x="2310" y="587"/>
                </a:lnTo>
                <a:lnTo>
                  <a:pt x="2312" y="587"/>
                </a:lnTo>
                <a:lnTo>
                  <a:pt x="2317" y="592"/>
                </a:lnTo>
                <a:lnTo>
                  <a:pt x="2339" y="594"/>
                </a:lnTo>
                <a:lnTo>
                  <a:pt x="2350" y="591"/>
                </a:lnTo>
                <a:lnTo>
                  <a:pt x="2351" y="589"/>
                </a:lnTo>
                <a:close/>
                <a:moveTo>
                  <a:pt x="2403" y="1266"/>
                </a:moveTo>
                <a:lnTo>
                  <a:pt x="2405" y="1266"/>
                </a:lnTo>
                <a:lnTo>
                  <a:pt x="2407" y="1262"/>
                </a:lnTo>
                <a:lnTo>
                  <a:pt x="2409" y="1257"/>
                </a:lnTo>
                <a:lnTo>
                  <a:pt x="2409" y="1254"/>
                </a:lnTo>
                <a:lnTo>
                  <a:pt x="2409" y="1254"/>
                </a:lnTo>
                <a:lnTo>
                  <a:pt x="2406" y="1263"/>
                </a:lnTo>
                <a:lnTo>
                  <a:pt x="2403" y="1266"/>
                </a:lnTo>
                <a:close/>
                <a:moveTo>
                  <a:pt x="3162" y="2447"/>
                </a:moveTo>
                <a:lnTo>
                  <a:pt x="3161" y="2447"/>
                </a:lnTo>
                <a:lnTo>
                  <a:pt x="3164" y="2449"/>
                </a:lnTo>
                <a:lnTo>
                  <a:pt x="3164" y="2447"/>
                </a:lnTo>
                <a:lnTo>
                  <a:pt x="3163" y="2446"/>
                </a:lnTo>
                <a:lnTo>
                  <a:pt x="3162" y="2447"/>
                </a:lnTo>
                <a:close/>
                <a:moveTo>
                  <a:pt x="2412" y="1250"/>
                </a:moveTo>
                <a:lnTo>
                  <a:pt x="2413" y="1252"/>
                </a:lnTo>
                <a:lnTo>
                  <a:pt x="2415" y="1250"/>
                </a:lnTo>
                <a:lnTo>
                  <a:pt x="2417" y="1245"/>
                </a:lnTo>
                <a:lnTo>
                  <a:pt x="2413" y="1248"/>
                </a:lnTo>
                <a:lnTo>
                  <a:pt x="2412" y="1250"/>
                </a:lnTo>
                <a:close/>
                <a:moveTo>
                  <a:pt x="2248" y="402"/>
                </a:moveTo>
                <a:lnTo>
                  <a:pt x="2247" y="400"/>
                </a:lnTo>
                <a:lnTo>
                  <a:pt x="2243" y="400"/>
                </a:lnTo>
                <a:lnTo>
                  <a:pt x="2248" y="402"/>
                </a:lnTo>
                <a:close/>
                <a:moveTo>
                  <a:pt x="2248" y="398"/>
                </a:moveTo>
                <a:lnTo>
                  <a:pt x="2244" y="399"/>
                </a:lnTo>
                <a:lnTo>
                  <a:pt x="2248" y="399"/>
                </a:lnTo>
                <a:lnTo>
                  <a:pt x="2248" y="398"/>
                </a:lnTo>
                <a:close/>
                <a:moveTo>
                  <a:pt x="2254" y="353"/>
                </a:moveTo>
                <a:lnTo>
                  <a:pt x="2255" y="349"/>
                </a:lnTo>
                <a:lnTo>
                  <a:pt x="2249" y="352"/>
                </a:lnTo>
                <a:lnTo>
                  <a:pt x="2254" y="353"/>
                </a:lnTo>
                <a:close/>
                <a:moveTo>
                  <a:pt x="2255" y="1471"/>
                </a:moveTo>
                <a:lnTo>
                  <a:pt x="2255" y="1472"/>
                </a:lnTo>
                <a:lnTo>
                  <a:pt x="2258" y="1471"/>
                </a:lnTo>
                <a:lnTo>
                  <a:pt x="2255" y="1468"/>
                </a:lnTo>
                <a:lnTo>
                  <a:pt x="2255" y="1471"/>
                </a:lnTo>
                <a:close/>
                <a:moveTo>
                  <a:pt x="2258" y="1443"/>
                </a:moveTo>
                <a:lnTo>
                  <a:pt x="2258" y="1442"/>
                </a:lnTo>
                <a:lnTo>
                  <a:pt x="2255" y="1441"/>
                </a:lnTo>
                <a:lnTo>
                  <a:pt x="2258" y="1443"/>
                </a:lnTo>
                <a:close/>
                <a:moveTo>
                  <a:pt x="2277" y="1452"/>
                </a:moveTo>
                <a:lnTo>
                  <a:pt x="2281" y="1452"/>
                </a:lnTo>
                <a:lnTo>
                  <a:pt x="2282" y="1450"/>
                </a:lnTo>
                <a:lnTo>
                  <a:pt x="2281" y="1449"/>
                </a:lnTo>
                <a:lnTo>
                  <a:pt x="2277" y="1452"/>
                </a:lnTo>
                <a:close/>
                <a:moveTo>
                  <a:pt x="2266" y="1468"/>
                </a:moveTo>
                <a:lnTo>
                  <a:pt x="2270" y="1471"/>
                </a:lnTo>
                <a:lnTo>
                  <a:pt x="2271" y="1468"/>
                </a:lnTo>
                <a:lnTo>
                  <a:pt x="2269" y="1464"/>
                </a:lnTo>
                <a:lnTo>
                  <a:pt x="2266" y="1468"/>
                </a:lnTo>
                <a:close/>
                <a:moveTo>
                  <a:pt x="2258" y="1442"/>
                </a:moveTo>
                <a:lnTo>
                  <a:pt x="2263" y="1443"/>
                </a:lnTo>
                <a:lnTo>
                  <a:pt x="2258" y="1441"/>
                </a:lnTo>
                <a:lnTo>
                  <a:pt x="2258" y="1442"/>
                </a:lnTo>
                <a:close/>
                <a:moveTo>
                  <a:pt x="2272" y="543"/>
                </a:moveTo>
                <a:lnTo>
                  <a:pt x="2272" y="543"/>
                </a:lnTo>
                <a:lnTo>
                  <a:pt x="2272" y="543"/>
                </a:lnTo>
                <a:lnTo>
                  <a:pt x="2272" y="543"/>
                </a:lnTo>
                <a:close/>
                <a:moveTo>
                  <a:pt x="2404" y="1810"/>
                </a:moveTo>
                <a:lnTo>
                  <a:pt x="2405" y="1810"/>
                </a:lnTo>
                <a:lnTo>
                  <a:pt x="2404" y="1810"/>
                </a:lnTo>
                <a:lnTo>
                  <a:pt x="2404" y="1810"/>
                </a:lnTo>
                <a:close/>
                <a:moveTo>
                  <a:pt x="2531" y="1934"/>
                </a:moveTo>
                <a:lnTo>
                  <a:pt x="2531" y="1932"/>
                </a:lnTo>
                <a:lnTo>
                  <a:pt x="2530" y="1934"/>
                </a:lnTo>
                <a:lnTo>
                  <a:pt x="2531" y="1934"/>
                </a:lnTo>
                <a:close/>
                <a:moveTo>
                  <a:pt x="2719" y="1668"/>
                </a:moveTo>
                <a:lnTo>
                  <a:pt x="2719" y="1669"/>
                </a:lnTo>
                <a:lnTo>
                  <a:pt x="2721" y="1668"/>
                </a:lnTo>
                <a:lnTo>
                  <a:pt x="2719" y="1666"/>
                </a:lnTo>
                <a:lnTo>
                  <a:pt x="2719" y="1668"/>
                </a:lnTo>
                <a:close/>
                <a:moveTo>
                  <a:pt x="2435" y="2276"/>
                </a:moveTo>
                <a:lnTo>
                  <a:pt x="2436" y="2275"/>
                </a:lnTo>
                <a:lnTo>
                  <a:pt x="2435" y="2275"/>
                </a:lnTo>
                <a:lnTo>
                  <a:pt x="2435" y="2276"/>
                </a:lnTo>
                <a:close/>
                <a:moveTo>
                  <a:pt x="2709" y="1693"/>
                </a:moveTo>
                <a:lnTo>
                  <a:pt x="2712" y="1692"/>
                </a:lnTo>
                <a:lnTo>
                  <a:pt x="2712" y="1689"/>
                </a:lnTo>
                <a:lnTo>
                  <a:pt x="2709" y="1690"/>
                </a:lnTo>
                <a:lnTo>
                  <a:pt x="2709" y="1693"/>
                </a:lnTo>
                <a:close/>
                <a:moveTo>
                  <a:pt x="2745" y="1716"/>
                </a:moveTo>
                <a:lnTo>
                  <a:pt x="2745" y="1716"/>
                </a:lnTo>
                <a:lnTo>
                  <a:pt x="2745" y="1716"/>
                </a:lnTo>
                <a:lnTo>
                  <a:pt x="2745" y="1717"/>
                </a:lnTo>
                <a:lnTo>
                  <a:pt x="2745" y="1716"/>
                </a:lnTo>
                <a:close/>
                <a:moveTo>
                  <a:pt x="2742" y="1711"/>
                </a:moveTo>
                <a:lnTo>
                  <a:pt x="2742" y="1711"/>
                </a:lnTo>
                <a:lnTo>
                  <a:pt x="2744" y="1716"/>
                </a:lnTo>
                <a:lnTo>
                  <a:pt x="2745" y="1715"/>
                </a:lnTo>
                <a:lnTo>
                  <a:pt x="2742" y="1711"/>
                </a:lnTo>
                <a:close/>
                <a:moveTo>
                  <a:pt x="2745" y="1716"/>
                </a:moveTo>
                <a:lnTo>
                  <a:pt x="2744" y="1716"/>
                </a:lnTo>
                <a:lnTo>
                  <a:pt x="2744" y="1716"/>
                </a:lnTo>
                <a:lnTo>
                  <a:pt x="2745" y="1716"/>
                </a:lnTo>
                <a:close/>
                <a:moveTo>
                  <a:pt x="2382" y="1516"/>
                </a:moveTo>
                <a:lnTo>
                  <a:pt x="2378" y="1516"/>
                </a:lnTo>
                <a:lnTo>
                  <a:pt x="2379" y="1518"/>
                </a:lnTo>
                <a:lnTo>
                  <a:pt x="2382" y="1516"/>
                </a:lnTo>
                <a:close/>
                <a:moveTo>
                  <a:pt x="2350" y="1272"/>
                </a:moveTo>
                <a:lnTo>
                  <a:pt x="2352" y="1268"/>
                </a:lnTo>
                <a:lnTo>
                  <a:pt x="2349" y="1269"/>
                </a:lnTo>
                <a:lnTo>
                  <a:pt x="2350" y="1272"/>
                </a:lnTo>
                <a:close/>
                <a:moveTo>
                  <a:pt x="2350" y="1253"/>
                </a:moveTo>
                <a:lnTo>
                  <a:pt x="2353" y="1258"/>
                </a:lnTo>
                <a:lnTo>
                  <a:pt x="2353" y="1257"/>
                </a:lnTo>
                <a:lnTo>
                  <a:pt x="2355" y="1253"/>
                </a:lnTo>
                <a:lnTo>
                  <a:pt x="2352" y="1252"/>
                </a:lnTo>
                <a:lnTo>
                  <a:pt x="2350" y="1253"/>
                </a:lnTo>
                <a:close/>
                <a:moveTo>
                  <a:pt x="2374" y="1264"/>
                </a:moveTo>
                <a:lnTo>
                  <a:pt x="2377" y="1258"/>
                </a:lnTo>
                <a:lnTo>
                  <a:pt x="2374" y="1258"/>
                </a:lnTo>
                <a:lnTo>
                  <a:pt x="2371" y="1258"/>
                </a:lnTo>
                <a:lnTo>
                  <a:pt x="2366" y="1261"/>
                </a:lnTo>
                <a:lnTo>
                  <a:pt x="2370" y="1265"/>
                </a:lnTo>
                <a:lnTo>
                  <a:pt x="2374" y="1264"/>
                </a:lnTo>
                <a:close/>
                <a:moveTo>
                  <a:pt x="2359" y="1263"/>
                </a:moveTo>
                <a:lnTo>
                  <a:pt x="2361" y="1264"/>
                </a:lnTo>
                <a:lnTo>
                  <a:pt x="2364" y="1263"/>
                </a:lnTo>
                <a:lnTo>
                  <a:pt x="2361" y="1261"/>
                </a:lnTo>
                <a:lnTo>
                  <a:pt x="2359" y="1263"/>
                </a:lnTo>
                <a:close/>
                <a:moveTo>
                  <a:pt x="2371" y="1187"/>
                </a:moveTo>
                <a:lnTo>
                  <a:pt x="2365" y="1186"/>
                </a:lnTo>
                <a:lnTo>
                  <a:pt x="2363" y="1186"/>
                </a:lnTo>
                <a:lnTo>
                  <a:pt x="2368" y="1190"/>
                </a:lnTo>
                <a:lnTo>
                  <a:pt x="2371" y="1187"/>
                </a:lnTo>
                <a:close/>
                <a:moveTo>
                  <a:pt x="2379" y="1523"/>
                </a:moveTo>
                <a:lnTo>
                  <a:pt x="2382" y="1523"/>
                </a:lnTo>
                <a:lnTo>
                  <a:pt x="2382" y="1521"/>
                </a:lnTo>
                <a:lnTo>
                  <a:pt x="2379" y="1521"/>
                </a:lnTo>
                <a:lnTo>
                  <a:pt x="2379" y="1523"/>
                </a:lnTo>
                <a:close/>
                <a:moveTo>
                  <a:pt x="2376" y="1521"/>
                </a:moveTo>
                <a:lnTo>
                  <a:pt x="2375" y="1521"/>
                </a:lnTo>
                <a:lnTo>
                  <a:pt x="2376" y="1523"/>
                </a:lnTo>
                <a:lnTo>
                  <a:pt x="2376" y="1521"/>
                </a:lnTo>
                <a:close/>
                <a:moveTo>
                  <a:pt x="2379" y="1526"/>
                </a:moveTo>
                <a:lnTo>
                  <a:pt x="2376" y="1529"/>
                </a:lnTo>
                <a:lnTo>
                  <a:pt x="2378" y="1530"/>
                </a:lnTo>
                <a:lnTo>
                  <a:pt x="2379" y="1530"/>
                </a:lnTo>
                <a:lnTo>
                  <a:pt x="2382" y="1526"/>
                </a:lnTo>
                <a:lnTo>
                  <a:pt x="2379" y="1529"/>
                </a:lnTo>
                <a:lnTo>
                  <a:pt x="2379" y="1526"/>
                </a:lnTo>
                <a:close/>
                <a:moveTo>
                  <a:pt x="2382" y="1266"/>
                </a:moveTo>
                <a:lnTo>
                  <a:pt x="2385" y="1269"/>
                </a:lnTo>
                <a:lnTo>
                  <a:pt x="2389" y="1268"/>
                </a:lnTo>
                <a:lnTo>
                  <a:pt x="2389" y="1264"/>
                </a:lnTo>
                <a:lnTo>
                  <a:pt x="2389" y="1263"/>
                </a:lnTo>
                <a:lnTo>
                  <a:pt x="2383" y="1263"/>
                </a:lnTo>
                <a:lnTo>
                  <a:pt x="2382" y="1266"/>
                </a:lnTo>
                <a:close/>
                <a:moveTo>
                  <a:pt x="2032" y="35"/>
                </a:moveTo>
                <a:lnTo>
                  <a:pt x="2027" y="34"/>
                </a:lnTo>
                <a:lnTo>
                  <a:pt x="2031" y="35"/>
                </a:lnTo>
                <a:lnTo>
                  <a:pt x="2032" y="35"/>
                </a:lnTo>
                <a:close/>
                <a:moveTo>
                  <a:pt x="1848" y="387"/>
                </a:moveTo>
                <a:lnTo>
                  <a:pt x="1835" y="387"/>
                </a:lnTo>
                <a:lnTo>
                  <a:pt x="1835" y="388"/>
                </a:lnTo>
                <a:lnTo>
                  <a:pt x="1840" y="389"/>
                </a:lnTo>
                <a:lnTo>
                  <a:pt x="1848" y="387"/>
                </a:lnTo>
                <a:close/>
                <a:moveTo>
                  <a:pt x="1579" y="212"/>
                </a:moveTo>
                <a:lnTo>
                  <a:pt x="1583" y="216"/>
                </a:lnTo>
                <a:lnTo>
                  <a:pt x="1597" y="215"/>
                </a:lnTo>
                <a:lnTo>
                  <a:pt x="1579" y="212"/>
                </a:lnTo>
                <a:close/>
                <a:moveTo>
                  <a:pt x="1860" y="404"/>
                </a:moveTo>
                <a:lnTo>
                  <a:pt x="1856" y="406"/>
                </a:lnTo>
                <a:lnTo>
                  <a:pt x="1866" y="407"/>
                </a:lnTo>
                <a:lnTo>
                  <a:pt x="1860" y="404"/>
                </a:lnTo>
                <a:close/>
                <a:moveTo>
                  <a:pt x="2321" y="321"/>
                </a:moveTo>
                <a:lnTo>
                  <a:pt x="2325" y="321"/>
                </a:lnTo>
                <a:lnTo>
                  <a:pt x="2322" y="319"/>
                </a:lnTo>
                <a:lnTo>
                  <a:pt x="2321" y="321"/>
                </a:lnTo>
                <a:close/>
                <a:moveTo>
                  <a:pt x="2348" y="300"/>
                </a:moveTo>
                <a:lnTo>
                  <a:pt x="2348" y="298"/>
                </a:lnTo>
                <a:lnTo>
                  <a:pt x="2344" y="296"/>
                </a:lnTo>
                <a:lnTo>
                  <a:pt x="2347" y="300"/>
                </a:lnTo>
                <a:lnTo>
                  <a:pt x="2348" y="300"/>
                </a:lnTo>
                <a:close/>
                <a:moveTo>
                  <a:pt x="2341" y="302"/>
                </a:moveTo>
                <a:lnTo>
                  <a:pt x="2343" y="300"/>
                </a:lnTo>
                <a:lnTo>
                  <a:pt x="2341" y="298"/>
                </a:lnTo>
                <a:lnTo>
                  <a:pt x="2335" y="302"/>
                </a:lnTo>
                <a:lnTo>
                  <a:pt x="2341" y="302"/>
                </a:lnTo>
                <a:close/>
                <a:moveTo>
                  <a:pt x="2341" y="258"/>
                </a:moveTo>
                <a:lnTo>
                  <a:pt x="2341" y="257"/>
                </a:lnTo>
                <a:lnTo>
                  <a:pt x="2341" y="254"/>
                </a:lnTo>
                <a:lnTo>
                  <a:pt x="2342" y="252"/>
                </a:lnTo>
                <a:lnTo>
                  <a:pt x="2341" y="243"/>
                </a:lnTo>
                <a:lnTo>
                  <a:pt x="2341" y="239"/>
                </a:lnTo>
                <a:lnTo>
                  <a:pt x="2337" y="235"/>
                </a:lnTo>
                <a:lnTo>
                  <a:pt x="2337" y="239"/>
                </a:lnTo>
                <a:lnTo>
                  <a:pt x="2340" y="241"/>
                </a:lnTo>
                <a:lnTo>
                  <a:pt x="2334" y="243"/>
                </a:lnTo>
                <a:lnTo>
                  <a:pt x="2341" y="258"/>
                </a:lnTo>
                <a:close/>
                <a:moveTo>
                  <a:pt x="2248" y="451"/>
                </a:moveTo>
                <a:lnTo>
                  <a:pt x="2251" y="453"/>
                </a:lnTo>
                <a:lnTo>
                  <a:pt x="2248" y="457"/>
                </a:lnTo>
                <a:lnTo>
                  <a:pt x="2243" y="456"/>
                </a:lnTo>
                <a:lnTo>
                  <a:pt x="2247" y="459"/>
                </a:lnTo>
                <a:lnTo>
                  <a:pt x="2241" y="459"/>
                </a:lnTo>
                <a:lnTo>
                  <a:pt x="2243" y="462"/>
                </a:lnTo>
                <a:lnTo>
                  <a:pt x="2232" y="465"/>
                </a:lnTo>
                <a:lnTo>
                  <a:pt x="2217" y="471"/>
                </a:lnTo>
                <a:lnTo>
                  <a:pt x="2214" y="471"/>
                </a:lnTo>
                <a:lnTo>
                  <a:pt x="2212" y="470"/>
                </a:lnTo>
                <a:lnTo>
                  <a:pt x="2205" y="468"/>
                </a:lnTo>
                <a:lnTo>
                  <a:pt x="2205" y="475"/>
                </a:lnTo>
                <a:lnTo>
                  <a:pt x="2202" y="475"/>
                </a:lnTo>
                <a:lnTo>
                  <a:pt x="2195" y="476"/>
                </a:lnTo>
                <a:lnTo>
                  <a:pt x="2189" y="472"/>
                </a:lnTo>
                <a:lnTo>
                  <a:pt x="2189" y="475"/>
                </a:lnTo>
                <a:lnTo>
                  <a:pt x="2185" y="475"/>
                </a:lnTo>
                <a:lnTo>
                  <a:pt x="2185" y="478"/>
                </a:lnTo>
                <a:lnTo>
                  <a:pt x="2184" y="477"/>
                </a:lnTo>
                <a:lnTo>
                  <a:pt x="2184" y="476"/>
                </a:lnTo>
                <a:lnTo>
                  <a:pt x="2183" y="476"/>
                </a:lnTo>
                <a:lnTo>
                  <a:pt x="2181" y="474"/>
                </a:lnTo>
                <a:lnTo>
                  <a:pt x="2181" y="471"/>
                </a:lnTo>
                <a:lnTo>
                  <a:pt x="2176" y="478"/>
                </a:lnTo>
                <a:lnTo>
                  <a:pt x="2179" y="483"/>
                </a:lnTo>
                <a:lnTo>
                  <a:pt x="2172" y="483"/>
                </a:lnTo>
                <a:lnTo>
                  <a:pt x="2172" y="478"/>
                </a:lnTo>
                <a:lnTo>
                  <a:pt x="2169" y="479"/>
                </a:lnTo>
                <a:lnTo>
                  <a:pt x="2168" y="479"/>
                </a:lnTo>
                <a:lnTo>
                  <a:pt x="2168" y="483"/>
                </a:lnTo>
                <a:lnTo>
                  <a:pt x="2164" y="483"/>
                </a:lnTo>
                <a:lnTo>
                  <a:pt x="2157" y="481"/>
                </a:lnTo>
                <a:lnTo>
                  <a:pt x="2158" y="478"/>
                </a:lnTo>
                <a:lnTo>
                  <a:pt x="2156" y="480"/>
                </a:lnTo>
                <a:lnTo>
                  <a:pt x="2154" y="480"/>
                </a:lnTo>
                <a:lnTo>
                  <a:pt x="2153" y="479"/>
                </a:lnTo>
                <a:lnTo>
                  <a:pt x="2156" y="479"/>
                </a:lnTo>
                <a:lnTo>
                  <a:pt x="2150" y="479"/>
                </a:lnTo>
                <a:lnTo>
                  <a:pt x="2140" y="467"/>
                </a:lnTo>
                <a:lnTo>
                  <a:pt x="2140" y="469"/>
                </a:lnTo>
                <a:lnTo>
                  <a:pt x="2140" y="471"/>
                </a:lnTo>
                <a:lnTo>
                  <a:pt x="2145" y="475"/>
                </a:lnTo>
                <a:lnTo>
                  <a:pt x="2148" y="479"/>
                </a:lnTo>
                <a:lnTo>
                  <a:pt x="2143" y="479"/>
                </a:lnTo>
                <a:lnTo>
                  <a:pt x="2150" y="480"/>
                </a:lnTo>
                <a:lnTo>
                  <a:pt x="2148" y="487"/>
                </a:lnTo>
                <a:lnTo>
                  <a:pt x="2142" y="487"/>
                </a:lnTo>
                <a:lnTo>
                  <a:pt x="2138" y="490"/>
                </a:lnTo>
                <a:lnTo>
                  <a:pt x="2131" y="490"/>
                </a:lnTo>
                <a:lnTo>
                  <a:pt x="2134" y="491"/>
                </a:lnTo>
                <a:lnTo>
                  <a:pt x="2128" y="494"/>
                </a:lnTo>
                <a:lnTo>
                  <a:pt x="2128" y="497"/>
                </a:lnTo>
                <a:lnTo>
                  <a:pt x="2126" y="498"/>
                </a:lnTo>
                <a:lnTo>
                  <a:pt x="2131" y="502"/>
                </a:lnTo>
                <a:lnTo>
                  <a:pt x="2124" y="509"/>
                </a:lnTo>
                <a:lnTo>
                  <a:pt x="2121" y="507"/>
                </a:lnTo>
                <a:lnTo>
                  <a:pt x="2119" y="513"/>
                </a:lnTo>
                <a:lnTo>
                  <a:pt x="2115" y="518"/>
                </a:lnTo>
                <a:lnTo>
                  <a:pt x="2112" y="517"/>
                </a:lnTo>
                <a:lnTo>
                  <a:pt x="2112" y="518"/>
                </a:lnTo>
                <a:lnTo>
                  <a:pt x="2108" y="524"/>
                </a:lnTo>
                <a:lnTo>
                  <a:pt x="2105" y="525"/>
                </a:lnTo>
                <a:lnTo>
                  <a:pt x="2104" y="524"/>
                </a:lnTo>
                <a:lnTo>
                  <a:pt x="2104" y="522"/>
                </a:lnTo>
                <a:lnTo>
                  <a:pt x="2103" y="525"/>
                </a:lnTo>
                <a:lnTo>
                  <a:pt x="2105" y="527"/>
                </a:lnTo>
                <a:lnTo>
                  <a:pt x="2103" y="527"/>
                </a:lnTo>
                <a:lnTo>
                  <a:pt x="2101" y="527"/>
                </a:lnTo>
                <a:lnTo>
                  <a:pt x="2101" y="527"/>
                </a:lnTo>
                <a:lnTo>
                  <a:pt x="2100" y="527"/>
                </a:lnTo>
                <a:lnTo>
                  <a:pt x="2101" y="527"/>
                </a:lnTo>
                <a:lnTo>
                  <a:pt x="2100" y="527"/>
                </a:lnTo>
                <a:lnTo>
                  <a:pt x="2100" y="527"/>
                </a:lnTo>
                <a:lnTo>
                  <a:pt x="2100" y="526"/>
                </a:lnTo>
                <a:lnTo>
                  <a:pt x="2094" y="524"/>
                </a:lnTo>
                <a:lnTo>
                  <a:pt x="2098" y="527"/>
                </a:lnTo>
                <a:lnTo>
                  <a:pt x="2096" y="527"/>
                </a:lnTo>
                <a:lnTo>
                  <a:pt x="2096" y="529"/>
                </a:lnTo>
                <a:lnTo>
                  <a:pt x="2087" y="535"/>
                </a:lnTo>
                <a:lnTo>
                  <a:pt x="2087" y="536"/>
                </a:lnTo>
                <a:lnTo>
                  <a:pt x="2086" y="534"/>
                </a:lnTo>
                <a:lnTo>
                  <a:pt x="2088" y="531"/>
                </a:lnTo>
                <a:lnTo>
                  <a:pt x="2080" y="531"/>
                </a:lnTo>
                <a:lnTo>
                  <a:pt x="2080" y="531"/>
                </a:lnTo>
                <a:lnTo>
                  <a:pt x="2080" y="533"/>
                </a:lnTo>
                <a:lnTo>
                  <a:pt x="2076" y="536"/>
                </a:lnTo>
                <a:lnTo>
                  <a:pt x="2076" y="533"/>
                </a:lnTo>
                <a:lnTo>
                  <a:pt x="2076" y="535"/>
                </a:lnTo>
                <a:lnTo>
                  <a:pt x="2075" y="535"/>
                </a:lnTo>
                <a:lnTo>
                  <a:pt x="2076" y="538"/>
                </a:lnTo>
                <a:lnTo>
                  <a:pt x="2075" y="537"/>
                </a:lnTo>
                <a:lnTo>
                  <a:pt x="2070" y="536"/>
                </a:lnTo>
                <a:lnTo>
                  <a:pt x="2073" y="537"/>
                </a:lnTo>
                <a:lnTo>
                  <a:pt x="2070" y="536"/>
                </a:lnTo>
                <a:lnTo>
                  <a:pt x="2073" y="540"/>
                </a:lnTo>
                <a:lnTo>
                  <a:pt x="2069" y="543"/>
                </a:lnTo>
                <a:lnTo>
                  <a:pt x="2067" y="543"/>
                </a:lnTo>
                <a:lnTo>
                  <a:pt x="2060" y="543"/>
                </a:lnTo>
                <a:lnTo>
                  <a:pt x="2060" y="539"/>
                </a:lnTo>
                <a:lnTo>
                  <a:pt x="2060" y="539"/>
                </a:lnTo>
                <a:lnTo>
                  <a:pt x="2058" y="541"/>
                </a:lnTo>
                <a:lnTo>
                  <a:pt x="2053" y="540"/>
                </a:lnTo>
                <a:lnTo>
                  <a:pt x="2053" y="543"/>
                </a:lnTo>
                <a:lnTo>
                  <a:pt x="2053" y="543"/>
                </a:lnTo>
                <a:lnTo>
                  <a:pt x="2050" y="545"/>
                </a:lnTo>
                <a:lnTo>
                  <a:pt x="2051" y="543"/>
                </a:lnTo>
                <a:lnTo>
                  <a:pt x="2047" y="543"/>
                </a:lnTo>
                <a:lnTo>
                  <a:pt x="2043" y="540"/>
                </a:lnTo>
                <a:lnTo>
                  <a:pt x="2046" y="543"/>
                </a:lnTo>
                <a:lnTo>
                  <a:pt x="2043" y="545"/>
                </a:lnTo>
                <a:lnTo>
                  <a:pt x="2038" y="540"/>
                </a:lnTo>
                <a:lnTo>
                  <a:pt x="2036" y="543"/>
                </a:lnTo>
                <a:lnTo>
                  <a:pt x="2036" y="545"/>
                </a:lnTo>
                <a:lnTo>
                  <a:pt x="2031" y="543"/>
                </a:lnTo>
                <a:lnTo>
                  <a:pt x="2031" y="545"/>
                </a:lnTo>
                <a:lnTo>
                  <a:pt x="2036" y="547"/>
                </a:lnTo>
                <a:lnTo>
                  <a:pt x="2035" y="548"/>
                </a:lnTo>
                <a:lnTo>
                  <a:pt x="2038" y="551"/>
                </a:lnTo>
                <a:lnTo>
                  <a:pt x="2031" y="556"/>
                </a:lnTo>
                <a:lnTo>
                  <a:pt x="2025" y="552"/>
                </a:lnTo>
                <a:lnTo>
                  <a:pt x="2024" y="556"/>
                </a:lnTo>
                <a:lnTo>
                  <a:pt x="2019" y="554"/>
                </a:lnTo>
                <a:lnTo>
                  <a:pt x="2017" y="558"/>
                </a:lnTo>
                <a:lnTo>
                  <a:pt x="2024" y="564"/>
                </a:lnTo>
                <a:lnTo>
                  <a:pt x="2024" y="569"/>
                </a:lnTo>
                <a:lnTo>
                  <a:pt x="2028" y="575"/>
                </a:lnTo>
                <a:lnTo>
                  <a:pt x="2024" y="575"/>
                </a:lnTo>
                <a:lnTo>
                  <a:pt x="2024" y="575"/>
                </a:lnTo>
                <a:lnTo>
                  <a:pt x="2024" y="575"/>
                </a:lnTo>
                <a:lnTo>
                  <a:pt x="2022" y="575"/>
                </a:lnTo>
                <a:lnTo>
                  <a:pt x="2023" y="575"/>
                </a:lnTo>
                <a:lnTo>
                  <a:pt x="2022" y="575"/>
                </a:lnTo>
                <a:lnTo>
                  <a:pt x="2012" y="576"/>
                </a:lnTo>
                <a:lnTo>
                  <a:pt x="2014" y="577"/>
                </a:lnTo>
                <a:lnTo>
                  <a:pt x="2025" y="580"/>
                </a:lnTo>
                <a:lnTo>
                  <a:pt x="2023" y="583"/>
                </a:lnTo>
                <a:lnTo>
                  <a:pt x="2025" y="583"/>
                </a:lnTo>
                <a:lnTo>
                  <a:pt x="2027" y="587"/>
                </a:lnTo>
                <a:lnTo>
                  <a:pt x="2020" y="587"/>
                </a:lnTo>
                <a:lnTo>
                  <a:pt x="2013" y="583"/>
                </a:lnTo>
                <a:lnTo>
                  <a:pt x="2012" y="586"/>
                </a:lnTo>
                <a:lnTo>
                  <a:pt x="2020" y="590"/>
                </a:lnTo>
                <a:lnTo>
                  <a:pt x="2024" y="595"/>
                </a:lnTo>
                <a:lnTo>
                  <a:pt x="2019" y="595"/>
                </a:lnTo>
                <a:lnTo>
                  <a:pt x="2017" y="595"/>
                </a:lnTo>
                <a:lnTo>
                  <a:pt x="2016" y="595"/>
                </a:lnTo>
                <a:lnTo>
                  <a:pt x="2016" y="594"/>
                </a:lnTo>
                <a:lnTo>
                  <a:pt x="2015" y="594"/>
                </a:lnTo>
                <a:lnTo>
                  <a:pt x="2012" y="592"/>
                </a:lnTo>
                <a:lnTo>
                  <a:pt x="2017" y="597"/>
                </a:lnTo>
                <a:lnTo>
                  <a:pt x="2010" y="592"/>
                </a:lnTo>
                <a:lnTo>
                  <a:pt x="2016" y="597"/>
                </a:lnTo>
                <a:lnTo>
                  <a:pt x="2017" y="600"/>
                </a:lnTo>
                <a:lnTo>
                  <a:pt x="2013" y="598"/>
                </a:lnTo>
                <a:lnTo>
                  <a:pt x="2006" y="594"/>
                </a:lnTo>
                <a:lnTo>
                  <a:pt x="2013" y="604"/>
                </a:lnTo>
                <a:lnTo>
                  <a:pt x="2012" y="604"/>
                </a:lnTo>
                <a:lnTo>
                  <a:pt x="2005" y="600"/>
                </a:lnTo>
                <a:lnTo>
                  <a:pt x="2010" y="607"/>
                </a:lnTo>
                <a:lnTo>
                  <a:pt x="2012" y="607"/>
                </a:lnTo>
                <a:lnTo>
                  <a:pt x="2011" y="608"/>
                </a:lnTo>
                <a:lnTo>
                  <a:pt x="2012" y="608"/>
                </a:lnTo>
                <a:lnTo>
                  <a:pt x="2011" y="608"/>
                </a:lnTo>
                <a:lnTo>
                  <a:pt x="2008" y="612"/>
                </a:lnTo>
                <a:lnTo>
                  <a:pt x="2001" y="612"/>
                </a:lnTo>
                <a:lnTo>
                  <a:pt x="2006" y="610"/>
                </a:lnTo>
                <a:lnTo>
                  <a:pt x="2000" y="609"/>
                </a:lnTo>
                <a:lnTo>
                  <a:pt x="2000" y="610"/>
                </a:lnTo>
                <a:lnTo>
                  <a:pt x="2000" y="606"/>
                </a:lnTo>
                <a:lnTo>
                  <a:pt x="1996" y="607"/>
                </a:lnTo>
                <a:lnTo>
                  <a:pt x="1996" y="609"/>
                </a:lnTo>
                <a:lnTo>
                  <a:pt x="1997" y="612"/>
                </a:lnTo>
                <a:lnTo>
                  <a:pt x="1988" y="612"/>
                </a:lnTo>
                <a:lnTo>
                  <a:pt x="1988" y="612"/>
                </a:lnTo>
                <a:lnTo>
                  <a:pt x="2000" y="616"/>
                </a:lnTo>
                <a:lnTo>
                  <a:pt x="2000" y="619"/>
                </a:lnTo>
                <a:lnTo>
                  <a:pt x="1991" y="617"/>
                </a:lnTo>
                <a:lnTo>
                  <a:pt x="2001" y="623"/>
                </a:lnTo>
                <a:lnTo>
                  <a:pt x="2000" y="627"/>
                </a:lnTo>
                <a:lnTo>
                  <a:pt x="1997" y="632"/>
                </a:lnTo>
                <a:lnTo>
                  <a:pt x="1998" y="632"/>
                </a:lnTo>
                <a:lnTo>
                  <a:pt x="2001" y="635"/>
                </a:lnTo>
                <a:lnTo>
                  <a:pt x="2000" y="636"/>
                </a:lnTo>
                <a:lnTo>
                  <a:pt x="1992" y="636"/>
                </a:lnTo>
                <a:lnTo>
                  <a:pt x="2000" y="638"/>
                </a:lnTo>
                <a:lnTo>
                  <a:pt x="1998" y="639"/>
                </a:lnTo>
                <a:lnTo>
                  <a:pt x="1989" y="637"/>
                </a:lnTo>
                <a:lnTo>
                  <a:pt x="1996" y="639"/>
                </a:lnTo>
                <a:lnTo>
                  <a:pt x="1996" y="641"/>
                </a:lnTo>
                <a:lnTo>
                  <a:pt x="1996" y="644"/>
                </a:lnTo>
                <a:lnTo>
                  <a:pt x="1993" y="645"/>
                </a:lnTo>
                <a:lnTo>
                  <a:pt x="1997" y="648"/>
                </a:lnTo>
                <a:lnTo>
                  <a:pt x="1990" y="648"/>
                </a:lnTo>
                <a:lnTo>
                  <a:pt x="1994" y="652"/>
                </a:lnTo>
                <a:lnTo>
                  <a:pt x="1991" y="652"/>
                </a:lnTo>
                <a:lnTo>
                  <a:pt x="1989" y="653"/>
                </a:lnTo>
                <a:lnTo>
                  <a:pt x="1985" y="652"/>
                </a:lnTo>
                <a:lnTo>
                  <a:pt x="1985" y="652"/>
                </a:lnTo>
                <a:lnTo>
                  <a:pt x="1994" y="656"/>
                </a:lnTo>
                <a:lnTo>
                  <a:pt x="1982" y="656"/>
                </a:lnTo>
                <a:lnTo>
                  <a:pt x="1994" y="657"/>
                </a:lnTo>
                <a:lnTo>
                  <a:pt x="1990" y="660"/>
                </a:lnTo>
                <a:lnTo>
                  <a:pt x="1992" y="660"/>
                </a:lnTo>
                <a:lnTo>
                  <a:pt x="1994" y="660"/>
                </a:lnTo>
                <a:lnTo>
                  <a:pt x="1990" y="664"/>
                </a:lnTo>
                <a:lnTo>
                  <a:pt x="1987" y="664"/>
                </a:lnTo>
                <a:lnTo>
                  <a:pt x="1985" y="663"/>
                </a:lnTo>
                <a:lnTo>
                  <a:pt x="1981" y="667"/>
                </a:lnTo>
                <a:lnTo>
                  <a:pt x="1988" y="665"/>
                </a:lnTo>
                <a:lnTo>
                  <a:pt x="1988" y="668"/>
                </a:lnTo>
                <a:lnTo>
                  <a:pt x="1988" y="671"/>
                </a:lnTo>
                <a:lnTo>
                  <a:pt x="1986" y="673"/>
                </a:lnTo>
                <a:lnTo>
                  <a:pt x="1982" y="671"/>
                </a:lnTo>
                <a:lnTo>
                  <a:pt x="1984" y="673"/>
                </a:lnTo>
                <a:lnTo>
                  <a:pt x="1982" y="674"/>
                </a:lnTo>
                <a:lnTo>
                  <a:pt x="1978" y="673"/>
                </a:lnTo>
                <a:lnTo>
                  <a:pt x="1974" y="669"/>
                </a:lnTo>
                <a:lnTo>
                  <a:pt x="1975" y="667"/>
                </a:lnTo>
                <a:lnTo>
                  <a:pt x="1972" y="665"/>
                </a:lnTo>
                <a:lnTo>
                  <a:pt x="1972" y="667"/>
                </a:lnTo>
                <a:lnTo>
                  <a:pt x="1968" y="670"/>
                </a:lnTo>
                <a:lnTo>
                  <a:pt x="1967" y="674"/>
                </a:lnTo>
                <a:lnTo>
                  <a:pt x="1958" y="673"/>
                </a:lnTo>
                <a:lnTo>
                  <a:pt x="1960" y="672"/>
                </a:lnTo>
                <a:lnTo>
                  <a:pt x="1964" y="672"/>
                </a:lnTo>
                <a:lnTo>
                  <a:pt x="1969" y="663"/>
                </a:lnTo>
                <a:lnTo>
                  <a:pt x="1964" y="668"/>
                </a:lnTo>
                <a:lnTo>
                  <a:pt x="1958" y="669"/>
                </a:lnTo>
                <a:lnTo>
                  <a:pt x="1967" y="656"/>
                </a:lnTo>
                <a:lnTo>
                  <a:pt x="1958" y="663"/>
                </a:lnTo>
                <a:lnTo>
                  <a:pt x="1957" y="662"/>
                </a:lnTo>
                <a:lnTo>
                  <a:pt x="1960" y="659"/>
                </a:lnTo>
                <a:lnTo>
                  <a:pt x="1954" y="663"/>
                </a:lnTo>
                <a:lnTo>
                  <a:pt x="1951" y="660"/>
                </a:lnTo>
                <a:lnTo>
                  <a:pt x="1949" y="660"/>
                </a:lnTo>
                <a:lnTo>
                  <a:pt x="1951" y="656"/>
                </a:lnTo>
                <a:lnTo>
                  <a:pt x="1949" y="656"/>
                </a:lnTo>
                <a:lnTo>
                  <a:pt x="1946" y="660"/>
                </a:lnTo>
                <a:lnTo>
                  <a:pt x="1945" y="660"/>
                </a:lnTo>
                <a:lnTo>
                  <a:pt x="1947" y="655"/>
                </a:lnTo>
                <a:lnTo>
                  <a:pt x="1953" y="651"/>
                </a:lnTo>
                <a:lnTo>
                  <a:pt x="1958" y="648"/>
                </a:lnTo>
                <a:lnTo>
                  <a:pt x="1955" y="648"/>
                </a:lnTo>
                <a:lnTo>
                  <a:pt x="1952" y="645"/>
                </a:lnTo>
                <a:lnTo>
                  <a:pt x="1952" y="648"/>
                </a:lnTo>
                <a:lnTo>
                  <a:pt x="1951" y="650"/>
                </a:lnTo>
                <a:lnTo>
                  <a:pt x="1944" y="653"/>
                </a:lnTo>
                <a:lnTo>
                  <a:pt x="1935" y="656"/>
                </a:lnTo>
                <a:lnTo>
                  <a:pt x="1935" y="656"/>
                </a:lnTo>
                <a:lnTo>
                  <a:pt x="1944" y="651"/>
                </a:lnTo>
                <a:lnTo>
                  <a:pt x="1944" y="651"/>
                </a:lnTo>
                <a:lnTo>
                  <a:pt x="1941" y="649"/>
                </a:lnTo>
                <a:lnTo>
                  <a:pt x="1939" y="653"/>
                </a:lnTo>
                <a:lnTo>
                  <a:pt x="1935" y="652"/>
                </a:lnTo>
                <a:lnTo>
                  <a:pt x="1935" y="654"/>
                </a:lnTo>
                <a:lnTo>
                  <a:pt x="1935" y="656"/>
                </a:lnTo>
                <a:lnTo>
                  <a:pt x="1934" y="656"/>
                </a:lnTo>
                <a:lnTo>
                  <a:pt x="1934" y="653"/>
                </a:lnTo>
                <a:lnTo>
                  <a:pt x="1920" y="656"/>
                </a:lnTo>
                <a:lnTo>
                  <a:pt x="1922" y="656"/>
                </a:lnTo>
                <a:lnTo>
                  <a:pt x="1920" y="660"/>
                </a:lnTo>
                <a:lnTo>
                  <a:pt x="1924" y="660"/>
                </a:lnTo>
                <a:lnTo>
                  <a:pt x="1920" y="661"/>
                </a:lnTo>
                <a:lnTo>
                  <a:pt x="1913" y="655"/>
                </a:lnTo>
                <a:lnTo>
                  <a:pt x="1919" y="652"/>
                </a:lnTo>
                <a:lnTo>
                  <a:pt x="1915" y="652"/>
                </a:lnTo>
                <a:lnTo>
                  <a:pt x="1915" y="651"/>
                </a:lnTo>
                <a:lnTo>
                  <a:pt x="1912" y="651"/>
                </a:lnTo>
                <a:lnTo>
                  <a:pt x="1915" y="651"/>
                </a:lnTo>
                <a:lnTo>
                  <a:pt x="1915" y="650"/>
                </a:lnTo>
                <a:lnTo>
                  <a:pt x="1911" y="648"/>
                </a:lnTo>
                <a:lnTo>
                  <a:pt x="1911" y="648"/>
                </a:lnTo>
                <a:lnTo>
                  <a:pt x="1908" y="648"/>
                </a:lnTo>
                <a:lnTo>
                  <a:pt x="1912" y="644"/>
                </a:lnTo>
                <a:lnTo>
                  <a:pt x="1901" y="641"/>
                </a:lnTo>
                <a:lnTo>
                  <a:pt x="1904" y="641"/>
                </a:lnTo>
                <a:lnTo>
                  <a:pt x="1899" y="640"/>
                </a:lnTo>
                <a:lnTo>
                  <a:pt x="1905" y="640"/>
                </a:lnTo>
                <a:lnTo>
                  <a:pt x="1904" y="641"/>
                </a:lnTo>
                <a:lnTo>
                  <a:pt x="1915" y="639"/>
                </a:lnTo>
                <a:lnTo>
                  <a:pt x="1912" y="637"/>
                </a:lnTo>
                <a:lnTo>
                  <a:pt x="1906" y="640"/>
                </a:lnTo>
                <a:lnTo>
                  <a:pt x="1904" y="640"/>
                </a:lnTo>
                <a:lnTo>
                  <a:pt x="1899" y="640"/>
                </a:lnTo>
                <a:lnTo>
                  <a:pt x="1899" y="635"/>
                </a:lnTo>
                <a:lnTo>
                  <a:pt x="1899" y="635"/>
                </a:lnTo>
                <a:lnTo>
                  <a:pt x="1897" y="633"/>
                </a:lnTo>
                <a:lnTo>
                  <a:pt x="1899" y="629"/>
                </a:lnTo>
                <a:lnTo>
                  <a:pt x="1895" y="632"/>
                </a:lnTo>
                <a:lnTo>
                  <a:pt x="1895" y="629"/>
                </a:lnTo>
                <a:lnTo>
                  <a:pt x="1903" y="628"/>
                </a:lnTo>
                <a:lnTo>
                  <a:pt x="1899" y="626"/>
                </a:lnTo>
                <a:lnTo>
                  <a:pt x="1899" y="625"/>
                </a:lnTo>
                <a:lnTo>
                  <a:pt x="1899" y="624"/>
                </a:lnTo>
                <a:lnTo>
                  <a:pt x="1899" y="624"/>
                </a:lnTo>
                <a:lnTo>
                  <a:pt x="1899" y="624"/>
                </a:lnTo>
                <a:lnTo>
                  <a:pt x="1899" y="624"/>
                </a:lnTo>
                <a:lnTo>
                  <a:pt x="1897" y="624"/>
                </a:lnTo>
                <a:lnTo>
                  <a:pt x="1894" y="624"/>
                </a:lnTo>
                <a:lnTo>
                  <a:pt x="1891" y="624"/>
                </a:lnTo>
                <a:lnTo>
                  <a:pt x="1883" y="617"/>
                </a:lnTo>
                <a:lnTo>
                  <a:pt x="1883" y="612"/>
                </a:lnTo>
                <a:lnTo>
                  <a:pt x="1883" y="606"/>
                </a:lnTo>
                <a:lnTo>
                  <a:pt x="1879" y="610"/>
                </a:lnTo>
                <a:lnTo>
                  <a:pt x="1879" y="606"/>
                </a:lnTo>
                <a:lnTo>
                  <a:pt x="1879" y="603"/>
                </a:lnTo>
                <a:lnTo>
                  <a:pt x="1886" y="598"/>
                </a:lnTo>
                <a:lnTo>
                  <a:pt x="1876" y="600"/>
                </a:lnTo>
                <a:lnTo>
                  <a:pt x="1877" y="599"/>
                </a:lnTo>
                <a:lnTo>
                  <a:pt x="1874" y="600"/>
                </a:lnTo>
                <a:lnTo>
                  <a:pt x="1872" y="597"/>
                </a:lnTo>
                <a:lnTo>
                  <a:pt x="1885" y="595"/>
                </a:lnTo>
                <a:lnTo>
                  <a:pt x="1878" y="595"/>
                </a:lnTo>
                <a:lnTo>
                  <a:pt x="1874" y="595"/>
                </a:lnTo>
                <a:lnTo>
                  <a:pt x="1872" y="591"/>
                </a:lnTo>
                <a:lnTo>
                  <a:pt x="1874" y="591"/>
                </a:lnTo>
                <a:lnTo>
                  <a:pt x="1871" y="590"/>
                </a:lnTo>
                <a:lnTo>
                  <a:pt x="1871" y="592"/>
                </a:lnTo>
                <a:lnTo>
                  <a:pt x="1865" y="587"/>
                </a:lnTo>
                <a:lnTo>
                  <a:pt x="1873" y="582"/>
                </a:lnTo>
                <a:lnTo>
                  <a:pt x="1863" y="586"/>
                </a:lnTo>
                <a:lnTo>
                  <a:pt x="1863" y="583"/>
                </a:lnTo>
                <a:lnTo>
                  <a:pt x="1867" y="583"/>
                </a:lnTo>
                <a:lnTo>
                  <a:pt x="1867" y="582"/>
                </a:lnTo>
                <a:lnTo>
                  <a:pt x="1888" y="579"/>
                </a:lnTo>
                <a:lnTo>
                  <a:pt x="1879" y="579"/>
                </a:lnTo>
                <a:lnTo>
                  <a:pt x="1881" y="577"/>
                </a:lnTo>
                <a:lnTo>
                  <a:pt x="1875" y="578"/>
                </a:lnTo>
                <a:lnTo>
                  <a:pt x="1877" y="575"/>
                </a:lnTo>
                <a:lnTo>
                  <a:pt x="1874" y="575"/>
                </a:lnTo>
                <a:lnTo>
                  <a:pt x="1877" y="571"/>
                </a:lnTo>
                <a:lnTo>
                  <a:pt x="1882" y="572"/>
                </a:lnTo>
                <a:lnTo>
                  <a:pt x="1886" y="571"/>
                </a:lnTo>
                <a:lnTo>
                  <a:pt x="1886" y="571"/>
                </a:lnTo>
                <a:lnTo>
                  <a:pt x="1894" y="572"/>
                </a:lnTo>
                <a:lnTo>
                  <a:pt x="1888" y="568"/>
                </a:lnTo>
                <a:lnTo>
                  <a:pt x="1886" y="567"/>
                </a:lnTo>
                <a:lnTo>
                  <a:pt x="1889" y="567"/>
                </a:lnTo>
                <a:lnTo>
                  <a:pt x="1885" y="567"/>
                </a:lnTo>
                <a:lnTo>
                  <a:pt x="1888" y="561"/>
                </a:lnTo>
                <a:lnTo>
                  <a:pt x="1885" y="563"/>
                </a:lnTo>
                <a:lnTo>
                  <a:pt x="1879" y="563"/>
                </a:lnTo>
                <a:lnTo>
                  <a:pt x="1872" y="567"/>
                </a:lnTo>
                <a:lnTo>
                  <a:pt x="1871" y="567"/>
                </a:lnTo>
                <a:lnTo>
                  <a:pt x="1874" y="563"/>
                </a:lnTo>
                <a:lnTo>
                  <a:pt x="1871" y="563"/>
                </a:lnTo>
                <a:lnTo>
                  <a:pt x="1864" y="574"/>
                </a:lnTo>
                <a:lnTo>
                  <a:pt x="1859" y="575"/>
                </a:lnTo>
                <a:lnTo>
                  <a:pt x="1859" y="571"/>
                </a:lnTo>
                <a:lnTo>
                  <a:pt x="1856" y="571"/>
                </a:lnTo>
                <a:lnTo>
                  <a:pt x="1859" y="566"/>
                </a:lnTo>
                <a:lnTo>
                  <a:pt x="1856" y="564"/>
                </a:lnTo>
                <a:lnTo>
                  <a:pt x="1858" y="563"/>
                </a:lnTo>
                <a:lnTo>
                  <a:pt x="1856" y="563"/>
                </a:lnTo>
                <a:lnTo>
                  <a:pt x="1860" y="559"/>
                </a:lnTo>
                <a:lnTo>
                  <a:pt x="1859" y="559"/>
                </a:lnTo>
                <a:lnTo>
                  <a:pt x="1855" y="560"/>
                </a:lnTo>
                <a:lnTo>
                  <a:pt x="1855" y="559"/>
                </a:lnTo>
                <a:lnTo>
                  <a:pt x="1859" y="559"/>
                </a:lnTo>
                <a:lnTo>
                  <a:pt x="1855" y="556"/>
                </a:lnTo>
                <a:lnTo>
                  <a:pt x="1856" y="555"/>
                </a:lnTo>
                <a:lnTo>
                  <a:pt x="1855" y="555"/>
                </a:lnTo>
                <a:lnTo>
                  <a:pt x="1855" y="550"/>
                </a:lnTo>
                <a:lnTo>
                  <a:pt x="1853" y="552"/>
                </a:lnTo>
                <a:lnTo>
                  <a:pt x="1852" y="548"/>
                </a:lnTo>
                <a:lnTo>
                  <a:pt x="1864" y="543"/>
                </a:lnTo>
                <a:lnTo>
                  <a:pt x="1860" y="541"/>
                </a:lnTo>
                <a:lnTo>
                  <a:pt x="1864" y="540"/>
                </a:lnTo>
                <a:lnTo>
                  <a:pt x="1869" y="538"/>
                </a:lnTo>
                <a:lnTo>
                  <a:pt x="1866" y="537"/>
                </a:lnTo>
                <a:lnTo>
                  <a:pt x="1859" y="541"/>
                </a:lnTo>
                <a:lnTo>
                  <a:pt x="1859" y="543"/>
                </a:lnTo>
                <a:lnTo>
                  <a:pt x="1852" y="548"/>
                </a:lnTo>
                <a:lnTo>
                  <a:pt x="1852" y="545"/>
                </a:lnTo>
                <a:lnTo>
                  <a:pt x="1853" y="541"/>
                </a:lnTo>
                <a:lnTo>
                  <a:pt x="1851" y="543"/>
                </a:lnTo>
                <a:lnTo>
                  <a:pt x="1848" y="543"/>
                </a:lnTo>
                <a:lnTo>
                  <a:pt x="1845" y="543"/>
                </a:lnTo>
                <a:lnTo>
                  <a:pt x="1848" y="541"/>
                </a:lnTo>
                <a:lnTo>
                  <a:pt x="1842" y="543"/>
                </a:lnTo>
                <a:lnTo>
                  <a:pt x="1846" y="538"/>
                </a:lnTo>
                <a:lnTo>
                  <a:pt x="1843" y="538"/>
                </a:lnTo>
                <a:lnTo>
                  <a:pt x="1841" y="537"/>
                </a:lnTo>
                <a:lnTo>
                  <a:pt x="1846" y="532"/>
                </a:lnTo>
                <a:lnTo>
                  <a:pt x="1841" y="535"/>
                </a:lnTo>
                <a:lnTo>
                  <a:pt x="1838" y="535"/>
                </a:lnTo>
                <a:lnTo>
                  <a:pt x="1843" y="531"/>
                </a:lnTo>
                <a:lnTo>
                  <a:pt x="1838" y="530"/>
                </a:lnTo>
                <a:lnTo>
                  <a:pt x="1838" y="531"/>
                </a:lnTo>
                <a:lnTo>
                  <a:pt x="1838" y="531"/>
                </a:lnTo>
                <a:lnTo>
                  <a:pt x="1837" y="531"/>
                </a:lnTo>
                <a:lnTo>
                  <a:pt x="1838" y="530"/>
                </a:lnTo>
                <a:lnTo>
                  <a:pt x="1838" y="531"/>
                </a:lnTo>
                <a:lnTo>
                  <a:pt x="1835" y="531"/>
                </a:lnTo>
                <a:lnTo>
                  <a:pt x="1835" y="529"/>
                </a:lnTo>
                <a:lnTo>
                  <a:pt x="1834" y="529"/>
                </a:lnTo>
                <a:lnTo>
                  <a:pt x="1842" y="525"/>
                </a:lnTo>
                <a:lnTo>
                  <a:pt x="1836" y="526"/>
                </a:lnTo>
                <a:lnTo>
                  <a:pt x="1831" y="525"/>
                </a:lnTo>
                <a:lnTo>
                  <a:pt x="1831" y="520"/>
                </a:lnTo>
                <a:lnTo>
                  <a:pt x="1853" y="519"/>
                </a:lnTo>
                <a:lnTo>
                  <a:pt x="1841" y="519"/>
                </a:lnTo>
                <a:lnTo>
                  <a:pt x="1838" y="518"/>
                </a:lnTo>
                <a:lnTo>
                  <a:pt x="1852" y="515"/>
                </a:lnTo>
                <a:lnTo>
                  <a:pt x="1841" y="515"/>
                </a:lnTo>
                <a:lnTo>
                  <a:pt x="1843" y="515"/>
                </a:lnTo>
                <a:lnTo>
                  <a:pt x="1845" y="515"/>
                </a:lnTo>
                <a:lnTo>
                  <a:pt x="1855" y="515"/>
                </a:lnTo>
                <a:lnTo>
                  <a:pt x="1853" y="511"/>
                </a:lnTo>
                <a:lnTo>
                  <a:pt x="1846" y="511"/>
                </a:lnTo>
                <a:lnTo>
                  <a:pt x="1838" y="513"/>
                </a:lnTo>
                <a:lnTo>
                  <a:pt x="1840" y="511"/>
                </a:lnTo>
                <a:lnTo>
                  <a:pt x="1835" y="511"/>
                </a:lnTo>
                <a:lnTo>
                  <a:pt x="1834" y="509"/>
                </a:lnTo>
                <a:lnTo>
                  <a:pt x="1841" y="507"/>
                </a:lnTo>
                <a:lnTo>
                  <a:pt x="1834" y="507"/>
                </a:lnTo>
                <a:lnTo>
                  <a:pt x="1830" y="507"/>
                </a:lnTo>
                <a:lnTo>
                  <a:pt x="1834" y="504"/>
                </a:lnTo>
                <a:lnTo>
                  <a:pt x="1840" y="503"/>
                </a:lnTo>
                <a:lnTo>
                  <a:pt x="1837" y="503"/>
                </a:lnTo>
                <a:lnTo>
                  <a:pt x="1856" y="499"/>
                </a:lnTo>
                <a:lnTo>
                  <a:pt x="1867" y="499"/>
                </a:lnTo>
                <a:lnTo>
                  <a:pt x="1872" y="498"/>
                </a:lnTo>
                <a:lnTo>
                  <a:pt x="1841" y="498"/>
                </a:lnTo>
                <a:lnTo>
                  <a:pt x="1834" y="502"/>
                </a:lnTo>
                <a:lnTo>
                  <a:pt x="1833" y="501"/>
                </a:lnTo>
                <a:lnTo>
                  <a:pt x="1835" y="496"/>
                </a:lnTo>
                <a:lnTo>
                  <a:pt x="1837" y="495"/>
                </a:lnTo>
                <a:lnTo>
                  <a:pt x="1835" y="495"/>
                </a:lnTo>
                <a:lnTo>
                  <a:pt x="1834" y="492"/>
                </a:lnTo>
                <a:lnTo>
                  <a:pt x="1837" y="490"/>
                </a:lnTo>
                <a:lnTo>
                  <a:pt x="1837" y="490"/>
                </a:lnTo>
                <a:lnTo>
                  <a:pt x="1835" y="490"/>
                </a:lnTo>
                <a:lnTo>
                  <a:pt x="1834" y="487"/>
                </a:lnTo>
                <a:lnTo>
                  <a:pt x="1836" y="488"/>
                </a:lnTo>
                <a:lnTo>
                  <a:pt x="1835" y="487"/>
                </a:lnTo>
                <a:lnTo>
                  <a:pt x="1839" y="487"/>
                </a:lnTo>
                <a:lnTo>
                  <a:pt x="1839" y="486"/>
                </a:lnTo>
                <a:lnTo>
                  <a:pt x="1838" y="486"/>
                </a:lnTo>
                <a:lnTo>
                  <a:pt x="1839" y="486"/>
                </a:lnTo>
                <a:lnTo>
                  <a:pt x="1839" y="484"/>
                </a:lnTo>
                <a:lnTo>
                  <a:pt x="1844" y="483"/>
                </a:lnTo>
                <a:lnTo>
                  <a:pt x="1843" y="483"/>
                </a:lnTo>
                <a:lnTo>
                  <a:pt x="1839" y="483"/>
                </a:lnTo>
                <a:lnTo>
                  <a:pt x="1838" y="483"/>
                </a:lnTo>
                <a:lnTo>
                  <a:pt x="1839" y="482"/>
                </a:lnTo>
                <a:lnTo>
                  <a:pt x="1839" y="481"/>
                </a:lnTo>
                <a:lnTo>
                  <a:pt x="1839" y="482"/>
                </a:lnTo>
                <a:lnTo>
                  <a:pt x="1840" y="481"/>
                </a:lnTo>
                <a:lnTo>
                  <a:pt x="1841" y="481"/>
                </a:lnTo>
                <a:lnTo>
                  <a:pt x="1841" y="480"/>
                </a:lnTo>
                <a:lnTo>
                  <a:pt x="1854" y="480"/>
                </a:lnTo>
                <a:lnTo>
                  <a:pt x="1860" y="482"/>
                </a:lnTo>
                <a:lnTo>
                  <a:pt x="1860" y="483"/>
                </a:lnTo>
                <a:lnTo>
                  <a:pt x="1862" y="483"/>
                </a:lnTo>
                <a:lnTo>
                  <a:pt x="1861" y="481"/>
                </a:lnTo>
                <a:lnTo>
                  <a:pt x="1865" y="480"/>
                </a:lnTo>
                <a:lnTo>
                  <a:pt x="1868" y="481"/>
                </a:lnTo>
                <a:lnTo>
                  <a:pt x="1870" y="483"/>
                </a:lnTo>
                <a:lnTo>
                  <a:pt x="1872" y="483"/>
                </a:lnTo>
                <a:lnTo>
                  <a:pt x="1873" y="484"/>
                </a:lnTo>
                <a:lnTo>
                  <a:pt x="1866" y="484"/>
                </a:lnTo>
                <a:lnTo>
                  <a:pt x="1868" y="487"/>
                </a:lnTo>
                <a:lnTo>
                  <a:pt x="1864" y="491"/>
                </a:lnTo>
                <a:lnTo>
                  <a:pt x="1862" y="490"/>
                </a:lnTo>
                <a:lnTo>
                  <a:pt x="1866" y="487"/>
                </a:lnTo>
                <a:lnTo>
                  <a:pt x="1855" y="487"/>
                </a:lnTo>
                <a:lnTo>
                  <a:pt x="1866" y="483"/>
                </a:lnTo>
                <a:lnTo>
                  <a:pt x="1845" y="490"/>
                </a:lnTo>
                <a:lnTo>
                  <a:pt x="1839" y="494"/>
                </a:lnTo>
                <a:lnTo>
                  <a:pt x="1846" y="491"/>
                </a:lnTo>
                <a:lnTo>
                  <a:pt x="1852" y="491"/>
                </a:lnTo>
                <a:lnTo>
                  <a:pt x="1853" y="491"/>
                </a:lnTo>
                <a:lnTo>
                  <a:pt x="1862" y="493"/>
                </a:lnTo>
                <a:lnTo>
                  <a:pt x="1868" y="492"/>
                </a:lnTo>
                <a:lnTo>
                  <a:pt x="1878" y="499"/>
                </a:lnTo>
                <a:lnTo>
                  <a:pt x="1879" y="499"/>
                </a:lnTo>
                <a:lnTo>
                  <a:pt x="1886" y="499"/>
                </a:lnTo>
                <a:lnTo>
                  <a:pt x="1888" y="496"/>
                </a:lnTo>
                <a:lnTo>
                  <a:pt x="1879" y="495"/>
                </a:lnTo>
                <a:lnTo>
                  <a:pt x="1877" y="491"/>
                </a:lnTo>
                <a:lnTo>
                  <a:pt x="1885" y="490"/>
                </a:lnTo>
                <a:lnTo>
                  <a:pt x="1874" y="492"/>
                </a:lnTo>
                <a:lnTo>
                  <a:pt x="1871" y="490"/>
                </a:lnTo>
                <a:lnTo>
                  <a:pt x="1871" y="490"/>
                </a:lnTo>
                <a:lnTo>
                  <a:pt x="1868" y="487"/>
                </a:lnTo>
                <a:lnTo>
                  <a:pt x="1875" y="487"/>
                </a:lnTo>
                <a:lnTo>
                  <a:pt x="1874" y="484"/>
                </a:lnTo>
                <a:lnTo>
                  <a:pt x="1875" y="485"/>
                </a:lnTo>
                <a:lnTo>
                  <a:pt x="1875" y="487"/>
                </a:lnTo>
                <a:lnTo>
                  <a:pt x="1878" y="487"/>
                </a:lnTo>
                <a:lnTo>
                  <a:pt x="1873" y="489"/>
                </a:lnTo>
                <a:lnTo>
                  <a:pt x="1879" y="487"/>
                </a:lnTo>
                <a:lnTo>
                  <a:pt x="1879" y="487"/>
                </a:lnTo>
                <a:lnTo>
                  <a:pt x="1886" y="487"/>
                </a:lnTo>
                <a:lnTo>
                  <a:pt x="1870" y="481"/>
                </a:lnTo>
                <a:lnTo>
                  <a:pt x="1868" y="481"/>
                </a:lnTo>
                <a:lnTo>
                  <a:pt x="1867" y="479"/>
                </a:lnTo>
                <a:lnTo>
                  <a:pt x="1875" y="479"/>
                </a:lnTo>
                <a:lnTo>
                  <a:pt x="1870" y="477"/>
                </a:lnTo>
                <a:lnTo>
                  <a:pt x="1871" y="474"/>
                </a:lnTo>
                <a:lnTo>
                  <a:pt x="1871" y="472"/>
                </a:lnTo>
                <a:lnTo>
                  <a:pt x="1877" y="469"/>
                </a:lnTo>
                <a:lnTo>
                  <a:pt x="1866" y="472"/>
                </a:lnTo>
                <a:lnTo>
                  <a:pt x="1871" y="475"/>
                </a:lnTo>
                <a:lnTo>
                  <a:pt x="1864" y="477"/>
                </a:lnTo>
                <a:lnTo>
                  <a:pt x="1855" y="478"/>
                </a:lnTo>
                <a:lnTo>
                  <a:pt x="1857" y="478"/>
                </a:lnTo>
                <a:lnTo>
                  <a:pt x="1853" y="479"/>
                </a:lnTo>
                <a:lnTo>
                  <a:pt x="1852" y="479"/>
                </a:lnTo>
                <a:lnTo>
                  <a:pt x="1846" y="479"/>
                </a:lnTo>
                <a:lnTo>
                  <a:pt x="1848" y="476"/>
                </a:lnTo>
                <a:lnTo>
                  <a:pt x="1839" y="476"/>
                </a:lnTo>
                <a:lnTo>
                  <a:pt x="1839" y="475"/>
                </a:lnTo>
                <a:lnTo>
                  <a:pt x="1843" y="475"/>
                </a:lnTo>
                <a:lnTo>
                  <a:pt x="1853" y="471"/>
                </a:lnTo>
                <a:lnTo>
                  <a:pt x="1860" y="471"/>
                </a:lnTo>
                <a:lnTo>
                  <a:pt x="1865" y="470"/>
                </a:lnTo>
                <a:lnTo>
                  <a:pt x="1875" y="467"/>
                </a:lnTo>
                <a:lnTo>
                  <a:pt x="1875" y="464"/>
                </a:lnTo>
                <a:lnTo>
                  <a:pt x="1873" y="463"/>
                </a:lnTo>
                <a:lnTo>
                  <a:pt x="1871" y="464"/>
                </a:lnTo>
                <a:lnTo>
                  <a:pt x="1875" y="459"/>
                </a:lnTo>
                <a:lnTo>
                  <a:pt x="1872" y="459"/>
                </a:lnTo>
                <a:lnTo>
                  <a:pt x="1874" y="455"/>
                </a:lnTo>
                <a:lnTo>
                  <a:pt x="1872" y="455"/>
                </a:lnTo>
                <a:lnTo>
                  <a:pt x="1877" y="448"/>
                </a:lnTo>
                <a:lnTo>
                  <a:pt x="1886" y="447"/>
                </a:lnTo>
                <a:lnTo>
                  <a:pt x="1875" y="447"/>
                </a:lnTo>
                <a:lnTo>
                  <a:pt x="1877" y="442"/>
                </a:lnTo>
                <a:lnTo>
                  <a:pt x="1882" y="441"/>
                </a:lnTo>
                <a:lnTo>
                  <a:pt x="1877" y="439"/>
                </a:lnTo>
                <a:lnTo>
                  <a:pt x="1879" y="439"/>
                </a:lnTo>
                <a:lnTo>
                  <a:pt x="1886" y="439"/>
                </a:lnTo>
                <a:lnTo>
                  <a:pt x="1885" y="434"/>
                </a:lnTo>
                <a:lnTo>
                  <a:pt x="1879" y="432"/>
                </a:lnTo>
                <a:lnTo>
                  <a:pt x="1885" y="430"/>
                </a:lnTo>
                <a:lnTo>
                  <a:pt x="1871" y="432"/>
                </a:lnTo>
                <a:lnTo>
                  <a:pt x="1877" y="430"/>
                </a:lnTo>
                <a:lnTo>
                  <a:pt x="1871" y="429"/>
                </a:lnTo>
                <a:lnTo>
                  <a:pt x="1867" y="432"/>
                </a:lnTo>
                <a:lnTo>
                  <a:pt x="1855" y="429"/>
                </a:lnTo>
                <a:lnTo>
                  <a:pt x="1849" y="423"/>
                </a:lnTo>
                <a:lnTo>
                  <a:pt x="1833" y="421"/>
                </a:lnTo>
                <a:lnTo>
                  <a:pt x="1821" y="411"/>
                </a:lnTo>
                <a:lnTo>
                  <a:pt x="1829" y="407"/>
                </a:lnTo>
                <a:lnTo>
                  <a:pt x="1849" y="410"/>
                </a:lnTo>
                <a:lnTo>
                  <a:pt x="1866" y="418"/>
                </a:lnTo>
                <a:lnTo>
                  <a:pt x="1879" y="422"/>
                </a:lnTo>
                <a:lnTo>
                  <a:pt x="1881" y="421"/>
                </a:lnTo>
                <a:lnTo>
                  <a:pt x="1878" y="418"/>
                </a:lnTo>
                <a:lnTo>
                  <a:pt x="1881" y="417"/>
                </a:lnTo>
                <a:lnTo>
                  <a:pt x="1875" y="418"/>
                </a:lnTo>
                <a:lnTo>
                  <a:pt x="1868" y="415"/>
                </a:lnTo>
                <a:lnTo>
                  <a:pt x="1871" y="414"/>
                </a:lnTo>
                <a:lnTo>
                  <a:pt x="1875" y="417"/>
                </a:lnTo>
                <a:lnTo>
                  <a:pt x="1878" y="416"/>
                </a:lnTo>
                <a:lnTo>
                  <a:pt x="1874" y="415"/>
                </a:lnTo>
                <a:lnTo>
                  <a:pt x="1879" y="415"/>
                </a:lnTo>
                <a:lnTo>
                  <a:pt x="1867" y="411"/>
                </a:lnTo>
                <a:lnTo>
                  <a:pt x="1871" y="410"/>
                </a:lnTo>
                <a:lnTo>
                  <a:pt x="1879" y="411"/>
                </a:lnTo>
                <a:lnTo>
                  <a:pt x="1875" y="410"/>
                </a:lnTo>
                <a:lnTo>
                  <a:pt x="1877" y="407"/>
                </a:lnTo>
                <a:lnTo>
                  <a:pt x="1872" y="407"/>
                </a:lnTo>
                <a:lnTo>
                  <a:pt x="1860" y="402"/>
                </a:lnTo>
                <a:lnTo>
                  <a:pt x="1875" y="404"/>
                </a:lnTo>
                <a:lnTo>
                  <a:pt x="1867" y="402"/>
                </a:lnTo>
                <a:lnTo>
                  <a:pt x="1871" y="399"/>
                </a:lnTo>
                <a:lnTo>
                  <a:pt x="1855" y="400"/>
                </a:lnTo>
                <a:lnTo>
                  <a:pt x="1867" y="395"/>
                </a:lnTo>
                <a:lnTo>
                  <a:pt x="1866" y="394"/>
                </a:lnTo>
                <a:lnTo>
                  <a:pt x="1851" y="399"/>
                </a:lnTo>
                <a:lnTo>
                  <a:pt x="1855" y="395"/>
                </a:lnTo>
                <a:lnTo>
                  <a:pt x="1855" y="394"/>
                </a:lnTo>
                <a:lnTo>
                  <a:pt x="1868" y="392"/>
                </a:lnTo>
                <a:lnTo>
                  <a:pt x="1864" y="390"/>
                </a:lnTo>
                <a:lnTo>
                  <a:pt x="1862" y="391"/>
                </a:lnTo>
                <a:lnTo>
                  <a:pt x="1866" y="386"/>
                </a:lnTo>
                <a:lnTo>
                  <a:pt x="1856" y="387"/>
                </a:lnTo>
                <a:lnTo>
                  <a:pt x="1841" y="384"/>
                </a:lnTo>
                <a:lnTo>
                  <a:pt x="1849" y="376"/>
                </a:lnTo>
                <a:lnTo>
                  <a:pt x="1846" y="377"/>
                </a:lnTo>
                <a:lnTo>
                  <a:pt x="1844" y="380"/>
                </a:lnTo>
                <a:lnTo>
                  <a:pt x="1839" y="381"/>
                </a:lnTo>
                <a:lnTo>
                  <a:pt x="1839" y="381"/>
                </a:lnTo>
                <a:lnTo>
                  <a:pt x="1835" y="383"/>
                </a:lnTo>
                <a:lnTo>
                  <a:pt x="1833" y="383"/>
                </a:lnTo>
                <a:lnTo>
                  <a:pt x="1831" y="384"/>
                </a:lnTo>
                <a:lnTo>
                  <a:pt x="1831" y="387"/>
                </a:lnTo>
                <a:lnTo>
                  <a:pt x="1827" y="384"/>
                </a:lnTo>
                <a:lnTo>
                  <a:pt x="1827" y="387"/>
                </a:lnTo>
                <a:lnTo>
                  <a:pt x="1831" y="388"/>
                </a:lnTo>
                <a:lnTo>
                  <a:pt x="1831" y="391"/>
                </a:lnTo>
                <a:lnTo>
                  <a:pt x="1819" y="395"/>
                </a:lnTo>
                <a:lnTo>
                  <a:pt x="1813" y="390"/>
                </a:lnTo>
                <a:lnTo>
                  <a:pt x="1815" y="395"/>
                </a:lnTo>
                <a:lnTo>
                  <a:pt x="1812" y="395"/>
                </a:lnTo>
                <a:lnTo>
                  <a:pt x="1807" y="387"/>
                </a:lnTo>
                <a:lnTo>
                  <a:pt x="1808" y="387"/>
                </a:lnTo>
                <a:lnTo>
                  <a:pt x="1803" y="384"/>
                </a:lnTo>
                <a:lnTo>
                  <a:pt x="1812" y="380"/>
                </a:lnTo>
                <a:lnTo>
                  <a:pt x="1815" y="379"/>
                </a:lnTo>
                <a:lnTo>
                  <a:pt x="1812" y="379"/>
                </a:lnTo>
                <a:lnTo>
                  <a:pt x="1808" y="378"/>
                </a:lnTo>
                <a:lnTo>
                  <a:pt x="1808" y="377"/>
                </a:lnTo>
                <a:lnTo>
                  <a:pt x="1811" y="375"/>
                </a:lnTo>
                <a:lnTo>
                  <a:pt x="1807" y="375"/>
                </a:lnTo>
                <a:lnTo>
                  <a:pt x="1815" y="367"/>
                </a:lnTo>
                <a:lnTo>
                  <a:pt x="1813" y="366"/>
                </a:lnTo>
                <a:lnTo>
                  <a:pt x="1807" y="362"/>
                </a:lnTo>
                <a:lnTo>
                  <a:pt x="1810" y="361"/>
                </a:lnTo>
                <a:lnTo>
                  <a:pt x="1826" y="362"/>
                </a:lnTo>
                <a:lnTo>
                  <a:pt x="1816" y="361"/>
                </a:lnTo>
                <a:lnTo>
                  <a:pt x="1818" y="358"/>
                </a:lnTo>
                <a:lnTo>
                  <a:pt x="1821" y="354"/>
                </a:lnTo>
                <a:lnTo>
                  <a:pt x="1818" y="354"/>
                </a:lnTo>
                <a:lnTo>
                  <a:pt x="1822" y="353"/>
                </a:lnTo>
                <a:lnTo>
                  <a:pt x="1818" y="346"/>
                </a:lnTo>
                <a:lnTo>
                  <a:pt x="1807" y="344"/>
                </a:lnTo>
                <a:lnTo>
                  <a:pt x="1815" y="341"/>
                </a:lnTo>
                <a:lnTo>
                  <a:pt x="1810" y="340"/>
                </a:lnTo>
                <a:lnTo>
                  <a:pt x="1813" y="338"/>
                </a:lnTo>
                <a:lnTo>
                  <a:pt x="1815" y="338"/>
                </a:lnTo>
                <a:lnTo>
                  <a:pt x="1800" y="330"/>
                </a:lnTo>
                <a:lnTo>
                  <a:pt x="1799" y="330"/>
                </a:lnTo>
                <a:lnTo>
                  <a:pt x="1799" y="330"/>
                </a:lnTo>
                <a:lnTo>
                  <a:pt x="1799" y="330"/>
                </a:lnTo>
                <a:lnTo>
                  <a:pt x="1799" y="329"/>
                </a:lnTo>
                <a:lnTo>
                  <a:pt x="1799" y="325"/>
                </a:lnTo>
                <a:lnTo>
                  <a:pt x="1806" y="326"/>
                </a:lnTo>
                <a:lnTo>
                  <a:pt x="1801" y="324"/>
                </a:lnTo>
                <a:lnTo>
                  <a:pt x="1807" y="323"/>
                </a:lnTo>
                <a:lnTo>
                  <a:pt x="1800" y="322"/>
                </a:lnTo>
                <a:lnTo>
                  <a:pt x="1801" y="322"/>
                </a:lnTo>
                <a:lnTo>
                  <a:pt x="1796" y="317"/>
                </a:lnTo>
                <a:lnTo>
                  <a:pt x="1800" y="310"/>
                </a:lnTo>
                <a:lnTo>
                  <a:pt x="1782" y="314"/>
                </a:lnTo>
                <a:lnTo>
                  <a:pt x="1796" y="310"/>
                </a:lnTo>
                <a:lnTo>
                  <a:pt x="1790" y="308"/>
                </a:lnTo>
                <a:lnTo>
                  <a:pt x="1800" y="308"/>
                </a:lnTo>
                <a:lnTo>
                  <a:pt x="1790" y="306"/>
                </a:lnTo>
                <a:lnTo>
                  <a:pt x="1799" y="306"/>
                </a:lnTo>
                <a:lnTo>
                  <a:pt x="1799" y="302"/>
                </a:lnTo>
                <a:lnTo>
                  <a:pt x="1794" y="302"/>
                </a:lnTo>
                <a:lnTo>
                  <a:pt x="1789" y="302"/>
                </a:lnTo>
                <a:lnTo>
                  <a:pt x="1788" y="300"/>
                </a:lnTo>
                <a:lnTo>
                  <a:pt x="1787" y="301"/>
                </a:lnTo>
                <a:lnTo>
                  <a:pt x="1785" y="298"/>
                </a:lnTo>
                <a:lnTo>
                  <a:pt x="1789" y="298"/>
                </a:lnTo>
                <a:lnTo>
                  <a:pt x="1788" y="293"/>
                </a:lnTo>
                <a:lnTo>
                  <a:pt x="1770" y="287"/>
                </a:lnTo>
                <a:lnTo>
                  <a:pt x="1773" y="284"/>
                </a:lnTo>
                <a:lnTo>
                  <a:pt x="1767" y="280"/>
                </a:lnTo>
                <a:lnTo>
                  <a:pt x="1767" y="277"/>
                </a:lnTo>
                <a:lnTo>
                  <a:pt x="1760" y="279"/>
                </a:lnTo>
                <a:lnTo>
                  <a:pt x="1767" y="275"/>
                </a:lnTo>
                <a:lnTo>
                  <a:pt x="1767" y="273"/>
                </a:lnTo>
                <a:lnTo>
                  <a:pt x="1766" y="273"/>
                </a:lnTo>
                <a:lnTo>
                  <a:pt x="1768" y="270"/>
                </a:lnTo>
                <a:lnTo>
                  <a:pt x="1767" y="270"/>
                </a:lnTo>
                <a:lnTo>
                  <a:pt x="1763" y="270"/>
                </a:lnTo>
                <a:lnTo>
                  <a:pt x="1757" y="270"/>
                </a:lnTo>
                <a:lnTo>
                  <a:pt x="1755" y="266"/>
                </a:lnTo>
                <a:lnTo>
                  <a:pt x="1755" y="264"/>
                </a:lnTo>
                <a:lnTo>
                  <a:pt x="1755" y="262"/>
                </a:lnTo>
                <a:lnTo>
                  <a:pt x="1748" y="266"/>
                </a:lnTo>
                <a:lnTo>
                  <a:pt x="1749" y="261"/>
                </a:lnTo>
                <a:lnTo>
                  <a:pt x="1737" y="256"/>
                </a:lnTo>
                <a:lnTo>
                  <a:pt x="1734" y="258"/>
                </a:lnTo>
                <a:lnTo>
                  <a:pt x="1732" y="254"/>
                </a:lnTo>
                <a:lnTo>
                  <a:pt x="1712" y="252"/>
                </a:lnTo>
                <a:lnTo>
                  <a:pt x="1711" y="250"/>
                </a:lnTo>
                <a:lnTo>
                  <a:pt x="1704" y="251"/>
                </a:lnTo>
                <a:lnTo>
                  <a:pt x="1703" y="252"/>
                </a:lnTo>
                <a:lnTo>
                  <a:pt x="1701" y="250"/>
                </a:lnTo>
                <a:lnTo>
                  <a:pt x="1696" y="247"/>
                </a:lnTo>
                <a:lnTo>
                  <a:pt x="1690" y="252"/>
                </a:lnTo>
                <a:lnTo>
                  <a:pt x="1685" y="254"/>
                </a:lnTo>
                <a:lnTo>
                  <a:pt x="1682" y="252"/>
                </a:lnTo>
                <a:lnTo>
                  <a:pt x="1684" y="250"/>
                </a:lnTo>
                <a:lnTo>
                  <a:pt x="1678" y="247"/>
                </a:lnTo>
                <a:lnTo>
                  <a:pt x="1681" y="250"/>
                </a:lnTo>
                <a:lnTo>
                  <a:pt x="1678" y="252"/>
                </a:lnTo>
                <a:lnTo>
                  <a:pt x="1675" y="251"/>
                </a:lnTo>
                <a:lnTo>
                  <a:pt x="1675" y="258"/>
                </a:lnTo>
                <a:lnTo>
                  <a:pt x="1663" y="258"/>
                </a:lnTo>
                <a:lnTo>
                  <a:pt x="1663" y="258"/>
                </a:lnTo>
                <a:lnTo>
                  <a:pt x="1657" y="257"/>
                </a:lnTo>
                <a:lnTo>
                  <a:pt x="1661" y="254"/>
                </a:lnTo>
                <a:lnTo>
                  <a:pt x="1659" y="254"/>
                </a:lnTo>
                <a:lnTo>
                  <a:pt x="1654" y="251"/>
                </a:lnTo>
                <a:lnTo>
                  <a:pt x="1650" y="256"/>
                </a:lnTo>
                <a:lnTo>
                  <a:pt x="1642" y="251"/>
                </a:lnTo>
                <a:lnTo>
                  <a:pt x="1637" y="255"/>
                </a:lnTo>
                <a:lnTo>
                  <a:pt x="1650" y="262"/>
                </a:lnTo>
                <a:lnTo>
                  <a:pt x="1618" y="258"/>
                </a:lnTo>
                <a:lnTo>
                  <a:pt x="1621" y="258"/>
                </a:lnTo>
                <a:lnTo>
                  <a:pt x="1615" y="258"/>
                </a:lnTo>
                <a:lnTo>
                  <a:pt x="1617" y="255"/>
                </a:lnTo>
                <a:lnTo>
                  <a:pt x="1603" y="247"/>
                </a:lnTo>
                <a:lnTo>
                  <a:pt x="1617" y="242"/>
                </a:lnTo>
                <a:lnTo>
                  <a:pt x="1610" y="242"/>
                </a:lnTo>
                <a:lnTo>
                  <a:pt x="1597" y="237"/>
                </a:lnTo>
                <a:lnTo>
                  <a:pt x="1605" y="230"/>
                </a:lnTo>
                <a:lnTo>
                  <a:pt x="1603" y="230"/>
                </a:lnTo>
                <a:lnTo>
                  <a:pt x="1591" y="236"/>
                </a:lnTo>
                <a:lnTo>
                  <a:pt x="1584" y="232"/>
                </a:lnTo>
                <a:lnTo>
                  <a:pt x="1588" y="230"/>
                </a:lnTo>
                <a:lnTo>
                  <a:pt x="1581" y="230"/>
                </a:lnTo>
                <a:lnTo>
                  <a:pt x="1578" y="227"/>
                </a:lnTo>
                <a:lnTo>
                  <a:pt x="1585" y="223"/>
                </a:lnTo>
                <a:lnTo>
                  <a:pt x="1584" y="222"/>
                </a:lnTo>
                <a:lnTo>
                  <a:pt x="1596" y="219"/>
                </a:lnTo>
                <a:lnTo>
                  <a:pt x="1633" y="222"/>
                </a:lnTo>
                <a:lnTo>
                  <a:pt x="1611" y="219"/>
                </a:lnTo>
                <a:lnTo>
                  <a:pt x="1632" y="215"/>
                </a:lnTo>
                <a:lnTo>
                  <a:pt x="1654" y="219"/>
                </a:lnTo>
                <a:lnTo>
                  <a:pt x="1647" y="216"/>
                </a:lnTo>
                <a:lnTo>
                  <a:pt x="1653" y="214"/>
                </a:lnTo>
                <a:lnTo>
                  <a:pt x="1650" y="214"/>
                </a:lnTo>
                <a:lnTo>
                  <a:pt x="1650" y="212"/>
                </a:lnTo>
                <a:lnTo>
                  <a:pt x="1653" y="212"/>
                </a:lnTo>
                <a:lnTo>
                  <a:pt x="1651" y="209"/>
                </a:lnTo>
                <a:lnTo>
                  <a:pt x="1644" y="210"/>
                </a:lnTo>
                <a:lnTo>
                  <a:pt x="1640" y="210"/>
                </a:lnTo>
                <a:lnTo>
                  <a:pt x="1634" y="214"/>
                </a:lnTo>
                <a:lnTo>
                  <a:pt x="1622" y="214"/>
                </a:lnTo>
                <a:lnTo>
                  <a:pt x="1617" y="210"/>
                </a:lnTo>
                <a:lnTo>
                  <a:pt x="1615" y="210"/>
                </a:lnTo>
                <a:lnTo>
                  <a:pt x="1617" y="213"/>
                </a:lnTo>
                <a:lnTo>
                  <a:pt x="1607" y="212"/>
                </a:lnTo>
                <a:lnTo>
                  <a:pt x="1593" y="211"/>
                </a:lnTo>
                <a:lnTo>
                  <a:pt x="1602" y="207"/>
                </a:lnTo>
                <a:lnTo>
                  <a:pt x="1602" y="204"/>
                </a:lnTo>
                <a:lnTo>
                  <a:pt x="1587" y="207"/>
                </a:lnTo>
                <a:lnTo>
                  <a:pt x="1598" y="202"/>
                </a:lnTo>
                <a:lnTo>
                  <a:pt x="1579" y="206"/>
                </a:lnTo>
                <a:lnTo>
                  <a:pt x="1578" y="206"/>
                </a:lnTo>
                <a:lnTo>
                  <a:pt x="1581" y="202"/>
                </a:lnTo>
                <a:lnTo>
                  <a:pt x="1570" y="202"/>
                </a:lnTo>
                <a:lnTo>
                  <a:pt x="1563" y="198"/>
                </a:lnTo>
                <a:lnTo>
                  <a:pt x="1565" y="198"/>
                </a:lnTo>
                <a:lnTo>
                  <a:pt x="1553" y="191"/>
                </a:lnTo>
                <a:lnTo>
                  <a:pt x="1561" y="188"/>
                </a:lnTo>
                <a:lnTo>
                  <a:pt x="1556" y="185"/>
                </a:lnTo>
                <a:lnTo>
                  <a:pt x="1558" y="182"/>
                </a:lnTo>
                <a:lnTo>
                  <a:pt x="1558" y="181"/>
                </a:lnTo>
                <a:lnTo>
                  <a:pt x="1558" y="178"/>
                </a:lnTo>
                <a:lnTo>
                  <a:pt x="1575" y="178"/>
                </a:lnTo>
                <a:lnTo>
                  <a:pt x="1585" y="178"/>
                </a:lnTo>
                <a:lnTo>
                  <a:pt x="1588" y="174"/>
                </a:lnTo>
                <a:lnTo>
                  <a:pt x="1610" y="167"/>
                </a:lnTo>
                <a:lnTo>
                  <a:pt x="1617" y="170"/>
                </a:lnTo>
                <a:lnTo>
                  <a:pt x="1610" y="166"/>
                </a:lnTo>
                <a:lnTo>
                  <a:pt x="1622" y="161"/>
                </a:lnTo>
                <a:lnTo>
                  <a:pt x="1631" y="162"/>
                </a:lnTo>
                <a:lnTo>
                  <a:pt x="1634" y="159"/>
                </a:lnTo>
                <a:lnTo>
                  <a:pt x="1656" y="161"/>
                </a:lnTo>
                <a:lnTo>
                  <a:pt x="1675" y="147"/>
                </a:lnTo>
                <a:lnTo>
                  <a:pt x="1670" y="136"/>
                </a:lnTo>
                <a:lnTo>
                  <a:pt x="1671" y="133"/>
                </a:lnTo>
                <a:lnTo>
                  <a:pt x="1670" y="131"/>
                </a:lnTo>
                <a:lnTo>
                  <a:pt x="1689" y="126"/>
                </a:lnTo>
                <a:lnTo>
                  <a:pt x="1684" y="126"/>
                </a:lnTo>
                <a:lnTo>
                  <a:pt x="1682" y="122"/>
                </a:lnTo>
                <a:lnTo>
                  <a:pt x="1681" y="126"/>
                </a:lnTo>
                <a:lnTo>
                  <a:pt x="1674" y="130"/>
                </a:lnTo>
                <a:lnTo>
                  <a:pt x="1640" y="130"/>
                </a:lnTo>
                <a:lnTo>
                  <a:pt x="1638" y="126"/>
                </a:lnTo>
                <a:lnTo>
                  <a:pt x="1633" y="124"/>
                </a:lnTo>
                <a:lnTo>
                  <a:pt x="1635" y="119"/>
                </a:lnTo>
                <a:lnTo>
                  <a:pt x="1642" y="115"/>
                </a:lnTo>
                <a:lnTo>
                  <a:pt x="1642" y="112"/>
                </a:lnTo>
                <a:lnTo>
                  <a:pt x="1661" y="107"/>
                </a:lnTo>
                <a:lnTo>
                  <a:pt x="1660" y="104"/>
                </a:lnTo>
                <a:lnTo>
                  <a:pt x="1668" y="103"/>
                </a:lnTo>
                <a:lnTo>
                  <a:pt x="1667" y="101"/>
                </a:lnTo>
                <a:lnTo>
                  <a:pt x="1667" y="100"/>
                </a:lnTo>
                <a:lnTo>
                  <a:pt x="1675" y="97"/>
                </a:lnTo>
                <a:lnTo>
                  <a:pt x="1675" y="95"/>
                </a:lnTo>
                <a:lnTo>
                  <a:pt x="1690" y="90"/>
                </a:lnTo>
                <a:lnTo>
                  <a:pt x="1693" y="92"/>
                </a:lnTo>
                <a:lnTo>
                  <a:pt x="1696" y="97"/>
                </a:lnTo>
                <a:lnTo>
                  <a:pt x="1703" y="105"/>
                </a:lnTo>
                <a:lnTo>
                  <a:pt x="1704" y="105"/>
                </a:lnTo>
                <a:lnTo>
                  <a:pt x="1697" y="97"/>
                </a:lnTo>
                <a:lnTo>
                  <a:pt x="1696" y="90"/>
                </a:lnTo>
                <a:lnTo>
                  <a:pt x="1703" y="86"/>
                </a:lnTo>
                <a:lnTo>
                  <a:pt x="1721" y="92"/>
                </a:lnTo>
                <a:lnTo>
                  <a:pt x="1729" y="92"/>
                </a:lnTo>
                <a:lnTo>
                  <a:pt x="1730" y="90"/>
                </a:lnTo>
                <a:lnTo>
                  <a:pt x="1726" y="81"/>
                </a:lnTo>
                <a:lnTo>
                  <a:pt x="1734" y="76"/>
                </a:lnTo>
                <a:lnTo>
                  <a:pt x="1722" y="69"/>
                </a:lnTo>
                <a:lnTo>
                  <a:pt x="1732" y="63"/>
                </a:lnTo>
                <a:lnTo>
                  <a:pt x="1743" y="62"/>
                </a:lnTo>
                <a:lnTo>
                  <a:pt x="1760" y="63"/>
                </a:lnTo>
                <a:lnTo>
                  <a:pt x="1763" y="72"/>
                </a:lnTo>
                <a:lnTo>
                  <a:pt x="1772" y="73"/>
                </a:lnTo>
                <a:lnTo>
                  <a:pt x="1771" y="73"/>
                </a:lnTo>
                <a:lnTo>
                  <a:pt x="1766" y="63"/>
                </a:lnTo>
                <a:lnTo>
                  <a:pt x="1751" y="61"/>
                </a:lnTo>
                <a:lnTo>
                  <a:pt x="1794" y="51"/>
                </a:lnTo>
                <a:lnTo>
                  <a:pt x="1796" y="56"/>
                </a:lnTo>
                <a:lnTo>
                  <a:pt x="1803" y="53"/>
                </a:lnTo>
                <a:lnTo>
                  <a:pt x="1808" y="53"/>
                </a:lnTo>
                <a:lnTo>
                  <a:pt x="1823" y="48"/>
                </a:lnTo>
                <a:lnTo>
                  <a:pt x="1837" y="55"/>
                </a:lnTo>
                <a:lnTo>
                  <a:pt x="1837" y="63"/>
                </a:lnTo>
                <a:lnTo>
                  <a:pt x="1831" y="70"/>
                </a:lnTo>
                <a:lnTo>
                  <a:pt x="1831" y="74"/>
                </a:lnTo>
                <a:lnTo>
                  <a:pt x="1837" y="76"/>
                </a:lnTo>
                <a:lnTo>
                  <a:pt x="1837" y="72"/>
                </a:lnTo>
                <a:lnTo>
                  <a:pt x="1846" y="66"/>
                </a:lnTo>
                <a:lnTo>
                  <a:pt x="1845" y="58"/>
                </a:lnTo>
                <a:lnTo>
                  <a:pt x="1868" y="63"/>
                </a:lnTo>
                <a:lnTo>
                  <a:pt x="1889" y="73"/>
                </a:lnTo>
                <a:lnTo>
                  <a:pt x="1894" y="72"/>
                </a:lnTo>
                <a:lnTo>
                  <a:pt x="1874" y="62"/>
                </a:lnTo>
                <a:lnTo>
                  <a:pt x="1891" y="63"/>
                </a:lnTo>
                <a:lnTo>
                  <a:pt x="1897" y="62"/>
                </a:lnTo>
                <a:lnTo>
                  <a:pt x="1878" y="52"/>
                </a:lnTo>
                <a:lnTo>
                  <a:pt x="1872" y="40"/>
                </a:lnTo>
                <a:lnTo>
                  <a:pt x="1900" y="42"/>
                </a:lnTo>
                <a:lnTo>
                  <a:pt x="1925" y="54"/>
                </a:lnTo>
                <a:lnTo>
                  <a:pt x="1942" y="57"/>
                </a:lnTo>
                <a:lnTo>
                  <a:pt x="1947" y="58"/>
                </a:lnTo>
                <a:lnTo>
                  <a:pt x="1946" y="62"/>
                </a:lnTo>
                <a:lnTo>
                  <a:pt x="1967" y="69"/>
                </a:lnTo>
                <a:lnTo>
                  <a:pt x="1973" y="67"/>
                </a:lnTo>
                <a:lnTo>
                  <a:pt x="1968" y="65"/>
                </a:lnTo>
                <a:lnTo>
                  <a:pt x="1964" y="65"/>
                </a:lnTo>
                <a:lnTo>
                  <a:pt x="1968" y="59"/>
                </a:lnTo>
                <a:lnTo>
                  <a:pt x="1965" y="52"/>
                </a:lnTo>
                <a:lnTo>
                  <a:pt x="1967" y="50"/>
                </a:lnTo>
                <a:lnTo>
                  <a:pt x="2000" y="52"/>
                </a:lnTo>
                <a:lnTo>
                  <a:pt x="1979" y="48"/>
                </a:lnTo>
                <a:lnTo>
                  <a:pt x="1979" y="49"/>
                </a:lnTo>
                <a:lnTo>
                  <a:pt x="1951" y="33"/>
                </a:lnTo>
                <a:lnTo>
                  <a:pt x="2003" y="33"/>
                </a:lnTo>
                <a:lnTo>
                  <a:pt x="2004" y="34"/>
                </a:lnTo>
                <a:lnTo>
                  <a:pt x="2001" y="34"/>
                </a:lnTo>
                <a:lnTo>
                  <a:pt x="2004" y="35"/>
                </a:lnTo>
                <a:lnTo>
                  <a:pt x="2004" y="40"/>
                </a:lnTo>
                <a:lnTo>
                  <a:pt x="2006" y="42"/>
                </a:lnTo>
                <a:lnTo>
                  <a:pt x="2008" y="40"/>
                </a:lnTo>
                <a:lnTo>
                  <a:pt x="2008" y="35"/>
                </a:lnTo>
                <a:lnTo>
                  <a:pt x="2006" y="33"/>
                </a:lnTo>
                <a:lnTo>
                  <a:pt x="2012" y="33"/>
                </a:lnTo>
                <a:lnTo>
                  <a:pt x="2031" y="41"/>
                </a:lnTo>
                <a:lnTo>
                  <a:pt x="2035" y="49"/>
                </a:lnTo>
                <a:lnTo>
                  <a:pt x="2038" y="49"/>
                </a:lnTo>
                <a:lnTo>
                  <a:pt x="2034" y="41"/>
                </a:lnTo>
                <a:lnTo>
                  <a:pt x="2036" y="36"/>
                </a:lnTo>
                <a:lnTo>
                  <a:pt x="2035" y="35"/>
                </a:lnTo>
                <a:lnTo>
                  <a:pt x="2032" y="34"/>
                </a:lnTo>
                <a:lnTo>
                  <a:pt x="2001" y="28"/>
                </a:lnTo>
                <a:lnTo>
                  <a:pt x="1960" y="25"/>
                </a:lnTo>
                <a:lnTo>
                  <a:pt x="1960" y="25"/>
                </a:lnTo>
                <a:lnTo>
                  <a:pt x="1986" y="25"/>
                </a:lnTo>
                <a:lnTo>
                  <a:pt x="1964" y="25"/>
                </a:lnTo>
                <a:lnTo>
                  <a:pt x="1954" y="21"/>
                </a:lnTo>
                <a:lnTo>
                  <a:pt x="1955" y="21"/>
                </a:lnTo>
                <a:lnTo>
                  <a:pt x="1992" y="23"/>
                </a:lnTo>
                <a:lnTo>
                  <a:pt x="1976" y="17"/>
                </a:lnTo>
                <a:lnTo>
                  <a:pt x="1986" y="17"/>
                </a:lnTo>
                <a:lnTo>
                  <a:pt x="1994" y="14"/>
                </a:lnTo>
                <a:lnTo>
                  <a:pt x="2010" y="16"/>
                </a:lnTo>
                <a:lnTo>
                  <a:pt x="2006" y="19"/>
                </a:lnTo>
                <a:lnTo>
                  <a:pt x="2012" y="18"/>
                </a:lnTo>
                <a:lnTo>
                  <a:pt x="2025" y="25"/>
                </a:lnTo>
                <a:lnTo>
                  <a:pt x="2035" y="25"/>
                </a:lnTo>
                <a:lnTo>
                  <a:pt x="2042" y="25"/>
                </a:lnTo>
                <a:lnTo>
                  <a:pt x="2053" y="33"/>
                </a:lnTo>
                <a:lnTo>
                  <a:pt x="2056" y="29"/>
                </a:lnTo>
                <a:lnTo>
                  <a:pt x="2046" y="24"/>
                </a:lnTo>
                <a:lnTo>
                  <a:pt x="2072" y="23"/>
                </a:lnTo>
                <a:lnTo>
                  <a:pt x="2050" y="21"/>
                </a:lnTo>
                <a:lnTo>
                  <a:pt x="2051" y="21"/>
                </a:lnTo>
                <a:lnTo>
                  <a:pt x="2052" y="21"/>
                </a:lnTo>
                <a:lnTo>
                  <a:pt x="2052" y="21"/>
                </a:lnTo>
                <a:lnTo>
                  <a:pt x="2051" y="21"/>
                </a:lnTo>
                <a:lnTo>
                  <a:pt x="2050" y="21"/>
                </a:lnTo>
                <a:lnTo>
                  <a:pt x="2044" y="20"/>
                </a:lnTo>
                <a:lnTo>
                  <a:pt x="2039" y="23"/>
                </a:lnTo>
                <a:lnTo>
                  <a:pt x="2025" y="17"/>
                </a:lnTo>
                <a:lnTo>
                  <a:pt x="2039" y="19"/>
                </a:lnTo>
                <a:lnTo>
                  <a:pt x="2024" y="15"/>
                </a:lnTo>
                <a:lnTo>
                  <a:pt x="2031" y="12"/>
                </a:lnTo>
                <a:lnTo>
                  <a:pt x="2052" y="20"/>
                </a:lnTo>
                <a:lnTo>
                  <a:pt x="2052" y="16"/>
                </a:lnTo>
                <a:lnTo>
                  <a:pt x="2060" y="20"/>
                </a:lnTo>
                <a:lnTo>
                  <a:pt x="2053" y="21"/>
                </a:lnTo>
                <a:lnTo>
                  <a:pt x="2053" y="21"/>
                </a:lnTo>
                <a:lnTo>
                  <a:pt x="2062" y="21"/>
                </a:lnTo>
                <a:lnTo>
                  <a:pt x="2060" y="20"/>
                </a:lnTo>
                <a:lnTo>
                  <a:pt x="2079" y="17"/>
                </a:lnTo>
                <a:lnTo>
                  <a:pt x="2051" y="13"/>
                </a:lnTo>
                <a:lnTo>
                  <a:pt x="2048" y="12"/>
                </a:lnTo>
                <a:lnTo>
                  <a:pt x="2048" y="11"/>
                </a:lnTo>
                <a:lnTo>
                  <a:pt x="2050" y="12"/>
                </a:lnTo>
                <a:lnTo>
                  <a:pt x="2048" y="10"/>
                </a:lnTo>
                <a:lnTo>
                  <a:pt x="2048" y="6"/>
                </a:lnTo>
                <a:lnTo>
                  <a:pt x="2065" y="13"/>
                </a:lnTo>
                <a:lnTo>
                  <a:pt x="2067" y="13"/>
                </a:lnTo>
                <a:lnTo>
                  <a:pt x="2062" y="8"/>
                </a:lnTo>
                <a:lnTo>
                  <a:pt x="2069" y="5"/>
                </a:lnTo>
                <a:lnTo>
                  <a:pt x="2086" y="10"/>
                </a:lnTo>
                <a:lnTo>
                  <a:pt x="2079" y="5"/>
                </a:lnTo>
                <a:lnTo>
                  <a:pt x="2116" y="0"/>
                </a:lnTo>
                <a:lnTo>
                  <a:pt x="2123" y="6"/>
                </a:lnTo>
                <a:lnTo>
                  <a:pt x="2124" y="5"/>
                </a:lnTo>
                <a:lnTo>
                  <a:pt x="2119" y="1"/>
                </a:lnTo>
                <a:lnTo>
                  <a:pt x="2173" y="0"/>
                </a:lnTo>
                <a:lnTo>
                  <a:pt x="2202" y="5"/>
                </a:lnTo>
                <a:lnTo>
                  <a:pt x="2195" y="5"/>
                </a:lnTo>
                <a:lnTo>
                  <a:pt x="2200" y="8"/>
                </a:lnTo>
                <a:lnTo>
                  <a:pt x="2217" y="5"/>
                </a:lnTo>
                <a:lnTo>
                  <a:pt x="2243" y="12"/>
                </a:lnTo>
                <a:lnTo>
                  <a:pt x="2224" y="17"/>
                </a:lnTo>
                <a:lnTo>
                  <a:pt x="2179" y="16"/>
                </a:lnTo>
                <a:lnTo>
                  <a:pt x="2151" y="21"/>
                </a:lnTo>
                <a:lnTo>
                  <a:pt x="2129" y="17"/>
                </a:lnTo>
                <a:lnTo>
                  <a:pt x="2143" y="21"/>
                </a:lnTo>
                <a:lnTo>
                  <a:pt x="2097" y="25"/>
                </a:lnTo>
                <a:lnTo>
                  <a:pt x="2102" y="28"/>
                </a:lnTo>
                <a:lnTo>
                  <a:pt x="2098" y="31"/>
                </a:lnTo>
                <a:lnTo>
                  <a:pt x="2101" y="33"/>
                </a:lnTo>
                <a:lnTo>
                  <a:pt x="2102" y="29"/>
                </a:lnTo>
                <a:lnTo>
                  <a:pt x="2109" y="25"/>
                </a:lnTo>
                <a:lnTo>
                  <a:pt x="2123" y="25"/>
                </a:lnTo>
                <a:lnTo>
                  <a:pt x="2124" y="30"/>
                </a:lnTo>
                <a:lnTo>
                  <a:pt x="2121" y="33"/>
                </a:lnTo>
                <a:lnTo>
                  <a:pt x="2123" y="33"/>
                </a:lnTo>
                <a:lnTo>
                  <a:pt x="2128" y="25"/>
                </a:lnTo>
                <a:lnTo>
                  <a:pt x="2150" y="23"/>
                </a:lnTo>
                <a:lnTo>
                  <a:pt x="2154" y="25"/>
                </a:lnTo>
                <a:lnTo>
                  <a:pt x="2179" y="17"/>
                </a:lnTo>
                <a:lnTo>
                  <a:pt x="2206" y="22"/>
                </a:lnTo>
                <a:lnTo>
                  <a:pt x="2249" y="17"/>
                </a:lnTo>
                <a:lnTo>
                  <a:pt x="2254" y="21"/>
                </a:lnTo>
                <a:lnTo>
                  <a:pt x="2251" y="21"/>
                </a:lnTo>
                <a:lnTo>
                  <a:pt x="2255" y="24"/>
                </a:lnTo>
                <a:lnTo>
                  <a:pt x="2249" y="29"/>
                </a:lnTo>
                <a:lnTo>
                  <a:pt x="2240" y="31"/>
                </a:lnTo>
                <a:lnTo>
                  <a:pt x="2267" y="26"/>
                </a:lnTo>
                <a:lnTo>
                  <a:pt x="2269" y="29"/>
                </a:lnTo>
                <a:lnTo>
                  <a:pt x="2265" y="29"/>
                </a:lnTo>
                <a:lnTo>
                  <a:pt x="2265" y="32"/>
                </a:lnTo>
                <a:lnTo>
                  <a:pt x="2273" y="28"/>
                </a:lnTo>
                <a:lnTo>
                  <a:pt x="2306" y="36"/>
                </a:lnTo>
                <a:lnTo>
                  <a:pt x="2289" y="47"/>
                </a:lnTo>
                <a:lnTo>
                  <a:pt x="2251" y="54"/>
                </a:lnTo>
                <a:lnTo>
                  <a:pt x="2182" y="55"/>
                </a:lnTo>
                <a:lnTo>
                  <a:pt x="2156" y="52"/>
                </a:lnTo>
                <a:lnTo>
                  <a:pt x="2181" y="55"/>
                </a:lnTo>
                <a:lnTo>
                  <a:pt x="2134" y="67"/>
                </a:lnTo>
                <a:lnTo>
                  <a:pt x="2135" y="73"/>
                </a:lnTo>
                <a:lnTo>
                  <a:pt x="2154" y="66"/>
                </a:lnTo>
                <a:lnTo>
                  <a:pt x="2184" y="63"/>
                </a:lnTo>
                <a:lnTo>
                  <a:pt x="2182" y="65"/>
                </a:lnTo>
                <a:lnTo>
                  <a:pt x="2185" y="65"/>
                </a:lnTo>
                <a:lnTo>
                  <a:pt x="2192" y="65"/>
                </a:lnTo>
                <a:lnTo>
                  <a:pt x="2249" y="65"/>
                </a:lnTo>
                <a:lnTo>
                  <a:pt x="2248" y="68"/>
                </a:lnTo>
                <a:lnTo>
                  <a:pt x="2247" y="69"/>
                </a:lnTo>
                <a:lnTo>
                  <a:pt x="2214" y="79"/>
                </a:lnTo>
                <a:lnTo>
                  <a:pt x="2218" y="80"/>
                </a:lnTo>
                <a:lnTo>
                  <a:pt x="2214" y="81"/>
                </a:lnTo>
                <a:lnTo>
                  <a:pt x="2218" y="81"/>
                </a:lnTo>
                <a:lnTo>
                  <a:pt x="2219" y="81"/>
                </a:lnTo>
                <a:lnTo>
                  <a:pt x="2219" y="81"/>
                </a:lnTo>
                <a:lnTo>
                  <a:pt x="2219" y="81"/>
                </a:lnTo>
                <a:lnTo>
                  <a:pt x="2221" y="82"/>
                </a:lnTo>
                <a:lnTo>
                  <a:pt x="2251" y="73"/>
                </a:lnTo>
                <a:lnTo>
                  <a:pt x="2263" y="73"/>
                </a:lnTo>
                <a:lnTo>
                  <a:pt x="2265" y="69"/>
                </a:lnTo>
                <a:lnTo>
                  <a:pt x="2265" y="62"/>
                </a:lnTo>
                <a:lnTo>
                  <a:pt x="2266" y="58"/>
                </a:lnTo>
                <a:lnTo>
                  <a:pt x="2289" y="57"/>
                </a:lnTo>
                <a:lnTo>
                  <a:pt x="2293" y="62"/>
                </a:lnTo>
                <a:lnTo>
                  <a:pt x="2293" y="69"/>
                </a:lnTo>
                <a:lnTo>
                  <a:pt x="2291" y="78"/>
                </a:lnTo>
                <a:lnTo>
                  <a:pt x="2288" y="84"/>
                </a:lnTo>
                <a:lnTo>
                  <a:pt x="2281" y="85"/>
                </a:lnTo>
                <a:lnTo>
                  <a:pt x="2284" y="85"/>
                </a:lnTo>
                <a:lnTo>
                  <a:pt x="2269" y="98"/>
                </a:lnTo>
                <a:lnTo>
                  <a:pt x="2270" y="102"/>
                </a:lnTo>
                <a:lnTo>
                  <a:pt x="2267" y="105"/>
                </a:lnTo>
                <a:lnTo>
                  <a:pt x="2260" y="109"/>
                </a:lnTo>
                <a:lnTo>
                  <a:pt x="2264" y="109"/>
                </a:lnTo>
                <a:lnTo>
                  <a:pt x="2271" y="104"/>
                </a:lnTo>
                <a:lnTo>
                  <a:pt x="2273" y="101"/>
                </a:lnTo>
                <a:lnTo>
                  <a:pt x="2273" y="97"/>
                </a:lnTo>
                <a:lnTo>
                  <a:pt x="2284" y="95"/>
                </a:lnTo>
                <a:lnTo>
                  <a:pt x="2313" y="74"/>
                </a:lnTo>
                <a:lnTo>
                  <a:pt x="2326" y="70"/>
                </a:lnTo>
                <a:lnTo>
                  <a:pt x="2321" y="73"/>
                </a:lnTo>
                <a:lnTo>
                  <a:pt x="2319" y="78"/>
                </a:lnTo>
                <a:lnTo>
                  <a:pt x="2335" y="74"/>
                </a:lnTo>
                <a:lnTo>
                  <a:pt x="2339" y="78"/>
                </a:lnTo>
                <a:lnTo>
                  <a:pt x="2341" y="76"/>
                </a:lnTo>
                <a:lnTo>
                  <a:pt x="2349" y="78"/>
                </a:lnTo>
                <a:lnTo>
                  <a:pt x="2349" y="74"/>
                </a:lnTo>
                <a:lnTo>
                  <a:pt x="2357" y="73"/>
                </a:lnTo>
                <a:lnTo>
                  <a:pt x="2354" y="72"/>
                </a:lnTo>
                <a:lnTo>
                  <a:pt x="2354" y="69"/>
                </a:lnTo>
                <a:lnTo>
                  <a:pt x="2360" y="70"/>
                </a:lnTo>
                <a:lnTo>
                  <a:pt x="2358" y="69"/>
                </a:lnTo>
                <a:lnTo>
                  <a:pt x="2369" y="69"/>
                </a:lnTo>
                <a:lnTo>
                  <a:pt x="2372" y="65"/>
                </a:lnTo>
                <a:lnTo>
                  <a:pt x="2400" y="65"/>
                </a:lnTo>
                <a:lnTo>
                  <a:pt x="2422" y="69"/>
                </a:lnTo>
                <a:lnTo>
                  <a:pt x="2438" y="75"/>
                </a:lnTo>
                <a:lnTo>
                  <a:pt x="2410" y="93"/>
                </a:lnTo>
                <a:lnTo>
                  <a:pt x="2396" y="93"/>
                </a:lnTo>
                <a:lnTo>
                  <a:pt x="2394" y="93"/>
                </a:lnTo>
                <a:lnTo>
                  <a:pt x="2402" y="96"/>
                </a:lnTo>
                <a:lnTo>
                  <a:pt x="2385" y="101"/>
                </a:lnTo>
                <a:lnTo>
                  <a:pt x="2381" y="104"/>
                </a:lnTo>
                <a:lnTo>
                  <a:pt x="2354" y="101"/>
                </a:lnTo>
                <a:lnTo>
                  <a:pt x="2352" y="104"/>
                </a:lnTo>
                <a:lnTo>
                  <a:pt x="2344" y="108"/>
                </a:lnTo>
                <a:lnTo>
                  <a:pt x="2322" y="107"/>
                </a:lnTo>
                <a:lnTo>
                  <a:pt x="2316" y="109"/>
                </a:lnTo>
                <a:lnTo>
                  <a:pt x="2307" y="109"/>
                </a:lnTo>
                <a:lnTo>
                  <a:pt x="2313" y="114"/>
                </a:lnTo>
                <a:lnTo>
                  <a:pt x="2325" y="108"/>
                </a:lnTo>
                <a:lnTo>
                  <a:pt x="2347" y="113"/>
                </a:lnTo>
                <a:lnTo>
                  <a:pt x="2361" y="108"/>
                </a:lnTo>
                <a:lnTo>
                  <a:pt x="2381" y="114"/>
                </a:lnTo>
                <a:lnTo>
                  <a:pt x="2374" y="118"/>
                </a:lnTo>
                <a:lnTo>
                  <a:pt x="2372" y="118"/>
                </a:lnTo>
                <a:lnTo>
                  <a:pt x="2373" y="120"/>
                </a:lnTo>
                <a:lnTo>
                  <a:pt x="2366" y="122"/>
                </a:lnTo>
                <a:lnTo>
                  <a:pt x="2330" y="122"/>
                </a:lnTo>
                <a:lnTo>
                  <a:pt x="2329" y="121"/>
                </a:lnTo>
                <a:lnTo>
                  <a:pt x="2328" y="122"/>
                </a:lnTo>
                <a:lnTo>
                  <a:pt x="2316" y="130"/>
                </a:lnTo>
                <a:lnTo>
                  <a:pt x="2319" y="130"/>
                </a:lnTo>
                <a:lnTo>
                  <a:pt x="2316" y="134"/>
                </a:lnTo>
                <a:lnTo>
                  <a:pt x="2317" y="134"/>
                </a:lnTo>
                <a:lnTo>
                  <a:pt x="2313" y="138"/>
                </a:lnTo>
                <a:lnTo>
                  <a:pt x="2317" y="138"/>
                </a:lnTo>
                <a:lnTo>
                  <a:pt x="2318" y="140"/>
                </a:lnTo>
                <a:lnTo>
                  <a:pt x="2324" y="135"/>
                </a:lnTo>
                <a:lnTo>
                  <a:pt x="2317" y="136"/>
                </a:lnTo>
                <a:lnTo>
                  <a:pt x="2317" y="135"/>
                </a:lnTo>
                <a:lnTo>
                  <a:pt x="2323" y="132"/>
                </a:lnTo>
                <a:lnTo>
                  <a:pt x="2335" y="127"/>
                </a:lnTo>
                <a:lnTo>
                  <a:pt x="2354" y="125"/>
                </a:lnTo>
                <a:lnTo>
                  <a:pt x="2361" y="128"/>
                </a:lnTo>
                <a:lnTo>
                  <a:pt x="2349" y="138"/>
                </a:lnTo>
                <a:lnTo>
                  <a:pt x="2335" y="136"/>
                </a:lnTo>
                <a:lnTo>
                  <a:pt x="2329" y="142"/>
                </a:lnTo>
                <a:lnTo>
                  <a:pt x="2329" y="144"/>
                </a:lnTo>
                <a:lnTo>
                  <a:pt x="2327" y="148"/>
                </a:lnTo>
                <a:lnTo>
                  <a:pt x="2329" y="151"/>
                </a:lnTo>
                <a:lnTo>
                  <a:pt x="2326" y="158"/>
                </a:lnTo>
                <a:lnTo>
                  <a:pt x="2330" y="154"/>
                </a:lnTo>
                <a:lnTo>
                  <a:pt x="2336" y="154"/>
                </a:lnTo>
                <a:lnTo>
                  <a:pt x="2335" y="158"/>
                </a:lnTo>
                <a:lnTo>
                  <a:pt x="2339" y="162"/>
                </a:lnTo>
                <a:lnTo>
                  <a:pt x="2333" y="162"/>
                </a:lnTo>
                <a:lnTo>
                  <a:pt x="2335" y="158"/>
                </a:lnTo>
                <a:lnTo>
                  <a:pt x="2333" y="158"/>
                </a:lnTo>
                <a:lnTo>
                  <a:pt x="2333" y="158"/>
                </a:lnTo>
                <a:lnTo>
                  <a:pt x="2333" y="155"/>
                </a:lnTo>
                <a:lnTo>
                  <a:pt x="2332" y="158"/>
                </a:lnTo>
                <a:lnTo>
                  <a:pt x="2329" y="155"/>
                </a:lnTo>
                <a:lnTo>
                  <a:pt x="2329" y="159"/>
                </a:lnTo>
                <a:lnTo>
                  <a:pt x="2322" y="161"/>
                </a:lnTo>
                <a:lnTo>
                  <a:pt x="2326" y="165"/>
                </a:lnTo>
                <a:lnTo>
                  <a:pt x="2325" y="167"/>
                </a:lnTo>
                <a:lnTo>
                  <a:pt x="2307" y="170"/>
                </a:lnTo>
                <a:lnTo>
                  <a:pt x="2311" y="174"/>
                </a:lnTo>
                <a:lnTo>
                  <a:pt x="2303" y="178"/>
                </a:lnTo>
                <a:lnTo>
                  <a:pt x="2311" y="178"/>
                </a:lnTo>
                <a:lnTo>
                  <a:pt x="2305" y="188"/>
                </a:lnTo>
                <a:lnTo>
                  <a:pt x="2305" y="189"/>
                </a:lnTo>
                <a:lnTo>
                  <a:pt x="2299" y="194"/>
                </a:lnTo>
                <a:lnTo>
                  <a:pt x="2303" y="194"/>
                </a:lnTo>
                <a:lnTo>
                  <a:pt x="2299" y="196"/>
                </a:lnTo>
                <a:lnTo>
                  <a:pt x="2296" y="200"/>
                </a:lnTo>
                <a:lnTo>
                  <a:pt x="2302" y="199"/>
                </a:lnTo>
                <a:lnTo>
                  <a:pt x="2295" y="210"/>
                </a:lnTo>
                <a:lnTo>
                  <a:pt x="2303" y="210"/>
                </a:lnTo>
                <a:lnTo>
                  <a:pt x="2303" y="209"/>
                </a:lnTo>
                <a:lnTo>
                  <a:pt x="2306" y="201"/>
                </a:lnTo>
                <a:lnTo>
                  <a:pt x="2311" y="195"/>
                </a:lnTo>
                <a:lnTo>
                  <a:pt x="2319" y="200"/>
                </a:lnTo>
                <a:lnTo>
                  <a:pt x="2335" y="204"/>
                </a:lnTo>
                <a:lnTo>
                  <a:pt x="2340" y="208"/>
                </a:lnTo>
                <a:lnTo>
                  <a:pt x="2333" y="211"/>
                </a:lnTo>
                <a:lnTo>
                  <a:pt x="2321" y="206"/>
                </a:lnTo>
                <a:lnTo>
                  <a:pt x="2311" y="208"/>
                </a:lnTo>
                <a:lnTo>
                  <a:pt x="2319" y="213"/>
                </a:lnTo>
                <a:lnTo>
                  <a:pt x="2325" y="214"/>
                </a:lnTo>
                <a:lnTo>
                  <a:pt x="2313" y="218"/>
                </a:lnTo>
                <a:lnTo>
                  <a:pt x="2329" y="218"/>
                </a:lnTo>
                <a:lnTo>
                  <a:pt x="2333" y="220"/>
                </a:lnTo>
                <a:lnTo>
                  <a:pt x="2331" y="219"/>
                </a:lnTo>
                <a:lnTo>
                  <a:pt x="2337" y="222"/>
                </a:lnTo>
                <a:lnTo>
                  <a:pt x="2337" y="218"/>
                </a:lnTo>
                <a:lnTo>
                  <a:pt x="2340" y="218"/>
                </a:lnTo>
                <a:lnTo>
                  <a:pt x="2348" y="218"/>
                </a:lnTo>
                <a:lnTo>
                  <a:pt x="2350" y="221"/>
                </a:lnTo>
                <a:lnTo>
                  <a:pt x="2351" y="231"/>
                </a:lnTo>
                <a:lnTo>
                  <a:pt x="2350" y="238"/>
                </a:lnTo>
                <a:lnTo>
                  <a:pt x="2345" y="238"/>
                </a:lnTo>
                <a:lnTo>
                  <a:pt x="2345" y="235"/>
                </a:lnTo>
                <a:lnTo>
                  <a:pt x="2339" y="233"/>
                </a:lnTo>
                <a:lnTo>
                  <a:pt x="2314" y="228"/>
                </a:lnTo>
                <a:lnTo>
                  <a:pt x="2310" y="230"/>
                </a:lnTo>
                <a:lnTo>
                  <a:pt x="2316" y="230"/>
                </a:lnTo>
                <a:lnTo>
                  <a:pt x="2299" y="232"/>
                </a:lnTo>
                <a:lnTo>
                  <a:pt x="2311" y="233"/>
                </a:lnTo>
                <a:lnTo>
                  <a:pt x="2306" y="234"/>
                </a:lnTo>
                <a:lnTo>
                  <a:pt x="2302" y="238"/>
                </a:lnTo>
                <a:lnTo>
                  <a:pt x="2302" y="238"/>
                </a:lnTo>
                <a:lnTo>
                  <a:pt x="2302" y="239"/>
                </a:lnTo>
                <a:lnTo>
                  <a:pt x="2302" y="239"/>
                </a:lnTo>
                <a:lnTo>
                  <a:pt x="2292" y="234"/>
                </a:lnTo>
                <a:lnTo>
                  <a:pt x="2285" y="234"/>
                </a:lnTo>
                <a:lnTo>
                  <a:pt x="2285" y="235"/>
                </a:lnTo>
                <a:lnTo>
                  <a:pt x="2281" y="238"/>
                </a:lnTo>
                <a:lnTo>
                  <a:pt x="2289" y="243"/>
                </a:lnTo>
                <a:lnTo>
                  <a:pt x="2289" y="241"/>
                </a:lnTo>
                <a:lnTo>
                  <a:pt x="2292" y="239"/>
                </a:lnTo>
                <a:lnTo>
                  <a:pt x="2299" y="241"/>
                </a:lnTo>
                <a:lnTo>
                  <a:pt x="2300" y="243"/>
                </a:lnTo>
                <a:lnTo>
                  <a:pt x="2295" y="246"/>
                </a:lnTo>
                <a:lnTo>
                  <a:pt x="2288" y="246"/>
                </a:lnTo>
                <a:lnTo>
                  <a:pt x="2302" y="246"/>
                </a:lnTo>
                <a:lnTo>
                  <a:pt x="2300" y="251"/>
                </a:lnTo>
                <a:lnTo>
                  <a:pt x="2307" y="250"/>
                </a:lnTo>
                <a:lnTo>
                  <a:pt x="2307" y="250"/>
                </a:lnTo>
                <a:lnTo>
                  <a:pt x="2308" y="250"/>
                </a:lnTo>
                <a:lnTo>
                  <a:pt x="2308" y="251"/>
                </a:lnTo>
                <a:lnTo>
                  <a:pt x="2326" y="252"/>
                </a:lnTo>
                <a:lnTo>
                  <a:pt x="2325" y="254"/>
                </a:lnTo>
                <a:lnTo>
                  <a:pt x="2325" y="257"/>
                </a:lnTo>
                <a:lnTo>
                  <a:pt x="2319" y="262"/>
                </a:lnTo>
                <a:lnTo>
                  <a:pt x="2295" y="262"/>
                </a:lnTo>
                <a:lnTo>
                  <a:pt x="2327" y="263"/>
                </a:lnTo>
                <a:lnTo>
                  <a:pt x="2329" y="266"/>
                </a:lnTo>
                <a:lnTo>
                  <a:pt x="2329" y="269"/>
                </a:lnTo>
                <a:lnTo>
                  <a:pt x="2333" y="272"/>
                </a:lnTo>
                <a:lnTo>
                  <a:pt x="2333" y="277"/>
                </a:lnTo>
                <a:lnTo>
                  <a:pt x="2332" y="284"/>
                </a:lnTo>
                <a:lnTo>
                  <a:pt x="2326" y="285"/>
                </a:lnTo>
                <a:lnTo>
                  <a:pt x="2325" y="284"/>
                </a:lnTo>
                <a:lnTo>
                  <a:pt x="2326" y="280"/>
                </a:lnTo>
                <a:lnTo>
                  <a:pt x="2322" y="279"/>
                </a:lnTo>
                <a:lnTo>
                  <a:pt x="2314" y="280"/>
                </a:lnTo>
                <a:lnTo>
                  <a:pt x="2303" y="273"/>
                </a:lnTo>
                <a:lnTo>
                  <a:pt x="2292" y="269"/>
                </a:lnTo>
                <a:lnTo>
                  <a:pt x="2303" y="276"/>
                </a:lnTo>
                <a:lnTo>
                  <a:pt x="2316" y="286"/>
                </a:lnTo>
                <a:lnTo>
                  <a:pt x="2307" y="286"/>
                </a:lnTo>
                <a:lnTo>
                  <a:pt x="2299" y="293"/>
                </a:lnTo>
                <a:lnTo>
                  <a:pt x="2308" y="290"/>
                </a:lnTo>
                <a:lnTo>
                  <a:pt x="2313" y="290"/>
                </a:lnTo>
                <a:lnTo>
                  <a:pt x="2313" y="289"/>
                </a:lnTo>
                <a:lnTo>
                  <a:pt x="2319" y="287"/>
                </a:lnTo>
                <a:lnTo>
                  <a:pt x="2326" y="289"/>
                </a:lnTo>
                <a:lnTo>
                  <a:pt x="2322" y="292"/>
                </a:lnTo>
                <a:lnTo>
                  <a:pt x="2329" y="293"/>
                </a:lnTo>
                <a:lnTo>
                  <a:pt x="2322" y="299"/>
                </a:lnTo>
                <a:lnTo>
                  <a:pt x="2316" y="297"/>
                </a:lnTo>
                <a:lnTo>
                  <a:pt x="2316" y="298"/>
                </a:lnTo>
                <a:lnTo>
                  <a:pt x="2308" y="302"/>
                </a:lnTo>
                <a:lnTo>
                  <a:pt x="2321" y="302"/>
                </a:lnTo>
                <a:lnTo>
                  <a:pt x="2327" y="304"/>
                </a:lnTo>
                <a:lnTo>
                  <a:pt x="2332" y="298"/>
                </a:lnTo>
                <a:lnTo>
                  <a:pt x="2333" y="300"/>
                </a:lnTo>
                <a:lnTo>
                  <a:pt x="2333" y="302"/>
                </a:lnTo>
                <a:lnTo>
                  <a:pt x="2333" y="303"/>
                </a:lnTo>
                <a:lnTo>
                  <a:pt x="2338" y="304"/>
                </a:lnTo>
                <a:lnTo>
                  <a:pt x="2333" y="310"/>
                </a:lnTo>
                <a:lnTo>
                  <a:pt x="2329" y="312"/>
                </a:lnTo>
                <a:lnTo>
                  <a:pt x="2322" y="311"/>
                </a:lnTo>
                <a:lnTo>
                  <a:pt x="2319" y="306"/>
                </a:lnTo>
                <a:lnTo>
                  <a:pt x="2315" y="306"/>
                </a:lnTo>
                <a:lnTo>
                  <a:pt x="2310" y="304"/>
                </a:lnTo>
                <a:lnTo>
                  <a:pt x="2304" y="306"/>
                </a:lnTo>
                <a:lnTo>
                  <a:pt x="2300" y="306"/>
                </a:lnTo>
                <a:lnTo>
                  <a:pt x="2294" y="301"/>
                </a:lnTo>
                <a:lnTo>
                  <a:pt x="2299" y="307"/>
                </a:lnTo>
                <a:lnTo>
                  <a:pt x="2295" y="308"/>
                </a:lnTo>
                <a:lnTo>
                  <a:pt x="2289" y="310"/>
                </a:lnTo>
                <a:lnTo>
                  <a:pt x="2294" y="310"/>
                </a:lnTo>
                <a:lnTo>
                  <a:pt x="2289" y="313"/>
                </a:lnTo>
                <a:lnTo>
                  <a:pt x="2289" y="314"/>
                </a:lnTo>
                <a:lnTo>
                  <a:pt x="2286" y="315"/>
                </a:lnTo>
                <a:lnTo>
                  <a:pt x="2295" y="318"/>
                </a:lnTo>
                <a:lnTo>
                  <a:pt x="2297" y="321"/>
                </a:lnTo>
                <a:lnTo>
                  <a:pt x="2295" y="318"/>
                </a:lnTo>
                <a:lnTo>
                  <a:pt x="2297" y="315"/>
                </a:lnTo>
                <a:lnTo>
                  <a:pt x="2317" y="321"/>
                </a:lnTo>
                <a:lnTo>
                  <a:pt x="2317" y="325"/>
                </a:lnTo>
                <a:lnTo>
                  <a:pt x="2314" y="327"/>
                </a:lnTo>
                <a:lnTo>
                  <a:pt x="2317" y="328"/>
                </a:lnTo>
                <a:lnTo>
                  <a:pt x="2316" y="334"/>
                </a:lnTo>
                <a:lnTo>
                  <a:pt x="2319" y="334"/>
                </a:lnTo>
                <a:lnTo>
                  <a:pt x="2317" y="336"/>
                </a:lnTo>
                <a:lnTo>
                  <a:pt x="2302" y="333"/>
                </a:lnTo>
                <a:lnTo>
                  <a:pt x="2300" y="336"/>
                </a:lnTo>
                <a:lnTo>
                  <a:pt x="2290" y="339"/>
                </a:lnTo>
                <a:lnTo>
                  <a:pt x="2273" y="334"/>
                </a:lnTo>
                <a:lnTo>
                  <a:pt x="2265" y="330"/>
                </a:lnTo>
                <a:lnTo>
                  <a:pt x="2265" y="326"/>
                </a:lnTo>
                <a:lnTo>
                  <a:pt x="2273" y="326"/>
                </a:lnTo>
                <a:lnTo>
                  <a:pt x="2264" y="323"/>
                </a:lnTo>
                <a:lnTo>
                  <a:pt x="2257" y="326"/>
                </a:lnTo>
                <a:lnTo>
                  <a:pt x="2257" y="330"/>
                </a:lnTo>
                <a:lnTo>
                  <a:pt x="2251" y="330"/>
                </a:lnTo>
                <a:lnTo>
                  <a:pt x="2257" y="334"/>
                </a:lnTo>
                <a:lnTo>
                  <a:pt x="2248" y="336"/>
                </a:lnTo>
                <a:lnTo>
                  <a:pt x="2244" y="339"/>
                </a:lnTo>
                <a:lnTo>
                  <a:pt x="2241" y="341"/>
                </a:lnTo>
                <a:lnTo>
                  <a:pt x="2242" y="341"/>
                </a:lnTo>
                <a:lnTo>
                  <a:pt x="2241" y="342"/>
                </a:lnTo>
                <a:lnTo>
                  <a:pt x="2237" y="342"/>
                </a:lnTo>
                <a:lnTo>
                  <a:pt x="2230" y="340"/>
                </a:lnTo>
                <a:lnTo>
                  <a:pt x="2227" y="342"/>
                </a:lnTo>
                <a:lnTo>
                  <a:pt x="2222" y="341"/>
                </a:lnTo>
                <a:lnTo>
                  <a:pt x="2213" y="342"/>
                </a:lnTo>
                <a:lnTo>
                  <a:pt x="2217" y="344"/>
                </a:lnTo>
                <a:lnTo>
                  <a:pt x="2217" y="346"/>
                </a:lnTo>
                <a:lnTo>
                  <a:pt x="2229" y="346"/>
                </a:lnTo>
                <a:lnTo>
                  <a:pt x="2232" y="342"/>
                </a:lnTo>
                <a:lnTo>
                  <a:pt x="2251" y="344"/>
                </a:lnTo>
                <a:lnTo>
                  <a:pt x="2251" y="348"/>
                </a:lnTo>
                <a:lnTo>
                  <a:pt x="2249" y="350"/>
                </a:lnTo>
                <a:lnTo>
                  <a:pt x="2241" y="350"/>
                </a:lnTo>
                <a:lnTo>
                  <a:pt x="2236" y="353"/>
                </a:lnTo>
                <a:lnTo>
                  <a:pt x="2227" y="350"/>
                </a:lnTo>
                <a:lnTo>
                  <a:pt x="2217" y="350"/>
                </a:lnTo>
                <a:lnTo>
                  <a:pt x="2231" y="354"/>
                </a:lnTo>
                <a:lnTo>
                  <a:pt x="2227" y="355"/>
                </a:lnTo>
                <a:lnTo>
                  <a:pt x="2232" y="353"/>
                </a:lnTo>
                <a:lnTo>
                  <a:pt x="2229" y="360"/>
                </a:lnTo>
                <a:lnTo>
                  <a:pt x="2243" y="352"/>
                </a:lnTo>
                <a:lnTo>
                  <a:pt x="2253" y="353"/>
                </a:lnTo>
                <a:lnTo>
                  <a:pt x="2253" y="355"/>
                </a:lnTo>
                <a:lnTo>
                  <a:pt x="2253" y="360"/>
                </a:lnTo>
                <a:lnTo>
                  <a:pt x="2256" y="362"/>
                </a:lnTo>
                <a:lnTo>
                  <a:pt x="2237" y="367"/>
                </a:lnTo>
                <a:lnTo>
                  <a:pt x="2246" y="367"/>
                </a:lnTo>
                <a:lnTo>
                  <a:pt x="2248" y="366"/>
                </a:lnTo>
                <a:lnTo>
                  <a:pt x="2257" y="365"/>
                </a:lnTo>
                <a:lnTo>
                  <a:pt x="2280" y="375"/>
                </a:lnTo>
                <a:lnTo>
                  <a:pt x="2277" y="376"/>
                </a:lnTo>
                <a:lnTo>
                  <a:pt x="2288" y="380"/>
                </a:lnTo>
                <a:lnTo>
                  <a:pt x="2280" y="387"/>
                </a:lnTo>
                <a:lnTo>
                  <a:pt x="2288" y="381"/>
                </a:lnTo>
                <a:lnTo>
                  <a:pt x="2285" y="387"/>
                </a:lnTo>
                <a:lnTo>
                  <a:pt x="2285" y="388"/>
                </a:lnTo>
                <a:lnTo>
                  <a:pt x="2292" y="383"/>
                </a:lnTo>
                <a:lnTo>
                  <a:pt x="2296" y="383"/>
                </a:lnTo>
                <a:lnTo>
                  <a:pt x="2292" y="388"/>
                </a:lnTo>
                <a:lnTo>
                  <a:pt x="2294" y="390"/>
                </a:lnTo>
                <a:lnTo>
                  <a:pt x="2298" y="389"/>
                </a:lnTo>
                <a:lnTo>
                  <a:pt x="2300" y="393"/>
                </a:lnTo>
                <a:lnTo>
                  <a:pt x="2299" y="395"/>
                </a:lnTo>
                <a:lnTo>
                  <a:pt x="2302" y="395"/>
                </a:lnTo>
                <a:lnTo>
                  <a:pt x="2295" y="399"/>
                </a:lnTo>
                <a:lnTo>
                  <a:pt x="2299" y="399"/>
                </a:lnTo>
                <a:lnTo>
                  <a:pt x="2300" y="400"/>
                </a:lnTo>
                <a:lnTo>
                  <a:pt x="2300" y="400"/>
                </a:lnTo>
                <a:lnTo>
                  <a:pt x="2302" y="404"/>
                </a:lnTo>
                <a:lnTo>
                  <a:pt x="2300" y="410"/>
                </a:lnTo>
                <a:lnTo>
                  <a:pt x="2302" y="411"/>
                </a:lnTo>
                <a:lnTo>
                  <a:pt x="2299" y="411"/>
                </a:lnTo>
                <a:lnTo>
                  <a:pt x="2300" y="414"/>
                </a:lnTo>
                <a:lnTo>
                  <a:pt x="2299" y="419"/>
                </a:lnTo>
                <a:lnTo>
                  <a:pt x="2303" y="419"/>
                </a:lnTo>
                <a:lnTo>
                  <a:pt x="2295" y="424"/>
                </a:lnTo>
                <a:lnTo>
                  <a:pt x="2296" y="419"/>
                </a:lnTo>
                <a:lnTo>
                  <a:pt x="2295" y="419"/>
                </a:lnTo>
                <a:lnTo>
                  <a:pt x="2289" y="419"/>
                </a:lnTo>
                <a:lnTo>
                  <a:pt x="2287" y="416"/>
                </a:lnTo>
                <a:lnTo>
                  <a:pt x="2286" y="419"/>
                </a:lnTo>
                <a:lnTo>
                  <a:pt x="2276" y="419"/>
                </a:lnTo>
                <a:lnTo>
                  <a:pt x="2266" y="412"/>
                </a:lnTo>
                <a:lnTo>
                  <a:pt x="2261" y="410"/>
                </a:lnTo>
                <a:lnTo>
                  <a:pt x="2261" y="402"/>
                </a:lnTo>
                <a:lnTo>
                  <a:pt x="2254" y="394"/>
                </a:lnTo>
                <a:lnTo>
                  <a:pt x="2251" y="395"/>
                </a:lnTo>
                <a:lnTo>
                  <a:pt x="2243" y="389"/>
                </a:lnTo>
                <a:lnTo>
                  <a:pt x="2240" y="389"/>
                </a:lnTo>
                <a:lnTo>
                  <a:pt x="2247" y="394"/>
                </a:lnTo>
                <a:lnTo>
                  <a:pt x="2244" y="398"/>
                </a:lnTo>
                <a:lnTo>
                  <a:pt x="2241" y="395"/>
                </a:lnTo>
                <a:lnTo>
                  <a:pt x="2243" y="399"/>
                </a:lnTo>
                <a:lnTo>
                  <a:pt x="2241" y="400"/>
                </a:lnTo>
                <a:lnTo>
                  <a:pt x="2241" y="400"/>
                </a:lnTo>
                <a:lnTo>
                  <a:pt x="2240" y="400"/>
                </a:lnTo>
                <a:lnTo>
                  <a:pt x="2240" y="400"/>
                </a:lnTo>
                <a:lnTo>
                  <a:pt x="2240" y="401"/>
                </a:lnTo>
                <a:lnTo>
                  <a:pt x="2230" y="405"/>
                </a:lnTo>
                <a:lnTo>
                  <a:pt x="2218" y="407"/>
                </a:lnTo>
                <a:lnTo>
                  <a:pt x="2218" y="407"/>
                </a:lnTo>
                <a:lnTo>
                  <a:pt x="2218" y="407"/>
                </a:lnTo>
                <a:lnTo>
                  <a:pt x="2218" y="407"/>
                </a:lnTo>
                <a:lnTo>
                  <a:pt x="2217" y="407"/>
                </a:lnTo>
                <a:lnTo>
                  <a:pt x="2214" y="407"/>
                </a:lnTo>
                <a:lnTo>
                  <a:pt x="2215" y="407"/>
                </a:lnTo>
                <a:lnTo>
                  <a:pt x="2217" y="407"/>
                </a:lnTo>
                <a:lnTo>
                  <a:pt x="2218" y="407"/>
                </a:lnTo>
                <a:lnTo>
                  <a:pt x="2213" y="410"/>
                </a:lnTo>
                <a:lnTo>
                  <a:pt x="2213" y="407"/>
                </a:lnTo>
                <a:lnTo>
                  <a:pt x="2213" y="407"/>
                </a:lnTo>
                <a:lnTo>
                  <a:pt x="2203" y="407"/>
                </a:lnTo>
                <a:lnTo>
                  <a:pt x="2209" y="408"/>
                </a:lnTo>
                <a:lnTo>
                  <a:pt x="2203" y="415"/>
                </a:lnTo>
                <a:lnTo>
                  <a:pt x="2189" y="417"/>
                </a:lnTo>
                <a:lnTo>
                  <a:pt x="2189" y="421"/>
                </a:lnTo>
                <a:lnTo>
                  <a:pt x="2203" y="417"/>
                </a:lnTo>
                <a:lnTo>
                  <a:pt x="2203" y="418"/>
                </a:lnTo>
                <a:lnTo>
                  <a:pt x="2204" y="421"/>
                </a:lnTo>
                <a:lnTo>
                  <a:pt x="2227" y="417"/>
                </a:lnTo>
                <a:lnTo>
                  <a:pt x="2232" y="421"/>
                </a:lnTo>
                <a:lnTo>
                  <a:pt x="2227" y="423"/>
                </a:lnTo>
                <a:lnTo>
                  <a:pt x="2224" y="423"/>
                </a:lnTo>
                <a:lnTo>
                  <a:pt x="2232" y="426"/>
                </a:lnTo>
                <a:lnTo>
                  <a:pt x="2249" y="418"/>
                </a:lnTo>
                <a:lnTo>
                  <a:pt x="2248" y="422"/>
                </a:lnTo>
                <a:lnTo>
                  <a:pt x="2251" y="421"/>
                </a:lnTo>
                <a:lnTo>
                  <a:pt x="2273" y="427"/>
                </a:lnTo>
                <a:lnTo>
                  <a:pt x="2294" y="427"/>
                </a:lnTo>
                <a:lnTo>
                  <a:pt x="2291" y="430"/>
                </a:lnTo>
                <a:lnTo>
                  <a:pt x="2278" y="434"/>
                </a:lnTo>
                <a:lnTo>
                  <a:pt x="2276" y="433"/>
                </a:lnTo>
                <a:lnTo>
                  <a:pt x="2277" y="434"/>
                </a:lnTo>
                <a:lnTo>
                  <a:pt x="2276" y="434"/>
                </a:lnTo>
                <a:lnTo>
                  <a:pt x="2277" y="437"/>
                </a:lnTo>
                <a:lnTo>
                  <a:pt x="2273" y="438"/>
                </a:lnTo>
                <a:lnTo>
                  <a:pt x="2275" y="439"/>
                </a:lnTo>
                <a:lnTo>
                  <a:pt x="2267" y="439"/>
                </a:lnTo>
                <a:lnTo>
                  <a:pt x="2273" y="441"/>
                </a:lnTo>
                <a:lnTo>
                  <a:pt x="2269" y="444"/>
                </a:lnTo>
                <a:lnTo>
                  <a:pt x="2262" y="440"/>
                </a:lnTo>
                <a:lnTo>
                  <a:pt x="2266" y="444"/>
                </a:lnTo>
                <a:lnTo>
                  <a:pt x="2260" y="447"/>
                </a:lnTo>
                <a:lnTo>
                  <a:pt x="2257" y="447"/>
                </a:lnTo>
                <a:lnTo>
                  <a:pt x="2257" y="451"/>
                </a:lnTo>
                <a:lnTo>
                  <a:pt x="2249" y="451"/>
                </a:lnTo>
                <a:lnTo>
                  <a:pt x="2248" y="451"/>
                </a:lnTo>
                <a:close/>
                <a:moveTo>
                  <a:pt x="2288" y="391"/>
                </a:moveTo>
                <a:lnTo>
                  <a:pt x="2289" y="399"/>
                </a:lnTo>
                <a:lnTo>
                  <a:pt x="2289" y="399"/>
                </a:lnTo>
                <a:lnTo>
                  <a:pt x="2289" y="391"/>
                </a:lnTo>
                <a:lnTo>
                  <a:pt x="2291" y="391"/>
                </a:lnTo>
                <a:lnTo>
                  <a:pt x="2288" y="391"/>
                </a:lnTo>
                <a:close/>
                <a:moveTo>
                  <a:pt x="2243" y="374"/>
                </a:moveTo>
                <a:lnTo>
                  <a:pt x="2245" y="371"/>
                </a:lnTo>
                <a:lnTo>
                  <a:pt x="2245" y="371"/>
                </a:lnTo>
                <a:lnTo>
                  <a:pt x="2243" y="374"/>
                </a:lnTo>
                <a:close/>
                <a:moveTo>
                  <a:pt x="2299" y="327"/>
                </a:moveTo>
                <a:lnTo>
                  <a:pt x="2300" y="326"/>
                </a:lnTo>
                <a:lnTo>
                  <a:pt x="2299" y="324"/>
                </a:lnTo>
                <a:lnTo>
                  <a:pt x="2299" y="327"/>
                </a:lnTo>
                <a:close/>
                <a:moveTo>
                  <a:pt x="2313" y="294"/>
                </a:moveTo>
                <a:lnTo>
                  <a:pt x="2313" y="294"/>
                </a:lnTo>
                <a:lnTo>
                  <a:pt x="2313" y="293"/>
                </a:lnTo>
                <a:lnTo>
                  <a:pt x="2313" y="294"/>
                </a:lnTo>
                <a:close/>
                <a:moveTo>
                  <a:pt x="2312" y="255"/>
                </a:moveTo>
                <a:lnTo>
                  <a:pt x="2316" y="258"/>
                </a:lnTo>
                <a:lnTo>
                  <a:pt x="2317" y="258"/>
                </a:lnTo>
                <a:lnTo>
                  <a:pt x="2312" y="255"/>
                </a:lnTo>
                <a:close/>
                <a:moveTo>
                  <a:pt x="2285" y="330"/>
                </a:moveTo>
                <a:lnTo>
                  <a:pt x="2286" y="330"/>
                </a:lnTo>
                <a:lnTo>
                  <a:pt x="2292" y="330"/>
                </a:lnTo>
                <a:lnTo>
                  <a:pt x="2285" y="330"/>
                </a:lnTo>
                <a:close/>
                <a:moveTo>
                  <a:pt x="2299" y="214"/>
                </a:moveTo>
                <a:lnTo>
                  <a:pt x="2302" y="214"/>
                </a:lnTo>
                <a:lnTo>
                  <a:pt x="2303" y="210"/>
                </a:lnTo>
                <a:lnTo>
                  <a:pt x="2299" y="214"/>
                </a:lnTo>
                <a:close/>
                <a:moveTo>
                  <a:pt x="2240" y="319"/>
                </a:moveTo>
                <a:lnTo>
                  <a:pt x="2244" y="325"/>
                </a:lnTo>
                <a:lnTo>
                  <a:pt x="2249" y="329"/>
                </a:lnTo>
                <a:lnTo>
                  <a:pt x="2249" y="326"/>
                </a:lnTo>
                <a:lnTo>
                  <a:pt x="2240" y="319"/>
                </a:lnTo>
                <a:close/>
                <a:moveTo>
                  <a:pt x="2215" y="334"/>
                </a:moveTo>
                <a:lnTo>
                  <a:pt x="2225" y="337"/>
                </a:lnTo>
                <a:lnTo>
                  <a:pt x="2217" y="333"/>
                </a:lnTo>
                <a:lnTo>
                  <a:pt x="2215" y="334"/>
                </a:lnTo>
                <a:close/>
                <a:moveTo>
                  <a:pt x="2213" y="402"/>
                </a:moveTo>
                <a:lnTo>
                  <a:pt x="2211" y="399"/>
                </a:lnTo>
                <a:lnTo>
                  <a:pt x="2210" y="399"/>
                </a:lnTo>
                <a:lnTo>
                  <a:pt x="2213" y="402"/>
                </a:lnTo>
                <a:close/>
                <a:moveTo>
                  <a:pt x="2198" y="375"/>
                </a:moveTo>
                <a:lnTo>
                  <a:pt x="2203" y="378"/>
                </a:lnTo>
                <a:lnTo>
                  <a:pt x="2202" y="377"/>
                </a:lnTo>
                <a:lnTo>
                  <a:pt x="2211" y="380"/>
                </a:lnTo>
                <a:lnTo>
                  <a:pt x="2218" y="385"/>
                </a:lnTo>
                <a:lnTo>
                  <a:pt x="2217" y="388"/>
                </a:lnTo>
                <a:lnTo>
                  <a:pt x="2202" y="391"/>
                </a:lnTo>
                <a:lnTo>
                  <a:pt x="2217" y="391"/>
                </a:lnTo>
                <a:lnTo>
                  <a:pt x="2217" y="391"/>
                </a:lnTo>
                <a:lnTo>
                  <a:pt x="2220" y="391"/>
                </a:lnTo>
                <a:lnTo>
                  <a:pt x="2221" y="391"/>
                </a:lnTo>
                <a:lnTo>
                  <a:pt x="2221" y="391"/>
                </a:lnTo>
                <a:lnTo>
                  <a:pt x="2238" y="389"/>
                </a:lnTo>
                <a:lnTo>
                  <a:pt x="2224" y="388"/>
                </a:lnTo>
                <a:lnTo>
                  <a:pt x="2213" y="378"/>
                </a:lnTo>
                <a:lnTo>
                  <a:pt x="2200" y="375"/>
                </a:lnTo>
                <a:lnTo>
                  <a:pt x="2198" y="375"/>
                </a:lnTo>
                <a:close/>
                <a:moveTo>
                  <a:pt x="1654" y="222"/>
                </a:moveTo>
                <a:lnTo>
                  <a:pt x="1646" y="223"/>
                </a:lnTo>
                <a:lnTo>
                  <a:pt x="1650" y="223"/>
                </a:lnTo>
                <a:lnTo>
                  <a:pt x="1654" y="222"/>
                </a:lnTo>
                <a:close/>
                <a:moveTo>
                  <a:pt x="1671" y="256"/>
                </a:moveTo>
                <a:lnTo>
                  <a:pt x="1668" y="257"/>
                </a:lnTo>
                <a:lnTo>
                  <a:pt x="1671" y="257"/>
                </a:lnTo>
                <a:lnTo>
                  <a:pt x="1671" y="256"/>
                </a:lnTo>
                <a:close/>
                <a:moveTo>
                  <a:pt x="1796" y="85"/>
                </a:moveTo>
                <a:lnTo>
                  <a:pt x="1783" y="79"/>
                </a:lnTo>
                <a:lnTo>
                  <a:pt x="1785" y="81"/>
                </a:lnTo>
                <a:lnTo>
                  <a:pt x="1794" y="85"/>
                </a:lnTo>
                <a:lnTo>
                  <a:pt x="1796" y="85"/>
                </a:lnTo>
                <a:close/>
                <a:moveTo>
                  <a:pt x="1815" y="56"/>
                </a:moveTo>
                <a:lnTo>
                  <a:pt x="1813" y="53"/>
                </a:lnTo>
                <a:lnTo>
                  <a:pt x="1812" y="54"/>
                </a:lnTo>
                <a:lnTo>
                  <a:pt x="1815" y="56"/>
                </a:lnTo>
                <a:close/>
                <a:moveTo>
                  <a:pt x="1816" y="367"/>
                </a:moveTo>
                <a:lnTo>
                  <a:pt x="1821" y="367"/>
                </a:lnTo>
                <a:lnTo>
                  <a:pt x="1817" y="366"/>
                </a:lnTo>
                <a:lnTo>
                  <a:pt x="1815" y="365"/>
                </a:lnTo>
                <a:lnTo>
                  <a:pt x="1815" y="366"/>
                </a:lnTo>
                <a:lnTo>
                  <a:pt x="1815" y="368"/>
                </a:lnTo>
                <a:lnTo>
                  <a:pt x="1812" y="375"/>
                </a:lnTo>
                <a:lnTo>
                  <a:pt x="1818" y="370"/>
                </a:lnTo>
                <a:lnTo>
                  <a:pt x="1816" y="367"/>
                </a:lnTo>
                <a:close/>
                <a:moveTo>
                  <a:pt x="1826" y="370"/>
                </a:moveTo>
                <a:lnTo>
                  <a:pt x="1820" y="377"/>
                </a:lnTo>
                <a:lnTo>
                  <a:pt x="1822" y="376"/>
                </a:lnTo>
                <a:lnTo>
                  <a:pt x="1826" y="370"/>
                </a:lnTo>
                <a:close/>
                <a:moveTo>
                  <a:pt x="1834" y="372"/>
                </a:moveTo>
                <a:lnTo>
                  <a:pt x="1833" y="366"/>
                </a:lnTo>
                <a:lnTo>
                  <a:pt x="1830" y="366"/>
                </a:lnTo>
                <a:lnTo>
                  <a:pt x="1834" y="372"/>
                </a:lnTo>
                <a:close/>
                <a:moveTo>
                  <a:pt x="1839" y="375"/>
                </a:moveTo>
                <a:lnTo>
                  <a:pt x="1834" y="373"/>
                </a:lnTo>
                <a:lnTo>
                  <a:pt x="1839" y="379"/>
                </a:lnTo>
                <a:lnTo>
                  <a:pt x="1839" y="375"/>
                </a:lnTo>
                <a:close/>
                <a:moveTo>
                  <a:pt x="1885" y="456"/>
                </a:moveTo>
                <a:lnTo>
                  <a:pt x="1883" y="456"/>
                </a:lnTo>
                <a:lnTo>
                  <a:pt x="1883" y="456"/>
                </a:lnTo>
                <a:lnTo>
                  <a:pt x="1884" y="457"/>
                </a:lnTo>
                <a:lnTo>
                  <a:pt x="1880" y="456"/>
                </a:lnTo>
                <a:lnTo>
                  <a:pt x="1883" y="455"/>
                </a:lnTo>
                <a:lnTo>
                  <a:pt x="1881" y="455"/>
                </a:lnTo>
                <a:lnTo>
                  <a:pt x="1879" y="455"/>
                </a:lnTo>
                <a:lnTo>
                  <a:pt x="1879" y="454"/>
                </a:lnTo>
                <a:lnTo>
                  <a:pt x="1878" y="454"/>
                </a:lnTo>
                <a:lnTo>
                  <a:pt x="1879" y="454"/>
                </a:lnTo>
                <a:lnTo>
                  <a:pt x="1879" y="449"/>
                </a:lnTo>
                <a:lnTo>
                  <a:pt x="1875" y="455"/>
                </a:lnTo>
                <a:lnTo>
                  <a:pt x="1877" y="455"/>
                </a:lnTo>
                <a:lnTo>
                  <a:pt x="1874" y="457"/>
                </a:lnTo>
                <a:lnTo>
                  <a:pt x="1878" y="455"/>
                </a:lnTo>
                <a:lnTo>
                  <a:pt x="1882" y="460"/>
                </a:lnTo>
                <a:lnTo>
                  <a:pt x="1884" y="457"/>
                </a:lnTo>
                <a:lnTo>
                  <a:pt x="1885" y="458"/>
                </a:lnTo>
                <a:lnTo>
                  <a:pt x="1885" y="456"/>
                </a:lnTo>
                <a:close/>
                <a:moveTo>
                  <a:pt x="1852" y="483"/>
                </a:moveTo>
                <a:lnTo>
                  <a:pt x="1855" y="484"/>
                </a:lnTo>
                <a:lnTo>
                  <a:pt x="1859" y="483"/>
                </a:lnTo>
                <a:lnTo>
                  <a:pt x="1852" y="483"/>
                </a:lnTo>
                <a:close/>
                <a:moveTo>
                  <a:pt x="1845" y="483"/>
                </a:moveTo>
                <a:lnTo>
                  <a:pt x="1845" y="483"/>
                </a:lnTo>
                <a:lnTo>
                  <a:pt x="1846" y="483"/>
                </a:lnTo>
                <a:lnTo>
                  <a:pt x="1845" y="483"/>
                </a:lnTo>
                <a:close/>
                <a:moveTo>
                  <a:pt x="1840" y="487"/>
                </a:moveTo>
                <a:lnTo>
                  <a:pt x="1841" y="487"/>
                </a:lnTo>
                <a:lnTo>
                  <a:pt x="1845" y="487"/>
                </a:lnTo>
                <a:lnTo>
                  <a:pt x="1840" y="487"/>
                </a:lnTo>
                <a:close/>
                <a:moveTo>
                  <a:pt x="1855" y="535"/>
                </a:moveTo>
                <a:lnTo>
                  <a:pt x="1852" y="533"/>
                </a:lnTo>
                <a:lnTo>
                  <a:pt x="1850" y="534"/>
                </a:lnTo>
                <a:lnTo>
                  <a:pt x="1855" y="535"/>
                </a:lnTo>
                <a:close/>
                <a:moveTo>
                  <a:pt x="1860" y="518"/>
                </a:moveTo>
                <a:lnTo>
                  <a:pt x="1856" y="521"/>
                </a:lnTo>
                <a:lnTo>
                  <a:pt x="1851" y="525"/>
                </a:lnTo>
                <a:lnTo>
                  <a:pt x="1859" y="520"/>
                </a:lnTo>
                <a:lnTo>
                  <a:pt x="1860" y="518"/>
                </a:lnTo>
                <a:close/>
                <a:moveTo>
                  <a:pt x="1862" y="531"/>
                </a:moveTo>
                <a:lnTo>
                  <a:pt x="1861" y="532"/>
                </a:lnTo>
                <a:lnTo>
                  <a:pt x="1862" y="533"/>
                </a:lnTo>
                <a:lnTo>
                  <a:pt x="1862" y="531"/>
                </a:lnTo>
                <a:close/>
                <a:moveTo>
                  <a:pt x="1871" y="556"/>
                </a:moveTo>
                <a:lnTo>
                  <a:pt x="1866" y="559"/>
                </a:lnTo>
                <a:lnTo>
                  <a:pt x="1864" y="558"/>
                </a:lnTo>
                <a:lnTo>
                  <a:pt x="1861" y="562"/>
                </a:lnTo>
                <a:lnTo>
                  <a:pt x="1866" y="560"/>
                </a:lnTo>
                <a:lnTo>
                  <a:pt x="1871" y="556"/>
                </a:lnTo>
                <a:close/>
                <a:moveTo>
                  <a:pt x="1878" y="558"/>
                </a:moveTo>
                <a:lnTo>
                  <a:pt x="1875" y="551"/>
                </a:lnTo>
                <a:lnTo>
                  <a:pt x="1875" y="558"/>
                </a:lnTo>
                <a:lnTo>
                  <a:pt x="1878" y="558"/>
                </a:lnTo>
                <a:close/>
                <a:moveTo>
                  <a:pt x="1882" y="515"/>
                </a:moveTo>
                <a:lnTo>
                  <a:pt x="1874" y="512"/>
                </a:lnTo>
                <a:lnTo>
                  <a:pt x="1876" y="509"/>
                </a:lnTo>
                <a:lnTo>
                  <a:pt x="1872" y="511"/>
                </a:lnTo>
                <a:lnTo>
                  <a:pt x="1865" y="516"/>
                </a:lnTo>
                <a:lnTo>
                  <a:pt x="1871" y="515"/>
                </a:lnTo>
                <a:lnTo>
                  <a:pt x="1882" y="515"/>
                </a:lnTo>
                <a:close/>
                <a:moveTo>
                  <a:pt x="1888" y="509"/>
                </a:moveTo>
                <a:lnTo>
                  <a:pt x="1880" y="507"/>
                </a:lnTo>
                <a:lnTo>
                  <a:pt x="1880" y="507"/>
                </a:lnTo>
                <a:lnTo>
                  <a:pt x="1888" y="509"/>
                </a:lnTo>
                <a:close/>
                <a:moveTo>
                  <a:pt x="1907" y="632"/>
                </a:moveTo>
                <a:lnTo>
                  <a:pt x="1904" y="632"/>
                </a:lnTo>
                <a:lnTo>
                  <a:pt x="1900" y="634"/>
                </a:lnTo>
                <a:lnTo>
                  <a:pt x="1899" y="635"/>
                </a:lnTo>
                <a:lnTo>
                  <a:pt x="1899" y="636"/>
                </a:lnTo>
                <a:lnTo>
                  <a:pt x="1901" y="634"/>
                </a:lnTo>
                <a:lnTo>
                  <a:pt x="1907" y="632"/>
                </a:lnTo>
                <a:close/>
                <a:moveTo>
                  <a:pt x="1919" y="644"/>
                </a:moveTo>
                <a:lnTo>
                  <a:pt x="1915" y="644"/>
                </a:lnTo>
                <a:lnTo>
                  <a:pt x="1913" y="645"/>
                </a:lnTo>
                <a:lnTo>
                  <a:pt x="1914" y="648"/>
                </a:lnTo>
                <a:lnTo>
                  <a:pt x="1915" y="649"/>
                </a:lnTo>
                <a:lnTo>
                  <a:pt x="1919" y="644"/>
                </a:lnTo>
                <a:close/>
                <a:moveTo>
                  <a:pt x="1922" y="650"/>
                </a:moveTo>
                <a:lnTo>
                  <a:pt x="1920" y="651"/>
                </a:lnTo>
                <a:lnTo>
                  <a:pt x="1920" y="652"/>
                </a:lnTo>
                <a:lnTo>
                  <a:pt x="1922" y="650"/>
                </a:lnTo>
                <a:close/>
                <a:moveTo>
                  <a:pt x="1952" y="648"/>
                </a:moveTo>
                <a:lnTo>
                  <a:pt x="1949" y="645"/>
                </a:lnTo>
                <a:lnTo>
                  <a:pt x="1951" y="644"/>
                </a:lnTo>
                <a:lnTo>
                  <a:pt x="1947" y="645"/>
                </a:lnTo>
                <a:lnTo>
                  <a:pt x="1948" y="648"/>
                </a:lnTo>
                <a:lnTo>
                  <a:pt x="1948" y="648"/>
                </a:lnTo>
                <a:lnTo>
                  <a:pt x="1945" y="651"/>
                </a:lnTo>
                <a:lnTo>
                  <a:pt x="1952" y="648"/>
                </a:lnTo>
                <a:close/>
                <a:moveTo>
                  <a:pt x="1958" y="655"/>
                </a:moveTo>
                <a:lnTo>
                  <a:pt x="1955" y="652"/>
                </a:lnTo>
                <a:lnTo>
                  <a:pt x="1954" y="657"/>
                </a:lnTo>
                <a:lnTo>
                  <a:pt x="1958" y="655"/>
                </a:lnTo>
                <a:close/>
                <a:moveTo>
                  <a:pt x="1982" y="662"/>
                </a:moveTo>
                <a:lnTo>
                  <a:pt x="1980" y="656"/>
                </a:lnTo>
                <a:lnTo>
                  <a:pt x="1980" y="662"/>
                </a:lnTo>
                <a:lnTo>
                  <a:pt x="1982" y="662"/>
                </a:lnTo>
                <a:close/>
                <a:moveTo>
                  <a:pt x="2003" y="603"/>
                </a:moveTo>
                <a:lnTo>
                  <a:pt x="2005" y="605"/>
                </a:lnTo>
                <a:lnTo>
                  <a:pt x="2007" y="606"/>
                </a:lnTo>
                <a:lnTo>
                  <a:pt x="2003" y="603"/>
                </a:lnTo>
                <a:close/>
                <a:moveTo>
                  <a:pt x="2057" y="535"/>
                </a:moveTo>
                <a:lnTo>
                  <a:pt x="2056" y="531"/>
                </a:lnTo>
                <a:lnTo>
                  <a:pt x="2056" y="535"/>
                </a:lnTo>
                <a:lnTo>
                  <a:pt x="2057" y="535"/>
                </a:lnTo>
                <a:close/>
                <a:moveTo>
                  <a:pt x="2075" y="527"/>
                </a:moveTo>
                <a:lnTo>
                  <a:pt x="2067" y="527"/>
                </a:lnTo>
                <a:lnTo>
                  <a:pt x="2064" y="527"/>
                </a:lnTo>
                <a:lnTo>
                  <a:pt x="2065" y="529"/>
                </a:lnTo>
                <a:lnTo>
                  <a:pt x="2062" y="529"/>
                </a:lnTo>
                <a:lnTo>
                  <a:pt x="2064" y="533"/>
                </a:lnTo>
                <a:lnTo>
                  <a:pt x="2062" y="535"/>
                </a:lnTo>
                <a:lnTo>
                  <a:pt x="2060" y="533"/>
                </a:lnTo>
                <a:lnTo>
                  <a:pt x="2060" y="536"/>
                </a:lnTo>
                <a:lnTo>
                  <a:pt x="2062" y="536"/>
                </a:lnTo>
                <a:lnTo>
                  <a:pt x="2061" y="537"/>
                </a:lnTo>
                <a:lnTo>
                  <a:pt x="2066" y="536"/>
                </a:lnTo>
                <a:lnTo>
                  <a:pt x="2067" y="536"/>
                </a:lnTo>
                <a:lnTo>
                  <a:pt x="2065" y="533"/>
                </a:lnTo>
                <a:lnTo>
                  <a:pt x="2075" y="527"/>
                </a:lnTo>
                <a:close/>
                <a:moveTo>
                  <a:pt x="2214" y="469"/>
                </a:moveTo>
                <a:lnTo>
                  <a:pt x="2214" y="468"/>
                </a:lnTo>
                <a:lnTo>
                  <a:pt x="2213" y="469"/>
                </a:lnTo>
                <a:lnTo>
                  <a:pt x="2214" y="469"/>
                </a:lnTo>
                <a:close/>
                <a:moveTo>
                  <a:pt x="2224" y="423"/>
                </a:moveTo>
                <a:lnTo>
                  <a:pt x="2211" y="430"/>
                </a:lnTo>
                <a:lnTo>
                  <a:pt x="2200" y="428"/>
                </a:lnTo>
                <a:lnTo>
                  <a:pt x="2202" y="431"/>
                </a:lnTo>
                <a:lnTo>
                  <a:pt x="2211" y="431"/>
                </a:lnTo>
                <a:lnTo>
                  <a:pt x="2213" y="431"/>
                </a:lnTo>
                <a:lnTo>
                  <a:pt x="2213" y="435"/>
                </a:lnTo>
                <a:lnTo>
                  <a:pt x="2217" y="435"/>
                </a:lnTo>
                <a:lnTo>
                  <a:pt x="2221" y="427"/>
                </a:lnTo>
                <a:lnTo>
                  <a:pt x="2224" y="423"/>
                </a:lnTo>
                <a:close/>
                <a:moveTo>
                  <a:pt x="1872" y="574"/>
                </a:moveTo>
                <a:lnTo>
                  <a:pt x="1877" y="569"/>
                </a:lnTo>
                <a:lnTo>
                  <a:pt x="1874" y="568"/>
                </a:lnTo>
                <a:lnTo>
                  <a:pt x="1868" y="575"/>
                </a:lnTo>
                <a:lnTo>
                  <a:pt x="1872" y="574"/>
                </a:lnTo>
                <a:close/>
                <a:moveTo>
                  <a:pt x="2350" y="172"/>
                </a:moveTo>
                <a:lnTo>
                  <a:pt x="2352" y="170"/>
                </a:lnTo>
                <a:lnTo>
                  <a:pt x="2350" y="167"/>
                </a:lnTo>
                <a:lnTo>
                  <a:pt x="2350" y="172"/>
                </a:lnTo>
                <a:close/>
                <a:moveTo>
                  <a:pt x="1871" y="568"/>
                </a:moveTo>
                <a:lnTo>
                  <a:pt x="1868" y="570"/>
                </a:lnTo>
                <a:lnTo>
                  <a:pt x="1871" y="570"/>
                </a:lnTo>
                <a:lnTo>
                  <a:pt x="1872" y="568"/>
                </a:lnTo>
                <a:lnTo>
                  <a:pt x="1871" y="568"/>
                </a:lnTo>
                <a:close/>
                <a:moveTo>
                  <a:pt x="1866" y="559"/>
                </a:moveTo>
                <a:lnTo>
                  <a:pt x="1866" y="559"/>
                </a:lnTo>
                <a:lnTo>
                  <a:pt x="1864" y="559"/>
                </a:lnTo>
                <a:lnTo>
                  <a:pt x="1866" y="559"/>
                </a:lnTo>
                <a:close/>
                <a:moveTo>
                  <a:pt x="1835" y="403"/>
                </a:moveTo>
                <a:lnTo>
                  <a:pt x="1838" y="403"/>
                </a:lnTo>
                <a:lnTo>
                  <a:pt x="1840" y="400"/>
                </a:lnTo>
                <a:lnTo>
                  <a:pt x="1837" y="396"/>
                </a:lnTo>
                <a:lnTo>
                  <a:pt x="1830" y="401"/>
                </a:lnTo>
                <a:lnTo>
                  <a:pt x="1835" y="403"/>
                </a:lnTo>
                <a:close/>
                <a:moveTo>
                  <a:pt x="1871" y="467"/>
                </a:moveTo>
                <a:lnTo>
                  <a:pt x="1874" y="467"/>
                </a:lnTo>
                <a:lnTo>
                  <a:pt x="1872" y="464"/>
                </a:lnTo>
                <a:lnTo>
                  <a:pt x="1871" y="467"/>
                </a:lnTo>
                <a:close/>
                <a:moveTo>
                  <a:pt x="1866" y="574"/>
                </a:moveTo>
                <a:lnTo>
                  <a:pt x="1868" y="571"/>
                </a:lnTo>
                <a:lnTo>
                  <a:pt x="1867" y="571"/>
                </a:lnTo>
                <a:lnTo>
                  <a:pt x="1866" y="574"/>
                </a:lnTo>
                <a:close/>
                <a:moveTo>
                  <a:pt x="1869" y="444"/>
                </a:moveTo>
                <a:lnTo>
                  <a:pt x="1871" y="441"/>
                </a:lnTo>
                <a:lnTo>
                  <a:pt x="1871" y="438"/>
                </a:lnTo>
                <a:lnTo>
                  <a:pt x="1878" y="434"/>
                </a:lnTo>
                <a:lnTo>
                  <a:pt x="1873" y="433"/>
                </a:lnTo>
                <a:lnTo>
                  <a:pt x="1868" y="435"/>
                </a:lnTo>
                <a:lnTo>
                  <a:pt x="1874" y="435"/>
                </a:lnTo>
                <a:lnTo>
                  <a:pt x="1867" y="439"/>
                </a:lnTo>
                <a:lnTo>
                  <a:pt x="1869" y="444"/>
                </a:lnTo>
                <a:close/>
                <a:moveTo>
                  <a:pt x="2361" y="289"/>
                </a:moveTo>
                <a:lnTo>
                  <a:pt x="2362" y="285"/>
                </a:lnTo>
                <a:lnTo>
                  <a:pt x="2358" y="287"/>
                </a:lnTo>
                <a:lnTo>
                  <a:pt x="2349" y="281"/>
                </a:lnTo>
                <a:lnTo>
                  <a:pt x="2355" y="280"/>
                </a:lnTo>
                <a:lnTo>
                  <a:pt x="2354" y="277"/>
                </a:lnTo>
                <a:lnTo>
                  <a:pt x="2351" y="275"/>
                </a:lnTo>
                <a:lnTo>
                  <a:pt x="2350" y="280"/>
                </a:lnTo>
                <a:lnTo>
                  <a:pt x="2344" y="277"/>
                </a:lnTo>
                <a:lnTo>
                  <a:pt x="2341" y="280"/>
                </a:lnTo>
                <a:lnTo>
                  <a:pt x="2340" y="290"/>
                </a:lnTo>
                <a:lnTo>
                  <a:pt x="2355" y="290"/>
                </a:lnTo>
                <a:lnTo>
                  <a:pt x="2357" y="290"/>
                </a:lnTo>
                <a:lnTo>
                  <a:pt x="2357" y="290"/>
                </a:lnTo>
                <a:lnTo>
                  <a:pt x="2361" y="289"/>
                </a:lnTo>
                <a:close/>
                <a:moveTo>
                  <a:pt x="2306" y="200"/>
                </a:moveTo>
                <a:lnTo>
                  <a:pt x="2308" y="195"/>
                </a:lnTo>
                <a:lnTo>
                  <a:pt x="2303" y="199"/>
                </a:lnTo>
                <a:lnTo>
                  <a:pt x="2306" y="200"/>
                </a:lnTo>
                <a:close/>
                <a:moveTo>
                  <a:pt x="2330" y="233"/>
                </a:moveTo>
                <a:lnTo>
                  <a:pt x="2329" y="233"/>
                </a:lnTo>
                <a:lnTo>
                  <a:pt x="2328" y="234"/>
                </a:lnTo>
                <a:lnTo>
                  <a:pt x="2330" y="233"/>
                </a:lnTo>
                <a:close/>
                <a:moveTo>
                  <a:pt x="2325" y="208"/>
                </a:moveTo>
                <a:lnTo>
                  <a:pt x="2322" y="207"/>
                </a:lnTo>
                <a:lnTo>
                  <a:pt x="2317" y="208"/>
                </a:lnTo>
                <a:lnTo>
                  <a:pt x="2325" y="208"/>
                </a:lnTo>
                <a:close/>
                <a:moveTo>
                  <a:pt x="2317" y="198"/>
                </a:moveTo>
                <a:lnTo>
                  <a:pt x="2325" y="199"/>
                </a:lnTo>
                <a:lnTo>
                  <a:pt x="2325" y="198"/>
                </a:lnTo>
                <a:lnTo>
                  <a:pt x="2325" y="198"/>
                </a:lnTo>
                <a:lnTo>
                  <a:pt x="2317" y="198"/>
                </a:lnTo>
                <a:close/>
                <a:moveTo>
                  <a:pt x="2322" y="247"/>
                </a:moveTo>
                <a:lnTo>
                  <a:pt x="2314" y="247"/>
                </a:lnTo>
                <a:lnTo>
                  <a:pt x="2319" y="251"/>
                </a:lnTo>
                <a:lnTo>
                  <a:pt x="2322" y="247"/>
                </a:lnTo>
                <a:close/>
                <a:moveTo>
                  <a:pt x="2335" y="190"/>
                </a:moveTo>
                <a:lnTo>
                  <a:pt x="2333" y="192"/>
                </a:lnTo>
                <a:lnTo>
                  <a:pt x="2335" y="192"/>
                </a:lnTo>
                <a:lnTo>
                  <a:pt x="2335" y="190"/>
                </a:lnTo>
                <a:close/>
                <a:moveTo>
                  <a:pt x="2358" y="155"/>
                </a:moveTo>
                <a:lnTo>
                  <a:pt x="2352" y="161"/>
                </a:lnTo>
                <a:lnTo>
                  <a:pt x="2351" y="165"/>
                </a:lnTo>
                <a:lnTo>
                  <a:pt x="2359" y="158"/>
                </a:lnTo>
                <a:lnTo>
                  <a:pt x="2358" y="155"/>
                </a:lnTo>
                <a:close/>
                <a:moveTo>
                  <a:pt x="2302" y="239"/>
                </a:moveTo>
                <a:lnTo>
                  <a:pt x="2307" y="241"/>
                </a:lnTo>
                <a:lnTo>
                  <a:pt x="2310" y="239"/>
                </a:lnTo>
                <a:lnTo>
                  <a:pt x="2302" y="239"/>
                </a:lnTo>
                <a:lnTo>
                  <a:pt x="2302" y="239"/>
                </a:lnTo>
                <a:close/>
                <a:moveTo>
                  <a:pt x="2314" y="243"/>
                </a:moveTo>
                <a:lnTo>
                  <a:pt x="2308" y="245"/>
                </a:lnTo>
                <a:lnTo>
                  <a:pt x="2313" y="246"/>
                </a:lnTo>
                <a:lnTo>
                  <a:pt x="2314" y="243"/>
                </a:lnTo>
                <a:close/>
                <a:moveTo>
                  <a:pt x="2333" y="188"/>
                </a:moveTo>
                <a:lnTo>
                  <a:pt x="2335" y="189"/>
                </a:lnTo>
                <a:lnTo>
                  <a:pt x="2340" y="188"/>
                </a:lnTo>
                <a:lnTo>
                  <a:pt x="2333" y="188"/>
                </a:lnTo>
                <a:close/>
                <a:moveTo>
                  <a:pt x="2340" y="190"/>
                </a:moveTo>
                <a:lnTo>
                  <a:pt x="2336" y="192"/>
                </a:lnTo>
                <a:lnTo>
                  <a:pt x="2339" y="193"/>
                </a:lnTo>
                <a:lnTo>
                  <a:pt x="2340" y="190"/>
                </a:lnTo>
                <a:close/>
                <a:moveTo>
                  <a:pt x="2358" y="205"/>
                </a:moveTo>
                <a:lnTo>
                  <a:pt x="2359" y="201"/>
                </a:lnTo>
                <a:lnTo>
                  <a:pt x="2358" y="199"/>
                </a:lnTo>
                <a:lnTo>
                  <a:pt x="2354" y="200"/>
                </a:lnTo>
                <a:lnTo>
                  <a:pt x="2350" y="207"/>
                </a:lnTo>
                <a:lnTo>
                  <a:pt x="2358" y="205"/>
                </a:lnTo>
                <a:close/>
                <a:moveTo>
                  <a:pt x="2328" y="200"/>
                </a:moveTo>
                <a:lnTo>
                  <a:pt x="2335" y="201"/>
                </a:lnTo>
                <a:lnTo>
                  <a:pt x="2327" y="199"/>
                </a:lnTo>
                <a:lnTo>
                  <a:pt x="2328" y="200"/>
                </a:lnTo>
                <a:close/>
                <a:moveTo>
                  <a:pt x="2329" y="188"/>
                </a:moveTo>
                <a:lnTo>
                  <a:pt x="2332" y="185"/>
                </a:lnTo>
                <a:lnTo>
                  <a:pt x="2330" y="184"/>
                </a:lnTo>
                <a:lnTo>
                  <a:pt x="2329" y="184"/>
                </a:lnTo>
                <a:lnTo>
                  <a:pt x="2329" y="188"/>
                </a:lnTo>
                <a:close/>
                <a:moveTo>
                  <a:pt x="2328" y="171"/>
                </a:moveTo>
                <a:lnTo>
                  <a:pt x="2333" y="172"/>
                </a:lnTo>
                <a:lnTo>
                  <a:pt x="2336" y="171"/>
                </a:lnTo>
                <a:lnTo>
                  <a:pt x="2333" y="170"/>
                </a:lnTo>
                <a:lnTo>
                  <a:pt x="2336" y="166"/>
                </a:lnTo>
                <a:lnTo>
                  <a:pt x="2328" y="171"/>
                </a:lnTo>
                <a:close/>
                <a:moveTo>
                  <a:pt x="2333" y="184"/>
                </a:moveTo>
                <a:lnTo>
                  <a:pt x="2333" y="185"/>
                </a:lnTo>
                <a:lnTo>
                  <a:pt x="2339" y="184"/>
                </a:lnTo>
                <a:lnTo>
                  <a:pt x="2335" y="182"/>
                </a:lnTo>
                <a:lnTo>
                  <a:pt x="2333" y="184"/>
                </a:lnTo>
                <a:close/>
                <a:moveTo>
                  <a:pt x="3972" y="1590"/>
                </a:moveTo>
                <a:lnTo>
                  <a:pt x="3976" y="1594"/>
                </a:lnTo>
                <a:lnTo>
                  <a:pt x="3977" y="1591"/>
                </a:lnTo>
                <a:lnTo>
                  <a:pt x="3976" y="1587"/>
                </a:lnTo>
                <a:lnTo>
                  <a:pt x="3972" y="1590"/>
                </a:lnTo>
                <a:close/>
                <a:moveTo>
                  <a:pt x="4012" y="1660"/>
                </a:moveTo>
                <a:lnTo>
                  <a:pt x="4013" y="1660"/>
                </a:lnTo>
                <a:lnTo>
                  <a:pt x="4012" y="1659"/>
                </a:lnTo>
                <a:lnTo>
                  <a:pt x="4012" y="1660"/>
                </a:lnTo>
                <a:close/>
                <a:moveTo>
                  <a:pt x="4026" y="1658"/>
                </a:moveTo>
                <a:lnTo>
                  <a:pt x="4024" y="1658"/>
                </a:lnTo>
                <a:lnTo>
                  <a:pt x="4027" y="1662"/>
                </a:lnTo>
                <a:lnTo>
                  <a:pt x="4026" y="1658"/>
                </a:lnTo>
                <a:close/>
                <a:moveTo>
                  <a:pt x="4032" y="1677"/>
                </a:moveTo>
                <a:lnTo>
                  <a:pt x="4030" y="1672"/>
                </a:lnTo>
                <a:lnTo>
                  <a:pt x="4027" y="1672"/>
                </a:lnTo>
                <a:lnTo>
                  <a:pt x="4024" y="1674"/>
                </a:lnTo>
                <a:lnTo>
                  <a:pt x="4031" y="1681"/>
                </a:lnTo>
                <a:lnTo>
                  <a:pt x="4032" y="1682"/>
                </a:lnTo>
                <a:lnTo>
                  <a:pt x="4032" y="1676"/>
                </a:lnTo>
                <a:lnTo>
                  <a:pt x="4032" y="1677"/>
                </a:lnTo>
                <a:close/>
                <a:moveTo>
                  <a:pt x="4007" y="1652"/>
                </a:moveTo>
                <a:lnTo>
                  <a:pt x="4005" y="1652"/>
                </a:lnTo>
                <a:lnTo>
                  <a:pt x="4005" y="1651"/>
                </a:lnTo>
                <a:lnTo>
                  <a:pt x="4005" y="1651"/>
                </a:lnTo>
                <a:lnTo>
                  <a:pt x="4005" y="1652"/>
                </a:lnTo>
                <a:lnTo>
                  <a:pt x="4005" y="1653"/>
                </a:lnTo>
                <a:lnTo>
                  <a:pt x="4007" y="1654"/>
                </a:lnTo>
                <a:lnTo>
                  <a:pt x="4008" y="1655"/>
                </a:lnTo>
                <a:lnTo>
                  <a:pt x="4011" y="1657"/>
                </a:lnTo>
                <a:lnTo>
                  <a:pt x="4012" y="1659"/>
                </a:lnTo>
                <a:lnTo>
                  <a:pt x="4012" y="1656"/>
                </a:lnTo>
                <a:lnTo>
                  <a:pt x="4007" y="1652"/>
                </a:lnTo>
                <a:close/>
                <a:moveTo>
                  <a:pt x="4032" y="1684"/>
                </a:moveTo>
                <a:lnTo>
                  <a:pt x="4033" y="1685"/>
                </a:lnTo>
                <a:lnTo>
                  <a:pt x="4033" y="1684"/>
                </a:lnTo>
                <a:lnTo>
                  <a:pt x="4032" y="1682"/>
                </a:lnTo>
                <a:lnTo>
                  <a:pt x="4032" y="1684"/>
                </a:lnTo>
                <a:close/>
                <a:moveTo>
                  <a:pt x="4046" y="1697"/>
                </a:moveTo>
                <a:lnTo>
                  <a:pt x="4046" y="1698"/>
                </a:lnTo>
                <a:lnTo>
                  <a:pt x="4046" y="1698"/>
                </a:lnTo>
                <a:lnTo>
                  <a:pt x="4046" y="1697"/>
                </a:lnTo>
                <a:close/>
                <a:moveTo>
                  <a:pt x="4048" y="1691"/>
                </a:moveTo>
                <a:lnTo>
                  <a:pt x="4045" y="1691"/>
                </a:lnTo>
                <a:lnTo>
                  <a:pt x="4048" y="1692"/>
                </a:lnTo>
                <a:lnTo>
                  <a:pt x="4048" y="1691"/>
                </a:lnTo>
                <a:close/>
                <a:moveTo>
                  <a:pt x="4046" y="1702"/>
                </a:moveTo>
                <a:lnTo>
                  <a:pt x="4046" y="1699"/>
                </a:lnTo>
                <a:lnTo>
                  <a:pt x="4046" y="1698"/>
                </a:lnTo>
                <a:lnTo>
                  <a:pt x="4044" y="1694"/>
                </a:lnTo>
                <a:lnTo>
                  <a:pt x="4042" y="1694"/>
                </a:lnTo>
                <a:lnTo>
                  <a:pt x="4044" y="1697"/>
                </a:lnTo>
                <a:lnTo>
                  <a:pt x="4042" y="1702"/>
                </a:lnTo>
                <a:lnTo>
                  <a:pt x="4046" y="1702"/>
                </a:lnTo>
                <a:close/>
                <a:moveTo>
                  <a:pt x="3957" y="1520"/>
                </a:moveTo>
                <a:lnTo>
                  <a:pt x="3957" y="1520"/>
                </a:lnTo>
                <a:lnTo>
                  <a:pt x="3957" y="1524"/>
                </a:lnTo>
                <a:lnTo>
                  <a:pt x="3958" y="1524"/>
                </a:lnTo>
                <a:lnTo>
                  <a:pt x="3957" y="1520"/>
                </a:lnTo>
                <a:close/>
                <a:moveTo>
                  <a:pt x="3967" y="1574"/>
                </a:moveTo>
                <a:lnTo>
                  <a:pt x="3970" y="1577"/>
                </a:lnTo>
                <a:lnTo>
                  <a:pt x="3969" y="1574"/>
                </a:lnTo>
                <a:lnTo>
                  <a:pt x="3967" y="1574"/>
                </a:lnTo>
                <a:close/>
                <a:moveTo>
                  <a:pt x="3960" y="1556"/>
                </a:moveTo>
                <a:lnTo>
                  <a:pt x="3960" y="1555"/>
                </a:lnTo>
                <a:lnTo>
                  <a:pt x="3958" y="1556"/>
                </a:lnTo>
                <a:lnTo>
                  <a:pt x="3960" y="1556"/>
                </a:lnTo>
                <a:close/>
                <a:moveTo>
                  <a:pt x="3964" y="1515"/>
                </a:moveTo>
                <a:lnTo>
                  <a:pt x="3964" y="1514"/>
                </a:lnTo>
                <a:lnTo>
                  <a:pt x="3962" y="1514"/>
                </a:lnTo>
                <a:lnTo>
                  <a:pt x="3964" y="1515"/>
                </a:lnTo>
                <a:close/>
                <a:moveTo>
                  <a:pt x="4053" y="1720"/>
                </a:moveTo>
                <a:lnTo>
                  <a:pt x="4052" y="1719"/>
                </a:lnTo>
                <a:lnTo>
                  <a:pt x="4052" y="1720"/>
                </a:lnTo>
                <a:lnTo>
                  <a:pt x="4053" y="1720"/>
                </a:lnTo>
                <a:close/>
                <a:moveTo>
                  <a:pt x="3973" y="1584"/>
                </a:moveTo>
                <a:lnTo>
                  <a:pt x="3973" y="1584"/>
                </a:lnTo>
                <a:lnTo>
                  <a:pt x="3972" y="1587"/>
                </a:lnTo>
                <a:lnTo>
                  <a:pt x="3973" y="1586"/>
                </a:lnTo>
                <a:lnTo>
                  <a:pt x="3973" y="1584"/>
                </a:lnTo>
                <a:close/>
                <a:moveTo>
                  <a:pt x="1884" y="457"/>
                </a:moveTo>
                <a:lnTo>
                  <a:pt x="1884" y="457"/>
                </a:lnTo>
                <a:lnTo>
                  <a:pt x="1884" y="457"/>
                </a:lnTo>
                <a:lnTo>
                  <a:pt x="1884" y="457"/>
                </a:lnTo>
                <a:close/>
                <a:moveTo>
                  <a:pt x="3970" y="1574"/>
                </a:moveTo>
                <a:lnTo>
                  <a:pt x="3970" y="1572"/>
                </a:lnTo>
                <a:lnTo>
                  <a:pt x="3969" y="1572"/>
                </a:lnTo>
                <a:lnTo>
                  <a:pt x="3970" y="1574"/>
                </a:lnTo>
                <a:close/>
                <a:moveTo>
                  <a:pt x="3975" y="1407"/>
                </a:moveTo>
                <a:lnTo>
                  <a:pt x="3974" y="1407"/>
                </a:lnTo>
                <a:lnTo>
                  <a:pt x="3972" y="1407"/>
                </a:lnTo>
                <a:lnTo>
                  <a:pt x="3975" y="1411"/>
                </a:lnTo>
                <a:lnTo>
                  <a:pt x="3975" y="1407"/>
                </a:lnTo>
                <a:close/>
                <a:moveTo>
                  <a:pt x="3998" y="1605"/>
                </a:moveTo>
                <a:lnTo>
                  <a:pt x="3998" y="1605"/>
                </a:lnTo>
                <a:lnTo>
                  <a:pt x="3998" y="1608"/>
                </a:lnTo>
                <a:lnTo>
                  <a:pt x="4000" y="1608"/>
                </a:lnTo>
                <a:lnTo>
                  <a:pt x="3998" y="1605"/>
                </a:lnTo>
                <a:close/>
                <a:moveTo>
                  <a:pt x="4037" y="1507"/>
                </a:moveTo>
                <a:lnTo>
                  <a:pt x="4037" y="1506"/>
                </a:lnTo>
                <a:lnTo>
                  <a:pt x="4036" y="1506"/>
                </a:lnTo>
                <a:lnTo>
                  <a:pt x="4037" y="1507"/>
                </a:lnTo>
                <a:lnTo>
                  <a:pt x="4037" y="1507"/>
                </a:lnTo>
                <a:close/>
                <a:moveTo>
                  <a:pt x="4141" y="1778"/>
                </a:moveTo>
                <a:lnTo>
                  <a:pt x="4142" y="1780"/>
                </a:lnTo>
                <a:lnTo>
                  <a:pt x="4141" y="1780"/>
                </a:lnTo>
                <a:lnTo>
                  <a:pt x="4137" y="1778"/>
                </a:lnTo>
                <a:lnTo>
                  <a:pt x="4134" y="1776"/>
                </a:lnTo>
                <a:lnTo>
                  <a:pt x="4130" y="1776"/>
                </a:lnTo>
                <a:lnTo>
                  <a:pt x="4134" y="1780"/>
                </a:lnTo>
                <a:lnTo>
                  <a:pt x="4133" y="1780"/>
                </a:lnTo>
                <a:lnTo>
                  <a:pt x="4133" y="1780"/>
                </a:lnTo>
                <a:lnTo>
                  <a:pt x="4122" y="1767"/>
                </a:lnTo>
                <a:lnTo>
                  <a:pt x="4111" y="1759"/>
                </a:lnTo>
                <a:lnTo>
                  <a:pt x="4100" y="1751"/>
                </a:lnTo>
                <a:lnTo>
                  <a:pt x="4098" y="1749"/>
                </a:lnTo>
                <a:lnTo>
                  <a:pt x="4096" y="1747"/>
                </a:lnTo>
                <a:lnTo>
                  <a:pt x="4089" y="1740"/>
                </a:lnTo>
                <a:lnTo>
                  <a:pt x="4084" y="1732"/>
                </a:lnTo>
                <a:lnTo>
                  <a:pt x="4076" y="1728"/>
                </a:lnTo>
                <a:lnTo>
                  <a:pt x="4076" y="1725"/>
                </a:lnTo>
                <a:lnTo>
                  <a:pt x="4076" y="1721"/>
                </a:lnTo>
                <a:lnTo>
                  <a:pt x="4073" y="1716"/>
                </a:lnTo>
                <a:lnTo>
                  <a:pt x="4074" y="1713"/>
                </a:lnTo>
                <a:lnTo>
                  <a:pt x="4071" y="1711"/>
                </a:lnTo>
                <a:lnTo>
                  <a:pt x="4070" y="1705"/>
                </a:lnTo>
                <a:lnTo>
                  <a:pt x="4060" y="1696"/>
                </a:lnTo>
                <a:lnTo>
                  <a:pt x="4060" y="1693"/>
                </a:lnTo>
                <a:lnTo>
                  <a:pt x="4059" y="1692"/>
                </a:lnTo>
                <a:lnTo>
                  <a:pt x="4052" y="1688"/>
                </a:lnTo>
                <a:lnTo>
                  <a:pt x="4052" y="1684"/>
                </a:lnTo>
                <a:lnTo>
                  <a:pt x="4046" y="1672"/>
                </a:lnTo>
                <a:lnTo>
                  <a:pt x="4048" y="1672"/>
                </a:lnTo>
                <a:lnTo>
                  <a:pt x="4048" y="1668"/>
                </a:lnTo>
                <a:lnTo>
                  <a:pt x="4035" y="1660"/>
                </a:lnTo>
                <a:lnTo>
                  <a:pt x="4034" y="1660"/>
                </a:lnTo>
                <a:lnTo>
                  <a:pt x="4033" y="1658"/>
                </a:lnTo>
                <a:lnTo>
                  <a:pt x="4031" y="1651"/>
                </a:lnTo>
                <a:lnTo>
                  <a:pt x="4027" y="1650"/>
                </a:lnTo>
                <a:lnTo>
                  <a:pt x="4022" y="1638"/>
                </a:lnTo>
                <a:lnTo>
                  <a:pt x="4018" y="1637"/>
                </a:lnTo>
                <a:lnTo>
                  <a:pt x="4015" y="1635"/>
                </a:lnTo>
                <a:lnTo>
                  <a:pt x="4008" y="1629"/>
                </a:lnTo>
                <a:lnTo>
                  <a:pt x="4000" y="1623"/>
                </a:lnTo>
                <a:lnTo>
                  <a:pt x="3998" y="1620"/>
                </a:lnTo>
                <a:lnTo>
                  <a:pt x="3996" y="1616"/>
                </a:lnTo>
                <a:lnTo>
                  <a:pt x="3996" y="1611"/>
                </a:lnTo>
                <a:lnTo>
                  <a:pt x="4000" y="1612"/>
                </a:lnTo>
                <a:lnTo>
                  <a:pt x="4002" y="1612"/>
                </a:lnTo>
                <a:lnTo>
                  <a:pt x="4007" y="1613"/>
                </a:lnTo>
                <a:lnTo>
                  <a:pt x="4008" y="1613"/>
                </a:lnTo>
                <a:lnTo>
                  <a:pt x="4008" y="1614"/>
                </a:lnTo>
                <a:lnTo>
                  <a:pt x="4011" y="1615"/>
                </a:lnTo>
                <a:lnTo>
                  <a:pt x="4013" y="1616"/>
                </a:lnTo>
                <a:lnTo>
                  <a:pt x="4023" y="1616"/>
                </a:lnTo>
                <a:lnTo>
                  <a:pt x="4026" y="1617"/>
                </a:lnTo>
                <a:lnTo>
                  <a:pt x="4030" y="1615"/>
                </a:lnTo>
                <a:lnTo>
                  <a:pt x="4035" y="1620"/>
                </a:lnTo>
                <a:lnTo>
                  <a:pt x="4037" y="1625"/>
                </a:lnTo>
                <a:lnTo>
                  <a:pt x="4040" y="1627"/>
                </a:lnTo>
                <a:lnTo>
                  <a:pt x="4040" y="1632"/>
                </a:lnTo>
                <a:lnTo>
                  <a:pt x="4064" y="1650"/>
                </a:lnTo>
                <a:lnTo>
                  <a:pt x="4064" y="1656"/>
                </a:lnTo>
                <a:lnTo>
                  <a:pt x="4067" y="1656"/>
                </a:lnTo>
                <a:lnTo>
                  <a:pt x="4068" y="1656"/>
                </a:lnTo>
                <a:lnTo>
                  <a:pt x="4072" y="1660"/>
                </a:lnTo>
                <a:lnTo>
                  <a:pt x="4078" y="1663"/>
                </a:lnTo>
                <a:lnTo>
                  <a:pt x="4077" y="1660"/>
                </a:lnTo>
                <a:lnTo>
                  <a:pt x="4082" y="1660"/>
                </a:lnTo>
                <a:lnTo>
                  <a:pt x="4084" y="1662"/>
                </a:lnTo>
                <a:lnTo>
                  <a:pt x="4084" y="1662"/>
                </a:lnTo>
                <a:lnTo>
                  <a:pt x="4087" y="1662"/>
                </a:lnTo>
                <a:lnTo>
                  <a:pt x="4089" y="1661"/>
                </a:lnTo>
                <a:lnTo>
                  <a:pt x="4090" y="1663"/>
                </a:lnTo>
                <a:lnTo>
                  <a:pt x="4090" y="1664"/>
                </a:lnTo>
                <a:lnTo>
                  <a:pt x="4090" y="1666"/>
                </a:lnTo>
                <a:lnTo>
                  <a:pt x="4089" y="1668"/>
                </a:lnTo>
                <a:lnTo>
                  <a:pt x="4086" y="1668"/>
                </a:lnTo>
                <a:lnTo>
                  <a:pt x="4090" y="1669"/>
                </a:lnTo>
                <a:lnTo>
                  <a:pt x="4093" y="1671"/>
                </a:lnTo>
                <a:lnTo>
                  <a:pt x="4097" y="1673"/>
                </a:lnTo>
                <a:lnTo>
                  <a:pt x="4099" y="1674"/>
                </a:lnTo>
                <a:lnTo>
                  <a:pt x="4101" y="1675"/>
                </a:lnTo>
                <a:lnTo>
                  <a:pt x="4106" y="1678"/>
                </a:lnTo>
                <a:lnTo>
                  <a:pt x="4110" y="1680"/>
                </a:lnTo>
                <a:lnTo>
                  <a:pt x="4107" y="1678"/>
                </a:lnTo>
                <a:lnTo>
                  <a:pt x="4104" y="1676"/>
                </a:lnTo>
                <a:lnTo>
                  <a:pt x="4104" y="1675"/>
                </a:lnTo>
                <a:lnTo>
                  <a:pt x="4107" y="1677"/>
                </a:lnTo>
                <a:lnTo>
                  <a:pt x="4110" y="1678"/>
                </a:lnTo>
                <a:lnTo>
                  <a:pt x="4112" y="1684"/>
                </a:lnTo>
                <a:lnTo>
                  <a:pt x="4110" y="1684"/>
                </a:lnTo>
                <a:lnTo>
                  <a:pt x="4108" y="1683"/>
                </a:lnTo>
                <a:lnTo>
                  <a:pt x="4108" y="1683"/>
                </a:lnTo>
                <a:lnTo>
                  <a:pt x="4108" y="1683"/>
                </a:lnTo>
                <a:lnTo>
                  <a:pt x="4108" y="1683"/>
                </a:lnTo>
                <a:lnTo>
                  <a:pt x="4108" y="1684"/>
                </a:lnTo>
                <a:lnTo>
                  <a:pt x="4110" y="1687"/>
                </a:lnTo>
                <a:lnTo>
                  <a:pt x="4107" y="1689"/>
                </a:lnTo>
                <a:lnTo>
                  <a:pt x="4103" y="1691"/>
                </a:lnTo>
                <a:lnTo>
                  <a:pt x="4115" y="1685"/>
                </a:lnTo>
                <a:lnTo>
                  <a:pt x="4117" y="1687"/>
                </a:lnTo>
                <a:lnTo>
                  <a:pt x="4120" y="1689"/>
                </a:lnTo>
                <a:lnTo>
                  <a:pt x="4122" y="1696"/>
                </a:lnTo>
                <a:lnTo>
                  <a:pt x="4118" y="1696"/>
                </a:lnTo>
                <a:lnTo>
                  <a:pt x="4115" y="1698"/>
                </a:lnTo>
                <a:lnTo>
                  <a:pt x="4116" y="1696"/>
                </a:lnTo>
                <a:lnTo>
                  <a:pt x="4114" y="1697"/>
                </a:lnTo>
                <a:lnTo>
                  <a:pt x="4113" y="1698"/>
                </a:lnTo>
                <a:lnTo>
                  <a:pt x="4115" y="1699"/>
                </a:lnTo>
                <a:lnTo>
                  <a:pt x="4113" y="1700"/>
                </a:lnTo>
                <a:lnTo>
                  <a:pt x="4115" y="1700"/>
                </a:lnTo>
                <a:lnTo>
                  <a:pt x="4115" y="1699"/>
                </a:lnTo>
                <a:lnTo>
                  <a:pt x="4115" y="1699"/>
                </a:lnTo>
                <a:lnTo>
                  <a:pt x="4118" y="1699"/>
                </a:lnTo>
                <a:lnTo>
                  <a:pt x="4116" y="1701"/>
                </a:lnTo>
                <a:lnTo>
                  <a:pt x="4115" y="1703"/>
                </a:lnTo>
                <a:lnTo>
                  <a:pt x="4117" y="1705"/>
                </a:lnTo>
                <a:lnTo>
                  <a:pt x="4120" y="1708"/>
                </a:lnTo>
                <a:lnTo>
                  <a:pt x="4129" y="1708"/>
                </a:lnTo>
                <a:lnTo>
                  <a:pt x="4129" y="1714"/>
                </a:lnTo>
                <a:lnTo>
                  <a:pt x="4128" y="1719"/>
                </a:lnTo>
                <a:lnTo>
                  <a:pt x="4128" y="1724"/>
                </a:lnTo>
                <a:lnTo>
                  <a:pt x="4132" y="1724"/>
                </a:lnTo>
                <a:lnTo>
                  <a:pt x="4132" y="1725"/>
                </a:lnTo>
                <a:lnTo>
                  <a:pt x="4132" y="1726"/>
                </a:lnTo>
                <a:lnTo>
                  <a:pt x="4132" y="1728"/>
                </a:lnTo>
                <a:lnTo>
                  <a:pt x="4132" y="1731"/>
                </a:lnTo>
                <a:lnTo>
                  <a:pt x="4134" y="1728"/>
                </a:lnTo>
                <a:lnTo>
                  <a:pt x="4136" y="1726"/>
                </a:lnTo>
                <a:lnTo>
                  <a:pt x="4136" y="1726"/>
                </a:lnTo>
                <a:lnTo>
                  <a:pt x="4136" y="1725"/>
                </a:lnTo>
                <a:lnTo>
                  <a:pt x="4137" y="1727"/>
                </a:lnTo>
                <a:lnTo>
                  <a:pt x="4138" y="1728"/>
                </a:lnTo>
                <a:lnTo>
                  <a:pt x="4144" y="1728"/>
                </a:lnTo>
                <a:lnTo>
                  <a:pt x="4144" y="1731"/>
                </a:lnTo>
                <a:lnTo>
                  <a:pt x="4146" y="1732"/>
                </a:lnTo>
                <a:lnTo>
                  <a:pt x="4148" y="1732"/>
                </a:lnTo>
                <a:lnTo>
                  <a:pt x="4148" y="1729"/>
                </a:lnTo>
                <a:lnTo>
                  <a:pt x="4148" y="1728"/>
                </a:lnTo>
                <a:lnTo>
                  <a:pt x="4149" y="1726"/>
                </a:lnTo>
                <a:lnTo>
                  <a:pt x="4148" y="1725"/>
                </a:lnTo>
                <a:lnTo>
                  <a:pt x="4140" y="1722"/>
                </a:lnTo>
                <a:lnTo>
                  <a:pt x="4140" y="1721"/>
                </a:lnTo>
                <a:lnTo>
                  <a:pt x="4140" y="1720"/>
                </a:lnTo>
                <a:lnTo>
                  <a:pt x="4140" y="1720"/>
                </a:lnTo>
                <a:lnTo>
                  <a:pt x="4146" y="1720"/>
                </a:lnTo>
                <a:lnTo>
                  <a:pt x="4148" y="1719"/>
                </a:lnTo>
                <a:lnTo>
                  <a:pt x="4149" y="1718"/>
                </a:lnTo>
                <a:lnTo>
                  <a:pt x="4149" y="1719"/>
                </a:lnTo>
                <a:lnTo>
                  <a:pt x="4149" y="1718"/>
                </a:lnTo>
                <a:lnTo>
                  <a:pt x="4148" y="1716"/>
                </a:lnTo>
                <a:lnTo>
                  <a:pt x="4150" y="1715"/>
                </a:lnTo>
                <a:lnTo>
                  <a:pt x="4151" y="1714"/>
                </a:lnTo>
                <a:lnTo>
                  <a:pt x="4153" y="1716"/>
                </a:lnTo>
                <a:lnTo>
                  <a:pt x="4154" y="1722"/>
                </a:lnTo>
                <a:lnTo>
                  <a:pt x="4156" y="1728"/>
                </a:lnTo>
                <a:lnTo>
                  <a:pt x="4163" y="1731"/>
                </a:lnTo>
                <a:lnTo>
                  <a:pt x="4162" y="1734"/>
                </a:lnTo>
                <a:lnTo>
                  <a:pt x="4161" y="1737"/>
                </a:lnTo>
                <a:lnTo>
                  <a:pt x="4162" y="1738"/>
                </a:lnTo>
                <a:lnTo>
                  <a:pt x="4163" y="1739"/>
                </a:lnTo>
                <a:lnTo>
                  <a:pt x="4163" y="1740"/>
                </a:lnTo>
                <a:lnTo>
                  <a:pt x="4162" y="1740"/>
                </a:lnTo>
                <a:lnTo>
                  <a:pt x="4156" y="1740"/>
                </a:lnTo>
                <a:lnTo>
                  <a:pt x="4156" y="1737"/>
                </a:lnTo>
                <a:lnTo>
                  <a:pt x="4148" y="1733"/>
                </a:lnTo>
                <a:lnTo>
                  <a:pt x="4148" y="1736"/>
                </a:lnTo>
                <a:lnTo>
                  <a:pt x="4152" y="1737"/>
                </a:lnTo>
                <a:lnTo>
                  <a:pt x="4152" y="1740"/>
                </a:lnTo>
                <a:lnTo>
                  <a:pt x="4151" y="1744"/>
                </a:lnTo>
                <a:lnTo>
                  <a:pt x="4149" y="1747"/>
                </a:lnTo>
                <a:lnTo>
                  <a:pt x="4151" y="1751"/>
                </a:lnTo>
                <a:lnTo>
                  <a:pt x="4149" y="1755"/>
                </a:lnTo>
                <a:lnTo>
                  <a:pt x="4151" y="1760"/>
                </a:lnTo>
                <a:lnTo>
                  <a:pt x="4149" y="1775"/>
                </a:lnTo>
                <a:lnTo>
                  <a:pt x="4149" y="1777"/>
                </a:lnTo>
                <a:lnTo>
                  <a:pt x="4148" y="1779"/>
                </a:lnTo>
                <a:lnTo>
                  <a:pt x="4148" y="1779"/>
                </a:lnTo>
                <a:lnTo>
                  <a:pt x="4148" y="1779"/>
                </a:lnTo>
                <a:lnTo>
                  <a:pt x="4145" y="1776"/>
                </a:lnTo>
                <a:lnTo>
                  <a:pt x="4141" y="1773"/>
                </a:lnTo>
                <a:lnTo>
                  <a:pt x="4141" y="1775"/>
                </a:lnTo>
                <a:lnTo>
                  <a:pt x="4141" y="1776"/>
                </a:lnTo>
                <a:lnTo>
                  <a:pt x="4141" y="1778"/>
                </a:lnTo>
                <a:close/>
                <a:moveTo>
                  <a:pt x="4102" y="1679"/>
                </a:moveTo>
                <a:lnTo>
                  <a:pt x="4101" y="1679"/>
                </a:lnTo>
                <a:lnTo>
                  <a:pt x="4097" y="1676"/>
                </a:lnTo>
                <a:lnTo>
                  <a:pt x="4101" y="1680"/>
                </a:lnTo>
                <a:lnTo>
                  <a:pt x="4101" y="1680"/>
                </a:lnTo>
                <a:lnTo>
                  <a:pt x="4102" y="1679"/>
                </a:lnTo>
                <a:close/>
                <a:moveTo>
                  <a:pt x="3954" y="1532"/>
                </a:moveTo>
                <a:lnTo>
                  <a:pt x="3954" y="1535"/>
                </a:lnTo>
                <a:lnTo>
                  <a:pt x="3955" y="1536"/>
                </a:lnTo>
                <a:lnTo>
                  <a:pt x="3955" y="1536"/>
                </a:lnTo>
                <a:lnTo>
                  <a:pt x="3955" y="1536"/>
                </a:lnTo>
                <a:lnTo>
                  <a:pt x="3955" y="1532"/>
                </a:lnTo>
                <a:lnTo>
                  <a:pt x="3955" y="1531"/>
                </a:lnTo>
                <a:lnTo>
                  <a:pt x="3955" y="1531"/>
                </a:lnTo>
                <a:lnTo>
                  <a:pt x="3955" y="1531"/>
                </a:lnTo>
                <a:lnTo>
                  <a:pt x="3954" y="1532"/>
                </a:lnTo>
                <a:close/>
                <a:moveTo>
                  <a:pt x="4115" y="1699"/>
                </a:moveTo>
                <a:lnTo>
                  <a:pt x="4115" y="1699"/>
                </a:lnTo>
                <a:lnTo>
                  <a:pt x="4115" y="1698"/>
                </a:lnTo>
                <a:lnTo>
                  <a:pt x="4115" y="1698"/>
                </a:lnTo>
                <a:lnTo>
                  <a:pt x="4115" y="1698"/>
                </a:lnTo>
                <a:lnTo>
                  <a:pt x="4115" y="1699"/>
                </a:lnTo>
                <a:close/>
                <a:moveTo>
                  <a:pt x="4132" y="1722"/>
                </a:moveTo>
                <a:lnTo>
                  <a:pt x="4132" y="1724"/>
                </a:lnTo>
                <a:lnTo>
                  <a:pt x="4133" y="1724"/>
                </a:lnTo>
                <a:lnTo>
                  <a:pt x="4132" y="1722"/>
                </a:lnTo>
                <a:close/>
                <a:moveTo>
                  <a:pt x="4034" y="1506"/>
                </a:moveTo>
                <a:lnTo>
                  <a:pt x="4036" y="1506"/>
                </a:lnTo>
                <a:lnTo>
                  <a:pt x="4037" y="1505"/>
                </a:lnTo>
                <a:lnTo>
                  <a:pt x="4034" y="1506"/>
                </a:lnTo>
                <a:close/>
                <a:moveTo>
                  <a:pt x="4040" y="1572"/>
                </a:moveTo>
                <a:lnTo>
                  <a:pt x="4039" y="1572"/>
                </a:lnTo>
                <a:lnTo>
                  <a:pt x="4040" y="1578"/>
                </a:lnTo>
                <a:lnTo>
                  <a:pt x="4043" y="1577"/>
                </a:lnTo>
                <a:lnTo>
                  <a:pt x="4040" y="1572"/>
                </a:lnTo>
                <a:close/>
                <a:moveTo>
                  <a:pt x="4039" y="1530"/>
                </a:moveTo>
                <a:lnTo>
                  <a:pt x="4037" y="1525"/>
                </a:lnTo>
                <a:lnTo>
                  <a:pt x="4037" y="1525"/>
                </a:lnTo>
                <a:lnTo>
                  <a:pt x="4037" y="1528"/>
                </a:lnTo>
                <a:lnTo>
                  <a:pt x="4039" y="1530"/>
                </a:lnTo>
                <a:close/>
                <a:moveTo>
                  <a:pt x="4060" y="1722"/>
                </a:moveTo>
                <a:lnTo>
                  <a:pt x="4060" y="1726"/>
                </a:lnTo>
                <a:lnTo>
                  <a:pt x="4064" y="1728"/>
                </a:lnTo>
                <a:lnTo>
                  <a:pt x="4061" y="1722"/>
                </a:lnTo>
                <a:lnTo>
                  <a:pt x="4060" y="1722"/>
                </a:lnTo>
                <a:close/>
                <a:moveTo>
                  <a:pt x="4066" y="1733"/>
                </a:moveTo>
                <a:lnTo>
                  <a:pt x="4068" y="1733"/>
                </a:lnTo>
                <a:lnTo>
                  <a:pt x="4066" y="1729"/>
                </a:lnTo>
                <a:lnTo>
                  <a:pt x="4066" y="1733"/>
                </a:lnTo>
                <a:close/>
                <a:moveTo>
                  <a:pt x="4112" y="1685"/>
                </a:moveTo>
                <a:lnTo>
                  <a:pt x="4113" y="1684"/>
                </a:lnTo>
                <a:lnTo>
                  <a:pt x="4113" y="1684"/>
                </a:lnTo>
                <a:lnTo>
                  <a:pt x="4113" y="1683"/>
                </a:lnTo>
                <a:lnTo>
                  <a:pt x="4112" y="1682"/>
                </a:lnTo>
                <a:lnTo>
                  <a:pt x="4112" y="1682"/>
                </a:lnTo>
                <a:lnTo>
                  <a:pt x="4112" y="1684"/>
                </a:lnTo>
                <a:lnTo>
                  <a:pt x="4112" y="1685"/>
                </a:lnTo>
                <a:lnTo>
                  <a:pt x="4112" y="1685"/>
                </a:lnTo>
                <a:close/>
                <a:moveTo>
                  <a:pt x="4054" y="1718"/>
                </a:moveTo>
                <a:lnTo>
                  <a:pt x="4049" y="1708"/>
                </a:lnTo>
                <a:lnTo>
                  <a:pt x="4046" y="1708"/>
                </a:lnTo>
                <a:lnTo>
                  <a:pt x="4045" y="1711"/>
                </a:lnTo>
                <a:lnTo>
                  <a:pt x="4048" y="1717"/>
                </a:lnTo>
                <a:lnTo>
                  <a:pt x="4052" y="1719"/>
                </a:lnTo>
                <a:lnTo>
                  <a:pt x="4052" y="1716"/>
                </a:lnTo>
                <a:lnTo>
                  <a:pt x="4054" y="1718"/>
                </a:lnTo>
                <a:close/>
                <a:moveTo>
                  <a:pt x="4068" y="1737"/>
                </a:moveTo>
                <a:lnTo>
                  <a:pt x="4072" y="1741"/>
                </a:lnTo>
                <a:lnTo>
                  <a:pt x="4072" y="1739"/>
                </a:lnTo>
                <a:lnTo>
                  <a:pt x="4072" y="1737"/>
                </a:lnTo>
                <a:lnTo>
                  <a:pt x="4068" y="1733"/>
                </a:lnTo>
                <a:lnTo>
                  <a:pt x="4068" y="1737"/>
                </a:lnTo>
                <a:close/>
                <a:moveTo>
                  <a:pt x="4132" y="1780"/>
                </a:moveTo>
                <a:lnTo>
                  <a:pt x="4133" y="1780"/>
                </a:lnTo>
                <a:lnTo>
                  <a:pt x="4132" y="1780"/>
                </a:lnTo>
                <a:lnTo>
                  <a:pt x="4132" y="1780"/>
                </a:lnTo>
                <a:close/>
                <a:moveTo>
                  <a:pt x="4133" y="1780"/>
                </a:moveTo>
                <a:lnTo>
                  <a:pt x="4133" y="1780"/>
                </a:lnTo>
                <a:lnTo>
                  <a:pt x="4133" y="1780"/>
                </a:lnTo>
                <a:lnTo>
                  <a:pt x="4133" y="1780"/>
                </a:lnTo>
                <a:close/>
                <a:moveTo>
                  <a:pt x="4096" y="1771"/>
                </a:moveTo>
                <a:lnTo>
                  <a:pt x="4098" y="1773"/>
                </a:lnTo>
                <a:lnTo>
                  <a:pt x="4101" y="1774"/>
                </a:lnTo>
                <a:lnTo>
                  <a:pt x="4101" y="1774"/>
                </a:lnTo>
                <a:lnTo>
                  <a:pt x="4101" y="1773"/>
                </a:lnTo>
                <a:lnTo>
                  <a:pt x="4097" y="1771"/>
                </a:lnTo>
                <a:lnTo>
                  <a:pt x="4096" y="1771"/>
                </a:lnTo>
                <a:close/>
                <a:moveTo>
                  <a:pt x="3802" y="1579"/>
                </a:moveTo>
                <a:lnTo>
                  <a:pt x="3803" y="1579"/>
                </a:lnTo>
                <a:lnTo>
                  <a:pt x="3802" y="1578"/>
                </a:lnTo>
                <a:lnTo>
                  <a:pt x="3802" y="1579"/>
                </a:lnTo>
                <a:lnTo>
                  <a:pt x="3802" y="1579"/>
                </a:lnTo>
                <a:close/>
                <a:moveTo>
                  <a:pt x="3398" y="1503"/>
                </a:moveTo>
                <a:lnTo>
                  <a:pt x="3393" y="1503"/>
                </a:lnTo>
                <a:lnTo>
                  <a:pt x="3389" y="1501"/>
                </a:lnTo>
                <a:lnTo>
                  <a:pt x="3387" y="1503"/>
                </a:lnTo>
                <a:lnTo>
                  <a:pt x="3392" y="1507"/>
                </a:lnTo>
                <a:lnTo>
                  <a:pt x="3398" y="1507"/>
                </a:lnTo>
                <a:lnTo>
                  <a:pt x="3403" y="1504"/>
                </a:lnTo>
                <a:lnTo>
                  <a:pt x="3399" y="1503"/>
                </a:lnTo>
                <a:lnTo>
                  <a:pt x="3398" y="1503"/>
                </a:lnTo>
                <a:close/>
                <a:moveTo>
                  <a:pt x="3634" y="2500"/>
                </a:moveTo>
                <a:lnTo>
                  <a:pt x="3634" y="2500"/>
                </a:lnTo>
                <a:lnTo>
                  <a:pt x="3634" y="2500"/>
                </a:lnTo>
                <a:lnTo>
                  <a:pt x="3634" y="2500"/>
                </a:lnTo>
                <a:close/>
                <a:moveTo>
                  <a:pt x="3421" y="2013"/>
                </a:moveTo>
                <a:lnTo>
                  <a:pt x="3417" y="2013"/>
                </a:lnTo>
                <a:lnTo>
                  <a:pt x="3415" y="2014"/>
                </a:lnTo>
                <a:lnTo>
                  <a:pt x="3415" y="2015"/>
                </a:lnTo>
                <a:lnTo>
                  <a:pt x="3421" y="2015"/>
                </a:lnTo>
                <a:lnTo>
                  <a:pt x="3422" y="2014"/>
                </a:lnTo>
                <a:lnTo>
                  <a:pt x="3425" y="2013"/>
                </a:lnTo>
                <a:lnTo>
                  <a:pt x="3421" y="2010"/>
                </a:lnTo>
                <a:lnTo>
                  <a:pt x="3421" y="2013"/>
                </a:lnTo>
                <a:close/>
                <a:moveTo>
                  <a:pt x="3365" y="2441"/>
                </a:moveTo>
                <a:lnTo>
                  <a:pt x="3366" y="2442"/>
                </a:lnTo>
                <a:lnTo>
                  <a:pt x="3366" y="2442"/>
                </a:lnTo>
                <a:lnTo>
                  <a:pt x="3366" y="2440"/>
                </a:lnTo>
                <a:lnTo>
                  <a:pt x="3364" y="2440"/>
                </a:lnTo>
                <a:lnTo>
                  <a:pt x="3365" y="2441"/>
                </a:lnTo>
                <a:close/>
                <a:moveTo>
                  <a:pt x="3464" y="1389"/>
                </a:moveTo>
                <a:lnTo>
                  <a:pt x="3470" y="1383"/>
                </a:lnTo>
                <a:lnTo>
                  <a:pt x="3470" y="1381"/>
                </a:lnTo>
                <a:lnTo>
                  <a:pt x="3470" y="1381"/>
                </a:lnTo>
                <a:lnTo>
                  <a:pt x="3464" y="1386"/>
                </a:lnTo>
                <a:lnTo>
                  <a:pt x="3464" y="1389"/>
                </a:lnTo>
                <a:close/>
                <a:moveTo>
                  <a:pt x="3315" y="1893"/>
                </a:moveTo>
                <a:lnTo>
                  <a:pt x="3315" y="1893"/>
                </a:lnTo>
                <a:lnTo>
                  <a:pt x="3315" y="1890"/>
                </a:lnTo>
                <a:lnTo>
                  <a:pt x="3315" y="1893"/>
                </a:lnTo>
                <a:close/>
                <a:moveTo>
                  <a:pt x="3445" y="1997"/>
                </a:moveTo>
                <a:lnTo>
                  <a:pt x="3442" y="2002"/>
                </a:lnTo>
                <a:lnTo>
                  <a:pt x="3447" y="2004"/>
                </a:lnTo>
                <a:lnTo>
                  <a:pt x="3449" y="2002"/>
                </a:lnTo>
                <a:lnTo>
                  <a:pt x="3452" y="2000"/>
                </a:lnTo>
                <a:lnTo>
                  <a:pt x="3449" y="1993"/>
                </a:lnTo>
                <a:lnTo>
                  <a:pt x="3445" y="1997"/>
                </a:lnTo>
                <a:close/>
                <a:moveTo>
                  <a:pt x="3418" y="1760"/>
                </a:moveTo>
                <a:lnTo>
                  <a:pt x="3416" y="1762"/>
                </a:lnTo>
                <a:lnTo>
                  <a:pt x="3419" y="1763"/>
                </a:lnTo>
                <a:lnTo>
                  <a:pt x="3418" y="1760"/>
                </a:lnTo>
                <a:close/>
                <a:moveTo>
                  <a:pt x="3373" y="1509"/>
                </a:moveTo>
                <a:lnTo>
                  <a:pt x="3373" y="1508"/>
                </a:lnTo>
                <a:lnTo>
                  <a:pt x="3368" y="1508"/>
                </a:lnTo>
                <a:lnTo>
                  <a:pt x="3373" y="1509"/>
                </a:lnTo>
                <a:close/>
                <a:moveTo>
                  <a:pt x="3286" y="1831"/>
                </a:moveTo>
                <a:lnTo>
                  <a:pt x="3281" y="1831"/>
                </a:lnTo>
                <a:lnTo>
                  <a:pt x="3282" y="1832"/>
                </a:lnTo>
                <a:lnTo>
                  <a:pt x="3286" y="1831"/>
                </a:lnTo>
                <a:close/>
                <a:moveTo>
                  <a:pt x="3312" y="1893"/>
                </a:moveTo>
                <a:lnTo>
                  <a:pt x="3312" y="1893"/>
                </a:lnTo>
                <a:lnTo>
                  <a:pt x="3312" y="1893"/>
                </a:lnTo>
                <a:lnTo>
                  <a:pt x="3313" y="1893"/>
                </a:lnTo>
                <a:lnTo>
                  <a:pt x="3312" y="1893"/>
                </a:lnTo>
                <a:close/>
                <a:moveTo>
                  <a:pt x="3208" y="1728"/>
                </a:moveTo>
                <a:lnTo>
                  <a:pt x="3209" y="1727"/>
                </a:lnTo>
                <a:lnTo>
                  <a:pt x="3208" y="1727"/>
                </a:lnTo>
                <a:lnTo>
                  <a:pt x="3208" y="1728"/>
                </a:lnTo>
                <a:close/>
                <a:moveTo>
                  <a:pt x="3341" y="1900"/>
                </a:moveTo>
                <a:lnTo>
                  <a:pt x="3338" y="1889"/>
                </a:lnTo>
                <a:lnTo>
                  <a:pt x="3334" y="1882"/>
                </a:lnTo>
                <a:lnTo>
                  <a:pt x="3333" y="1878"/>
                </a:lnTo>
                <a:lnTo>
                  <a:pt x="3330" y="1877"/>
                </a:lnTo>
                <a:lnTo>
                  <a:pt x="3331" y="1877"/>
                </a:lnTo>
                <a:lnTo>
                  <a:pt x="3329" y="1871"/>
                </a:lnTo>
                <a:lnTo>
                  <a:pt x="3329" y="1871"/>
                </a:lnTo>
                <a:lnTo>
                  <a:pt x="3329" y="1871"/>
                </a:lnTo>
                <a:lnTo>
                  <a:pt x="3327" y="1873"/>
                </a:lnTo>
                <a:lnTo>
                  <a:pt x="3325" y="1874"/>
                </a:lnTo>
                <a:lnTo>
                  <a:pt x="3325" y="1875"/>
                </a:lnTo>
                <a:lnTo>
                  <a:pt x="3323" y="1876"/>
                </a:lnTo>
                <a:lnTo>
                  <a:pt x="3321" y="1877"/>
                </a:lnTo>
                <a:lnTo>
                  <a:pt x="3321" y="1880"/>
                </a:lnTo>
                <a:lnTo>
                  <a:pt x="3322" y="1879"/>
                </a:lnTo>
                <a:lnTo>
                  <a:pt x="3322" y="1877"/>
                </a:lnTo>
                <a:lnTo>
                  <a:pt x="3322" y="1877"/>
                </a:lnTo>
                <a:lnTo>
                  <a:pt x="3322" y="1877"/>
                </a:lnTo>
                <a:lnTo>
                  <a:pt x="3323" y="1881"/>
                </a:lnTo>
                <a:lnTo>
                  <a:pt x="3324" y="1884"/>
                </a:lnTo>
                <a:lnTo>
                  <a:pt x="3325" y="1886"/>
                </a:lnTo>
                <a:lnTo>
                  <a:pt x="3324" y="1889"/>
                </a:lnTo>
                <a:lnTo>
                  <a:pt x="3322" y="1893"/>
                </a:lnTo>
                <a:lnTo>
                  <a:pt x="3313" y="1897"/>
                </a:lnTo>
                <a:lnTo>
                  <a:pt x="3313" y="1900"/>
                </a:lnTo>
                <a:lnTo>
                  <a:pt x="3312" y="1893"/>
                </a:lnTo>
                <a:lnTo>
                  <a:pt x="3311" y="1897"/>
                </a:lnTo>
                <a:lnTo>
                  <a:pt x="3309" y="1900"/>
                </a:lnTo>
                <a:lnTo>
                  <a:pt x="3313" y="1902"/>
                </a:lnTo>
                <a:lnTo>
                  <a:pt x="3311" y="1903"/>
                </a:lnTo>
                <a:lnTo>
                  <a:pt x="3313" y="1905"/>
                </a:lnTo>
                <a:lnTo>
                  <a:pt x="3309" y="1905"/>
                </a:lnTo>
                <a:lnTo>
                  <a:pt x="3311" y="1909"/>
                </a:lnTo>
                <a:lnTo>
                  <a:pt x="3305" y="1909"/>
                </a:lnTo>
                <a:lnTo>
                  <a:pt x="3305" y="1910"/>
                </a:lnTo>
                <a:lnTo>
                  <a:pt x="3305" y="1913"/>
                </a:lnTo>
                <a:lnTo>
                  <a:pt x="3307" y="1913"/>
                </a:lnTo>
                <a:lnTo>
                  <a:pt x="3303" y="1920"/>
                </a:lnTo>
                <a:lnTo>
                  <a:pt x="3304" y="1914"/>
                </a:lnTo>
                <a:lnTo>
                  <a:pt x="3303" y="1913"/>
                </a:lnTo>
                <a:lnTo>
                  <a:pt x="3297" y="1921"/>
                </a:lnTo>
                <a:lnTo>
                  <a:pt x="3300" y="1925"/>
                </a:lnTo>
                <a:lnTo>
                  <a:pt x="3296" y="1926"/>
                </a:lnTo>
                <a:lnTo>
                  <a:pt x="3298" y="1923"/>
                </a:lnTo>
                <a:lnTo>
                  <a:pt x="3297" y="1921"/>
                </a:lnTo>
                <a:lnTo>
                  <a:pt x="3297" y="1921"/>
                </a:lnTo>
                <a:lnTo>
                  <a:pt x="3296" y="1921"/>
                </a:lnTo>
                <a:lnTo>
                  <a:pt x="3285" y="1928"/>
                </a:lnTo>
                <a:lnTo>
                  <a:pt x="3285" y="1930"/>
                </a:lnTo>
                <a:lnTo>
                  <a:pt x="3290" y="1933"/>
                </a:lnTo>
                <a:lnTo>
                  <a:pt x="3287" y="1933"/>
                </a:lnTo>
                <a:lnTo>
                  <a:pt x="3286" y="1933"/>
                </a:lnTo>
                <a:lnTo>
                  <a:pt x="3281" y="1933"/>
                </a:lnTo>
                <a:lnTo>
                  <a:pt x="3281" y="1932"/>
                </a:lnTo>
                <a:lnTo>
                  <a:pt x="3281" y="1931"/>
                </a:lnTo>
                <a:lnTo>
                  <a:pt x="3281" y="1933"/>
                </a:lnTo>
                <a:lnTo>
                  <a:pt x="3279" y="1933"/>
                </a:lnTo>
                <a:lnTo>
                  <a:pt x="3278" y="1937"/>
                </a:lnTo>
                <a:lnTo>
                  <a:pt x="3277" y="1935"/>
                </a:lnTo>
                <a:lnTo>
                  <a:pt x="3275" y="1933"/>
                </a:lnTo>
                <a:lnTo>
                  <a:pt x="3273" y="1933"/>
                </a:lnTo>
                <a:lnTo>
                  <a:pt x="3273" y="1937"/>
                </a:lnTo>
                <a:lnTo>
                  <a:pt x="3269" y="1937"/>
                </a:lnTo>
                <a:lnTo>
                  <a:pt x="3269" y="1935"/>
                </a:lnTo>
                <a:lnTo>
                  <a:pt x="3267" y="1937"/>
                </a:lnTo>
                <a:lnTo>
                  <a:pt x="3257" y="1937"/>
                </a:lnTo>
                <a:lnTo>
                  <a:pt x="3257" y="1944"/>
                </a:lnTo>
                <a:lnTo>
                  <a:pt x="3255" y="1951"/>
                </a:lnTo>
                <a:lnTo>
                  <a:pt x="3252" y="1958"/>
                </a:lnTo>
                <a:lnTo>
                  <a:pt x="3253" y="1960"/>
                </a:lnTo>
                <a:lnTo>
                  <a:pt x="3253" y="1970"/>
                </a:lnTo>
                <a:lnTo>
                  <a:pt x="3253" y="1977"/>
                </a:lnTo>
                <a:lnTo>
                  <a:pt x="3253" y="1981"/>
                </a:lnTo>
                <a:lnTo>
                  <a:pt x="3259" y="1987"/>
                </a:lnTo>
                <a:lnTo>
                  <a:pt x="3258" y="1992"/>
                </a:lnTo>
                <a:lnTo>
                  <a:pt x="3260" y="1994"/>
                </a:lnTo>
                <a:lnTo>
                  <a:pt x="3256" y="2001"/>
                </a:lnTo>
                <a:lnTo>
                  <a:pt x="3253" y="2008"/>
                </a:lnTo>
                <a:lnTo>
                  <a:pt x="3251" y="2011"/>
                </a:lnTo>
                <a:lnTo>
                  <a:pt x="3249" y="2013"/>
                </a:lnTo>
                <a:lnTo>
                  <a:pt x="3245" y="2016"/>
                </a:lnTo>
                <a:lnTo>
                  <a:pt x="3245" y="2021"/>
                </a:lnTo>
                <a:lnTo>
                  <a:pt x="3245" y="2023"/>
                </a:lnTo>
                <a:lnTo>
                  <a:pt x="3243" y="2025"/>
                </a:lnTo>
                <a:lnTo>
                  <a:pt x="3242" y="2027"/>
                </a:lnTo>
                <a:lnTo>
                  <a:pt x="3244" y="2033"/>
                </a:lnTo>
                <a:lnTo>
                  <a:pt x="3245" y="2039"/>
                </a:lnTo>
                <a:lnTo>
                  <a:pt x="3246" y="2041"/>
                </a:lnTo>
                <a:lnTo>
                  <a:pt x="3248" y="2043"/>
                </a:lnTo>
                <a:lnTo>
                  <a:pt x="3249" y="2047"/>
                </a:lnTo>
                <a:lnTo>
                  <a:pt x="3248" y="2049"/>
                </a:lnTo>
                <a:lnTo>
                  <a:pt x="3245" y="2053"/>
                </a:lnTo>
                <a:lnTo>
                  <a:pt x="3245" y="2063"/>
                </a:lnTo>
                <a:lnTo>
                  <a:pt x="3251" y="2067"/>
                </a:lnTo>
                <a:lnTo>
                  <a:pt x="3251" y="2075"/>
                </a:lnTo>
                <a:lnTo>
                  <a:pt x="3257" y="2078"/>
                </a:lnTo>
                <a:lnTo>
                  <a:pt x="3257" y="2078"/>
                </a:lnTo>
                <a:lnTo>
                  <a:pt x="3264" y="2081"/>
                </a:lnTo>
                <a:lnTo>
                  <a:pt x="3272" y="2086"/>
                </a:lnTo>
                <a:lnTo>
                  <a:pt x="3275" y="2086"/>
                </a:lnTo>
                <a:lnTo>
                  <a:pt x="3286" y="2078"/>
                </a:lnTo>
                <a:lnTo>
                  <a:pt x="3293" y="2078"/>
                </a:lnTo>
                <a:lnTo>
                  <a:pt x="3297" y="2073"/>
                </a:lnTo>
                <a:lnTo>
                  <a:pt x="3306" y="2054"/>
                </a:lnTo>
                <a:lnTo>
                  <a:pt x="3309" y="2032"/>
                </a:lnTo>
                <a:lnTo>
                  <a:pt x="3315" y="2021"/>
                </a:lnTo>
                <a:lnTo>
                  <a:pt x="3320" y="2002"/>
                </a:lnTo>
                <a:lnTo>
                  <a:pt x="3331" y="1969"/>
                </a:lnTo>
                <a:lnTo>
                  <a:pt x="3334" y="1959"/>
                </a:lnTo>
                <a:lnTo>
                  <a:pt x="3331" y="1954"/>
                </a:lnTo>
                <a:lnTo>
                  <a:pt x="3334" y="1948"/>
                </a:lnTo>
                <a:lnTo>
                  <a:pt x="3337" y="1947"/>
                </a:lnTo>
                <a:lnTo>
                  <a:pt x="3336" y="1944"/>
                </a:lnTo>
                <a:lnTo>
                  <a:pt x="3337" y="1941"/>
                </a:lnTo>
                <a:lnTo>
                  <a:pt x="3337" y="1936"/>
                </a:lnTo>
                <a:lnTo>
                  <a:pt x="3333" y="1935"/>
                </a:lnTo>
                <a:lnTo>
                  <a:pt x="3333" y="1931"/>
                </a:lnTo>
                <a:lnTo>
                  <a:pt x="3333" y="1926"/>
                </a:lnTo>
                <a:lnTo>
                  <a:pt x="3336" y="1925"/>
                </a:lnTo>
                <a:lnTo>
                  <a:pt x="3337" y="1925"/>
                </a:lnTo>
                <a:lnTo>
                  <a:pt x="3339" y="1928"/>
                </a:lnTo>
                <a:lnTo>
                  <a:pt x="3341" y="1931"/>
                </a:lnTo>
                <a:lnTo>
                  <a:pt x="3344" y="1932"/>
                </a:lnTo>
                <a:lnTo>
                  <a:pt x="3347" y="1923"/>
                </a:lnTo>
                <a:lnTo>
                  <a:pt x="3341" y="1911"/>
                </a:lnTo>
                <a:lnTo>
                  <a:pt x="3341" y="1900"/>
                </a:lnTo>
                <a:close/>
                <a:moveTo>
                  <a:pt x="3272" y="1933"/>
                </a:moveTo>
                <a:lnTo>
                  <a:pt x="3269" y="1933"/>
                </a:lnTo>
                <a:lnTo>
                  <a:pt x="3269" y="1935"/>
                </a:lnTo>
                <a:lnTo>
                  <a:pt x="3272" y="1933"/>
                </a:lnTo>
                <a:lnTo>
                  <a:pt x="3272" y="1933"/>
                </a:lnTo>
                <a:close/>
                <a:moveTo>
                  <a:pt x="3959" y="1501"/>
                </a:moveTo>
                <a:lnTo>
                  <a:pt x="3955" y="1502"/>
                </a:lnTo>
                <a:lnTo>
                  <a:pt x="3955" y="1509"/>
                </a:lnTo>
                <a:lnTo>
                  <a:pt x="3955" y="1510"/>
                </a:lnTo>
                <a:lnTo>
                  <a:pt x="3952" y="1515"/>
                </a:lnTo>
                <a:lnTo>
                  <a:pt x="3955" y="1521"/>
                </a:lnTo>
                <a:lnTo>
                  <a:pt x="3955" y="1513"/>
                </a:lnTo>
                <a:lnTo>
                  <a:pt x="3962" y="1511"/>
                </a:lnTo>
                <a:lnTo>
                  <a:pt x="3959" y="1511"/>
                </a:lnTo>
                <a:lnTo>
                  <a:pt x="3959" y="1506"/>
                </a:lnTo>
                <a:lnTo>
                  <a:pt x="3959" y="1501"/>
                </a:lnTo>
                <a:close/>
                <a:moveTo>
                  <a:pt x="3245" y="1872"/>
                </a:moveTo>
                <a:lnTo>
                  <a:pt x="3245" y="1866"/>
                </a:lnTo>
                <a:lnTo>
                  <a:pt x="3242" y="1866"/>
                </a:lnTo>
                <a:lnTo>
                  <a:pt x="3242" y="1870"/>
                </a:lnTo>
                <a:lnTo>
                  <a:pt x="3245" y="1872"/>
                </a:lnTo>
                <a:lnTo>
                  <a:pt x="3245" y="1872"/>
                </a:lnTo>
                <a:close/>
                <a:moveTo>
                  <a:pt x="3249" y="1876"/>
                </a:moveTo>
                <a:lnTo>
                  <a:pt x="3249" y="1877"/>
                </a:lnTo>
                <a:lnTo>
                  <a:pt x="3252" y="1877"/>
                </a:lnTo>
                <a:lnTo>
                  <a:pt x="3249" y="1876"/>
                </a:lnTo>
                <a:close/>
                <a:moveTo>
                  <a:pt x="3259" y="1873"/>
                </a:moveTo>
                <a:lnTo>
                  <a:pt x="3258" y="1874"/>
                </a:lnTo>
                <a:lnTo>
                  <a:pt x="3256" y="1874"/>
                </a:lnTo>
                <a:lnTo>
                  <a:pt x="3259" y="1877"/>
                </a:lnTo>
                <a:lnTo>
                  <a:pt x="3259" y="1873"/>
                </a:lnTo>
                <a:close/>
                <a:moveTo>
                  <a:pt x="3772" y="1555"/>
                </a:moveTo>
                <a:lnTo>
                  <a:pt x="3769" y="1555"/>
                </a:lnTo>
                <a:lnTo>
                  <a:pt x="3773" y="1556"/>
                </a:lnTo>
                <a:lnTo>
                  <a:pt x="3772" y="1555"/>
                </a:lnTo>
                <a:close/>
                <a:moveTo>
                  <a:pt x="3802" y="1579"/>
                </a:moveTo>
                <a:lnTo>
                  <a:pt x="3803" y="1581"/>
                </a:lnTo>
                <a:lnTo>
                  <a:pt x="3802" y="1579"/>
                </a:lnTo>
                <a:lnTo>
                  <a:pt x="3802" y="1579"/>
                </a:lnTo>
                <a:close/>
                <a:moveTo>
                  <a:pt x="3801" y="1577"/>
                </a:moveTo>
                <a:lnTo>
                  <a:pt x="3801" y="1577"/>
                </a:lnTo>
                <a:lnTo>
                  <a:pt x="3801" y="1577"/>
                </a:lnTo>
                <a:lnTo>
                  <a:pt x="3802" y="1578"/>
                </a:lnTo>
                <a:lnTo>
                  <a:pt x="3801" y="1577"/>
                </a:lnTo>
                <a:close/>
                <a:moveTo>
                  <a:pt x="3190" y="1940"/>
                </a:moveTo>
                <a:lnTo>
                  <a:pt x="3190" y="1940"/>
                </a:lnTo>
                <a:lnTo>
                  <a:pt x="3190" y="1938"/>
                </a:lnTo>
                <a:lnTo>
                  <a:pt x="3189" y="1938"/>
                </a:lnTo>
                <a:lnTo>
                  <a:pt x="3190" y="1940"/>
                </a:lnTo>
                <a:close/>
                <a:moveTo>
                  <a:pt x="3940" y="1349"/>
                </a:moveTo>
                <a:lnTo>
                  <a:pt x="3940" y="1352"/>
                </a:lnTo>
                <a:lnTo>
                  <a:pt x="3943" y="1355"/>
                </a:lnTo>
                <a:lnTo>
                  <a:pt x="3943" y="1355"/>
                </a:lnTo>
                <a:lnTo>
                  <a:pt x="3943" y="1352"/>
                </a:lnTo>
                <a:lnTo>
                  <a:pt x="3940" y="1349"/>
                </a:lnTo>
                <a:lnTo>
                  <a:pt x="3940" y="1349"/>
                </a:lnTo>
                <a:close/>
                <a:moveTo>
                  <a:pt x="3963" y="1499"/>
                </a:moveTo>
                <a:lnTo>
                  <a:pt x="3963" y="1491"/>
                </a:lnTo>
                <a:lnTo>
                  <a:pt x="3962" y="1491"/>
                </a:lnTo>
                <a:lnTo>
                  <a:pt x="3959" y="1494"/>
                </a:lnTo>
                <a:lnTo>
                  <a:pt x="3959" y="1501"/>
                </a:lnTo>
                <a:lnTo>
                  <a:pt x="3962" y="1499"/>
                </a:lnTo>
                <a:lnTo>
                  <a:pt x="3963" y="1499"/>
                </a:lnTo>
                <a:close/>
                <a:moveTo>
                  <a:pt x="3946" y="1363"/>
                </a:moveTo>
                <a:lnTo>
                  <a:pt x="3946" y="1363"/>
                </a:lnTo>
                <a:lnTo>
                  <a:pt x="3946" y="1363"/>
                </a:lnTo>
                <a:lnTo>
                  <a:pt x="3946" y="1363"/>
                </a:lnTo>
                <a:close/>
                <a:moveTo>
                  <a:pt x="3945" y="1363"/>
                </a:moveTo>
                <a:lnTo>
                  <a:pt x="3943" y="1363"/>
                </a:lnTo>
                <a:lnTo>
                  <a:pt x="3943" y="1366"/>
                </a:lnTo>
                <a:lnTo>
                  <a:pt x="3947" y="1365"/>
                </a:lnTo>
                <a:lnTo>
                  <a:pt x="3946" y="1363"/>
                </a:lnTo>
                <a:lnTo>
                  <a:pt x="3945" y="1363"/>
                </a:lnTo>
                <a:close/>
                <a:moveTo>
                  <a:pt x="3737" y="2289"/>
                </a:moveTo>
                <a:lnTo>
                  <a:pt x="3737" y="2289"/>
                </a:lnTo>
                <a:lnTo>
                  <a:pt x="3737" y="2287"/>
                </a:lnTo>
                <a:lnTo>
                  <a:pt x="3735" y="2287"/>
                </a:lnTo>
                <a:lnTo>
                  <a:pt x="3737" y="2289"/>
                </a:lnTo>
                <a:close/>
                <a:moveTo>
                  <a:pt x="3799" y="1575"/>
                </a:moveTo>
                <a:lnTo>
                  <a:pt x="3799" y="1576"/>
                </a:lnTo>
                <a:lnTo>
                  <a:pt x="3795" y="1569"/>
                </a:lnTo>
                <a:lnTo>
                  <a:pt x="3795" y="1567"/>
                </a:lnTo>
                <a:lnTo>
                  <a:pt x="3795" y="1567"/>
                </a:lnTo>
                <a:lnTo>
                  <a:pt x="3793" y="1565"/>
                </a:lnTo>
                <a:lnTo>
                  <a:pt x="3791" y="1559"/>
                </a:lnTo>
                <a:lnTo>
                  <a:pt x="3789" y="1559"/>
                </a:lnTo>
                <a:lnTo>
                  <a:pt x="3789" y="1555"/>
                </a:lnTo>
                <a:lnTo>
                  <a:pt x="3783" y="1550"/>
                </a:lnTo>
                <a:lnTo>
                  <a:pt x="3778" y="1547"/>
                </a:lnTo>
                <a:lnTo>
                  <a:pt x="3777" y="1547"/>
                </a:lnTo>
                <a:lnTo>
                  <a:pt x="3777" y="1548"/>
                </a:lnTo>
                <a:lnTo>
                  <a:pt x="3775" y="1551"/>
                </a:lnTo>
                <a:lnTo>
                  <a:pt x="3775" y="1555"/>
                </a:lnTo>
                <a:lnTo>
                  <a:pt x="3775" y="1556"/>
                </a:lnTo>
                <a:lnTo>
                  <a:pt x="3775" y="1562"/>
                </a:lnTo>
                <a:lnTo>
                  <a:pt x="3771" y="1564"/>
                </a:lnTo>
                <a:lnTo>
                  <a:pt x="3771" y="1569"/>
                </a:lnTo>
                <a:lnTo>
                  <a:pt x="3771" y="1575"/>
                </a:lnTo>
                <a:lnTo>
                  <a:pt x="3772" y="1575"/>
                </a:lnTo>
                <a:lnTo>
                  <a:pt x="3771" y="1584"/>
                </a:lnTo>
                <a:lnTo>
                  <a:pt x="3771" y="1592"/>
                </a:lnTo>
                <a:lnTo>
                  <a:pt x="3776" y="1600"/>
                </a:lnTo>
                <a:lnTo>
                  <a:pt x="3777" y="1604"/>
                </a:lnTo>
                <a:lnTo>
                  <a:pt x="3784" y="1605"/>
                </a:lnTo>
                <a:lnTo>
                  <a:pt x="3795" y="1600"/>
                </a:lnTo>
                <a:lnTo>
                  <a:pt x="3798" y="1597"/>
                </a:lnTo>
                <a:lnTo>
                  <a:pt x="3799" y="1589"/>
                </a:lnTo>
                <a:lnTo>
                  <a:pt x="3799" y="1579"/>
                </a:lnTo>
                <a:lnTo>
                  <a:pt x="3802" y="1579"/>
                </a:lnTo>
                <a:lnTo>
                  <a:pt x="3802" y="1579"/>
                </a:lnTo>
                <a:lnTo>
                  <a:pt x="3801" y="1577"/>
                </a:lnTo>
                <a:lnTo>
                  <a:pt x="3799" y="1575"/>
                </a:lnTo>
                <a:close/>
                <a:moveTo>
                  <a:pt x="3624" y="2499"/>
                </a:moveTo>
                <a:lnTo>
                  <a:pt x="3625" y="2498"/>
                </a:lnTo>
                <a:lnTo>
                  <a:pt x="3624" y="2497"/>
                </a:lnTo>
                <a:lnTo>
                  <a:pt x="3624" y="2499"/>
                </a:lnTo>
                <a:close/>
                <a:moveTo>
                  <a:pt x="3624" y="2499"/>
                </a:moveTo>
                <a:lnTo>
                  <a:pt x="3624" y="2499"/>
                </a:lnTo>
                <a:lnTo>
                  <a:pt x="3625" y="2500"/>
                </a:lnTo>
                <a:lnTo>
                  <a:pt x="3626" y="2503"/>
                </a:lnTo>
                <a:lnTo>
                  <a:pt x="3630" y="2503"/>
                </a:lnTo>
                <a:lnTo>
                  <a:pt x="3630" y="2507"/>
                </a:lnTo>
                <a:lnTo>
                  <a:pt x="3626" y="2507"/>
                </a:lnTo>
                <a:lnTo>
                  <a:pt x="3624" y="2504"/>
                </a:lnTo>
                <a:lnTo>
                  <a:pt x="3618" y="2503"/>
                </a:lnTo>
                <a:lnTo>
                  <a:pt x="3614" y="2503"/>
                </a:lnTo>
                <a:lnTo>
                  <a:pt x="3614" y="2507"/>
                </a:lnTo>
                <a:lnTo>
                  <a:pt x="3611" y="2507"/>
                </a:lnTo>
                <a:lnTo>
                  <a:pt x="3611" y="2499"/>
                </a:lnTo>
                <a:lnTo>
                  <a:pt x="3611" y="2492"/>
                </a:lnTo>
                <a:lnTo>
                  <a:pt x="3613" y="2487"/>
                </a:lnTo>
                <a:lnTo>
                  <a:pt x="3614" y="2487"/>
                </a:lnTo>
                <a:lnTo>
                  <a:pt x="3613" y="2490"/>
                </a:lnTo>
                <a:lnTo>
                  <a:pt x="3616" y="2486"/>
                </a:lnTo>
                <a:lnTo>
                  <a:pt x="3615" y="2491"/>
                </a:lnTo>
                <a:lnTo>
                  <a:pt x="3615" y="2491"/>
                </a:lnTo>
                <a:lnTo>
                  <a:pt x="3615" y="2491"/>
                </a:lnTo>
                <a:lnTo>
                  <a:pt x="3615" y="2491"/>
                </a:lnTo>
                <a:lnTo>
                  <a:pt x="3614" y="2491"/>
                </a:lnTo>
                <a:lnTo>
                  <a:pt x="3618" y="2492"/>
                </a:lnTo>
                <a:lnTo>
                  <a:pt x="3618" y="2492"/>
                </a:lnTo>
                <a:lnTo>
                  <a:pt x="3617" y="2492"/>
                </a:lnTo>
                <a:lnTo>
                  <a:pt x="3617" y="2493"/>
                </a:lnTo>
                <a:lnTo>
                  <a:pt x="3618" y="2492"/>
                </a:lnTo>
                <a:lnTo>
                  <a:pt x="3618" y="2490"/>
                </a:lnTo>
                <a:lnTo>
                  <a:pt x="3619" y="2491"/>
                </a:lnTo>
                <a:lnTo>
                  <a:pt x="3618" y="2493"/>
                </a:lnTo>
                <a:lnTo>
                  <a:pt x="3618" y="2493"/>
                </a:lnTo>
                <a:lnTo>
                  <a:pt x="3618" y="2493"/>
                </a:lnTo>
                <a:lnTo>
                  <a:pt x="3618" y="2499"/>
                </a:lnTo>
                <a:lnTo>
                  <a:pt x="3624" y="2499"/>
                </a:lnTo>
                <a:close/>
                <a:moveTo>
                  <a:pt x="3614" y="2490"/>
                </a:moveTo>
                <a:lnTo>
                  <a:pt x="3613" y="2493"/>
                </a:lnTo>
                <a:lnTo>
                  <a:pt x="3614" y="2493"/>
                </a:lnTo>
                <a:lnTo>
                  <a:pt x="3614" y="2490"/>
                </a:lnTo>
                <a:close/>
                <a:moveTo>
                  <a:pt x="3636" y="2496"/>
                </a:moveTo>
                <a:lnTo>
                  <a:pt x="3635" y="2493"/>
                </a:lnTo>
                <a:lnTo>
                  <a:pt x="3632" y="2493"/>
                </a:lnTo>
                <a:lnTo>
                  <a:pt x="3625" y="2498"/>
                </a:lnTo>
                <a:lnTo>
                  <a:pt x="3628" y="2501"/>
                </a:lnTo>
                <a:lnTo>
                  <a:pt x="3626" y="2499"/>
                </a:lnTo>
                <a:lnTo>
                  <a:pt x="3630" y="2499"/>
                </a:lnTo>
                <a:lnTo>
                  <a:pt x="3634" y="2500"/>
                </a:lnTo>
                <a:lnTo>
                  <a:pt x="3632" y="2499"/>
                </a:lnTo>
                <a:lnTo>
                  <a:pt x="3633" y="2499"/>
                </a:lnTo>
                <a:lnTo>
                  <a:pt x="3636" y="2496"/>
                </a:lnTo>
                <a:close/>
                <a:moveTo>
                  <a:pt x="3783" y="1549"/>
                </a:moveTo>
                <a:lnTo>
                  <a:pt x="3783" y="1550"/>
                </a:lnTo>
                <a:lnTo>
                  <a:pt x="3785" y="1551"/>
                </a:lnTo>
                <a:lnTo>
                  <a:pt x="3783" y="1549"/>
                </a:lnTo>
                <a:close/>
                <a:moveTo>
                  <a:pt x="3618" y="2491"/>
                </a:moveTo>
                <a:lnTo>
                  <a:pt x="3618" y="2490"/>
                </a:lnTo>
                <a:lnTo>
                  <a:pt x="3618" y="2490"/>
                </a:lnTo>
                <a:lnTo>
                  <a:pt x="3621" y="2487"/>
                </a:lnTo>
                <a:lnTo>
                  <a:pt x="3621" y="2487"/>
                </a:lnTo>
                <a:lnTo>
                  <a:pt x="3618" y="2487"/>
                </a:lnTo>
                <a:lnTo>
                  <a:pt x="3618" y="2488"/>
                </a:lnTo>
                <a:lnTo>
                  <a:pt x="3616" y="2489"/>
                </a:lnTo>
                <a:lnTo>
                  <a:pt x="3616" y="2492"/>
                </a:lnTo>
                <a:lnTo>
                  <a:pt x="3616" y="2492"/>
                </a:lnTo>
                <a:lnTo>
                  <a:pt x="3618" y="2491"/>
                </a:lnTo>
                <a:close/>
                <a:moveTo>
                  <a:pt x="3675" y="2566"/>
                </a:moveTo>
                <a:lnTo>
                  <a:pt x="3679" y="2571"/>
                </a:lnTo>
                <a:lnTo>
                  <a:pt x="3686" y="2570"/>
                </a:lnTo>
                <a:lnTo>
                  <a:pt x="3680" y="2568"/>
                </a:lnTo>
                <a:lnTo>
                  <a:pt x="3675" y="2566"/>
                </a:lnTo>
                <a:close/>
                <a:moveTo>
                  <a:pt x="2298" y="539"/>
                </a:moveTo>
                <a:lnTo>
                  <a:pt x="2297" y="538"/>
                </a:lnTo>
                <a:lnTo>
                  <a:pt x="2297" y="539"/>
                </a:lnTo>
                <a:lnTo>
                  <a:pt x="2298" y="539"/>
                </a:lnTo>
                <a:close/>
                <a:moveTo>
                  <a:pt x="1468" y="1565"/>
                </a:moveTo>
                <a:lnTo>
                  <a:pt x="1466" y="1565"/>
                </a:lnTo>
                <a:lnTo>
                  <a:pt x="1468" y="1567"/>
                </a:lnTo>
                <a:lnTo>
                  <a:pt x="1468" y="1565"/>
                </a:lnTo>
                <a:close/>
                <a:moveTo>
                  <a:pt x="1481" y="1653"/>
                </a:moveTo>
                <a:lnTo>
                  <a:pt x="1480" y="1653"/>
                </a:lnTo>
                <a:lnTo>
                  <a:pt x="1481" y="1654"/>
                </a:lnTo>
                <a:lnTo>
                  <a:pt x="1481" y="1654"/>
                </a:lnTo>
                <a:lnTo>
                  <a:pt x="1480" y="1653"/>
                </a:lnTo>
                <a:lnTo>
                  <a:pt x="1481" y="1653"/>
                </a:lnTo>
                <a:lnTo>
                  <a:pt x="1481" y="1653"/>
                </a:lnTo>
                <a:close/>
                <a:moveTo>
                  <a:pt x="1884" y="1665"/>
                </a:moveTo>
                <a:lnTo>
                  <a:pt x="1881" y="1662"/>
                </a:lnTo>
                <a:lnTo>
                  <a:pt x="1880" y="1663"/>
                </a:lnTo>
                <a:lnTo>
                  <a:pt x="1881" y="1667"/>
                </a:lnTo>
                <a:lnTo>
                  <a:pt x="1884" y="1665"/>
                </a:lnTo>
                <a:close/>
                <a:moveTo>
                  <a:pt x="1550" y="2362"/>
                </a:moveTo>
                <a:lnTo>
                  <a:pt x="1550" y="2363"/>
                </a:lnTo>
                <a:lnTo>
                  <a:pt x="1552" y="2362"/>
                </a:lnTo>
                <a:lnTo>
                  <a:pt x="1550" y="2362"/>
                </a:lnTo>
                <a:close/>
                <a:moveTo>
                  <a:pt x="1887" y="1685"/>
                </a:moveTo>
                <a:lnTo>
                  <a:pt x="1884" y="1686"/>
                </a:lnTo>
                <a:lnTo>
                  <a:pt x="1884" y="1689"/>
                </a:lnTo>
                <a:lnTo>
                  <a:pt x="1887" y="1686"/>
                </a:lnTo>
                <a:lnTo>
                  <a:pt x="1887" y="1685"/>
                </a:lnTo>
                <a:close/>
                <a:moveTo>
                  <a:pt x="1884" y="1684"/>
                </a:moveTo>
                <a:lnTo>
                  <a:pt x="1887" y="1681"/>
                </a:lnTo>
                <a:lnTo>
                  <a:pt x="1887" y="1680"/>
                </a:lnTo>
                <a:lnTo>
                  <a:pt x="1885" y="1681"/>
                </a:lnTo>
                <a:lnTo>
                  <a:pt x="1884" y="1684"/>
                </a:lnTo>
                <a:close/>
                <a:moveTo>
                  <a:pt x="1881" y="1691"/>
                </a:moveTo>
                <a:lnTo>
                  <a:pt x="1884" y="1689"/>
                </a:lnTo>
                <a:lnTo>
                  <a:pt x="1881" y="1685"/>
                </a:lnTo>
                <a:lnTo>
                  <a:pt x="1880" y="1691"/>
                </a:lnTo>
                <a:lnTo>
                  <a:pt x="1879" y="1692"/>
                </a:lnTo>
                <a:lnTo>
                  <a:pt x="1878" y="1692"/>
                </a:lnTo>
                <a:lnTo>
                  <a:pt x="1879" y="1695"/>
                </a:lnTo>
                <a:lnTo>
                  <a:pt x="1879" y="1693"/>
                </a:lnTo>
                <a:lnTo>
                  <a:pt x="1885" y="1695"/>
                </a:lnTo>
                <a:lnTo>
                  <a:pt x="1892" y="1691"/>
                </a:lnTo>
                <a:lnTo>
                  <a:pt x="1890" y="1689"/>
                </a:lnTo>
                <a:lnTo>
                  <a:pt x="1881" y="1691"/>
                </a:lnTo>
                <a:close/>
                <a:moveTo>
                  <a:pt x="1545" y="2421"/>
                </a:moveTo>
                <a:lnTo>
                  <a:pt x="1543" y="2421"/>
                </a:lnTo>
                <a:lnTo>
                  <a:pt x="1541" y="2424"/>
                </a:lnTo>
                <a:lnTo>
                  <a:pt x="1543" y="2425"/>
                </a:lnTo>
                <a:lnTo>
                  <a:pt x="1545" y="2421"/>
                </a:lnTo>
                <a:close/>
                <a:moveTo>
                  <a:pt x="1895" y="1696"/>
                </a:moveTo>
                <a:lnTo>
                  <a:pt x="1897" y="1696"/>
                </a:lnTo>
                <a:lnTo>
                  <a:pt x="1897" y="1695"/>
                </a:lnTo>
                <a:lnTo>
                  <a:pt x="1893" y="1692"/>
                </a:lnTo>
                <a:lnTo>
                  <a:pt x="1890" y="1695"/>
                </a:lnTo>
                <a:lnTo>
                  <a:pt x="1892" y="1696"/>
                </a:lnTo>
                <a:lnTo>
                  <a:pt x="1895" y="1696"/>
                </a:lnTo>
                <a:close/>
                <a:moveTo>
                  <a:pt x="1539" y="2391"/>
                </a:moveTo>
                <a:lnTo>
                  <a:pt x="1541" y="2391"/>
                </a:lnTo>
                <a:lnTo>
                  <a:pt x="1541" y="2390"/>
                </a:lnTo>
                <a:lnTo>
                  <a:pt x="1537" y="2390"/>
                </a:lnTo>
                <a:lnTo>
                  <a:pt x="1537" y="2391"/>
                </a:lnTo>
                <a:lnTo>
                  <a:pt x="1538" y="2394"/>
                </a:lnTo>
                <a:lnTo>
                  <a:pt x="1539" y="2391"/>
                </a:lnTo>
                <a:close/>
                <a:moveTo>
                  <a:pt x="1539" y="2401"/>
                </a:moveTo>
                <a:lnTo>
                  <a:pt x="1539" y="2402"/>
                </a:lnTo>
                <a:lnTo>
                  <a:pt x="1541" y="2401"/>
                </a:lnTo>
                <a:lnTo>
                  <a:pt x="1539" y="2401"/>
                </a:lnTo>
                <a:close/>
                <a:moveTo>
                  <a:pt x="1541" y="2398"/>
                </a:moveTo>
                <a:lnTo>
                  <a:pt x="1539" y="2401"/>
                </a:lnTo>
                <a:lnTo>
                  <a:pt x="1541" y="2401"/>
                </a:lnTo>
                <a:lnTo>
                  <a:pt x="1541" y="2398"/>
                </a:lnTo>
                <a:close/>
                <a:moveTo>
                  <a:pt x="1543" y="2401"/>
                </a:moveTo>
                <a:lnTo>
                  <a:pt x="1543" y="2401"/>
                </a:lnTo>
                <a:lnTo>
                  <a:pt x="1541" y="2401"/>
                </a:lnTo>
                <a:lnTo>
                  <a:pt x="1543" y="2401"/>
                </a:lnTo>
                <a:close/>
                <a:moveTo>
                  <a:pt x="1543" y="2398"/>
                </a:moveTo>
                <a:lnTo>
                  <a:pt x="1541" y="2398"/>
                </a:lnTo>
                <a:lnTo>
                  <a:pt x="1543" y="2401"/>
                </a:lnTo>
                <a:lnTo>
                  <a:pt x="1543" y="2398"/>
                </a:lnTo>
                <a:close/>
                <a:moveTo>
                  <a:pt x="1533" y="2405"/>
                </a:moveTo>
                <a:lnTo>
                  <a:pt x="1537" y="2405"/>
                </a:lnTo>
                <a:lnTo>
                  <a:pt x="1535" y="2402"/>
                </a:lnTo>
                <a:lnTo>
                  <a:pt x="1533" y="2401"/>
                </a:lnTo>
                <a:lnTo>
                  <a:pt x="1530" y="2402"/>
                </a:lnTo>
                <a:lnTo>
                  <a:pt x="1533" y="2405"/>
                </a:lnTo>
                <a:close/>
                <a:moveTo>
                  <a:pt x="1526" y="2389"/>
                </a:moveTo>
                <a:lnTo>
                  <a:pt x="1530" y="2386"/>
                </a:lnTo>
                <a:lnTo>
                  <a:pt x="1526" y="2386"/>
                </a:lnTo>
                <a:lnTo>
                  <a:pt x="1526" y="2389"/>
                </a:lnTo>
                <a:close/>
                <a:moveTo>
                  <a:pt x="1543" y="2394"/>
                </a:moveTo>
                <a:lnTo>
                  <a:pt x="1543" y="2397"/>
                </a:lnTo>
                <a:lnTo>
                  <a:pt x="1545" y="2395"/>
                </a:lnTo>
                <a:lnTo>
                  <a:pt x="1543" y="2394"/>
                </a:lnTo>
                <a:close/>
                <a:moveTo>
                  <a:pt x="1535" y="2397"/>
                </a:moveTo>
                <a:lnTo>
                  <a:pt x="1533" y="2397"/>
                </a:lnTo>
                <a:lnTo>
                  <a:pt x="1533" y="2398"/>
                </a:lnTo>
                <a:lnTo>
                  <a:pt x="1535" y="2397"/>
                </a:lnTo>
                <a:close/>
                <a:moveTo>
                  <a:pt x="2003" y="617"/>
                </a:moveTo>
                <a:lnTo>
                  <a:pt x="2003" y="616"/>
                </a:lnTo>
                <a:lnTo>
                  <a:pt x="2000" y="614"/>
                </a:lnTo>
                <a:lnTo>
                  <a:pt x="2003" y="617"/>
                </a:lnTo>
                <a:close/>
                <a:moveTo>
                  <a:pt x="2003" y="633"/>
                </a:moveTo>
                <a:lnTo>
                  <a:pt x="2003" y="629"/>
                </a:lnTo>
                <a:lnTo>
                  <a:pt x="2001" y="633"/>
                </a:lnTo>
                <a:lnTo>
                  <a:pt x="2003" y="633"/>
                </a:lnTo>
                <a:close/>
                <a:moveTo>
                  <a:pt x="2004" y="1735"/>
                </a:moveTo>
                <a:lnTo>
                  <a:pt x="2004" y="1733"/>
                </a:lnTo>
                <a:lnTo>
                  <a:pt x="2002" y="1733"/>
                </a:lnTo>
                <a:lnTo>
                  <a:pt x="2004" y="1735"/>
                </a:lnTo>
                <a:close/>
                <a:moveTo>
                  <a:pt x="1987" y="674"/>
                </a:moveTo>
                <a:lnTo>
                  <a:pt x="1986" y="673"/>
                </a:lnTo>
                <a:lnTo>
                  <a:pt x="1986" y="674"/>
                </a:lnTo>
                <a:lnTo>
                  <a:pt x="1987" y="674"/>
                </a:lnTo>
                <a:close/>
                <a:moveTo>
                  <a:pt x="1984" y="674"/>
                </a:moveTo>
                <a:lnTo>
                  <a:pt x="1986" y="673"/>
                </a:lnTo>
                <a:lnTo>
                  <a:pt x="1984" y="673"/>
                </a:lnTo>
                <a:lnTo>
                  <a:pt x="1984" y="674"/>
                </a:lnTo>
                <a:close/>
                <a:moveTo>
                  <a:pt x="2024" y="560"/>
                </a:moveTo>
                <a:lnTo>
                  <a:pt x="2020" y="559"/>
                </a:lnTo>
                <a:lnTo>
                  <a:pt x="2025" y="564"/>
                </a:lnTo>
                <a:lnTo>
                  <a:pt x="2025" y="569"/>
                </a:lnTo>
                <a:lnTo>
                  <a:pt x="2028" y="570"/>
                </a:lnTo>
                <a:lnTo>
                  <a:pt x="2028" y="569"/>
                </a:lnTo>
                <a:lnTo>
                  <a:pt x="2026" y="568"/>
                </a:lnTo>
                <a:lnTo>
                  <a:pt x="2024" y="560"/>
                </a:lnTo>
                <a:close/>
                <a:moveTo>
                  <a:pt x="2012" y="605"/>
                </a:moveTo>
                <a:lnTo>
                  <a:pt x="2012" y="606"/>
                </a:lnTo>
                <a:lnTo>
                  <a:pt x="2012" y="607"/>
                </a:lnTo>
                <a:lnTo>
                  <a:pt x="2013" y="605"/>
                </a:lnTo>
                <a:lnTo>
                  <a:pt x="2012" y="605"/>
                </a:lnTo>
                <a:close/>
                <a:moveTo>
                  <a:pt x="2013" y="600"/>
                </a:moveTo>
                <a:lnTo>
                  <a:pt x="2016" y="603"/>
                </a:lnTo>
                <a:lnTo>
                  <a:pt x="2016" y="600"/>
                </a:lnTo>
                <a:lnTo>
                  <a:pt x="2013" y="600"/>
                </a:lnTo>
                <a:close/>
                <a:moveTo>
                  <a:pt x="1942" y="656"/>
                </a:moveTo>
                <a:lnTo>
                  <a:pt x="1939" y="659"/>
                </a:lnTo>
                <a:lnTo>
                  <a:pt x="1942" y="659"/>
                </a:lnTo>
                <a:lnTo>
                  <a:pt x="1942" y="656"/>
                </a:lnTo>
                <a:close/>
                <a:moveTo>
                  <a:pt x="1968" y="669"/>
                </a:moveTo>
                <a:lnTo>
                  <a:pt x="1968" y="673"/>
                </a:lnTo>
                <a:lnTo>
                  <a:pt x="1972" y="674"/>
                </a:lnTo>
                <a:lnTo>
                  <a:pt x="1972" y="674"/>
                </a:lnTo>
                <a:lnTo>
                  <a:pt x="1972" y="671"/>
                </a:lnTo>
                <a:lnTo>
                  <a:pt x="1968" y="669"/>
                </a:lnTo>
                <a:close/>
                <a:moveTo>
                  <a:pt x="1960" y="665"/>
                </a:moveTo>
                <a:lnTo>
                  <a:pt x="1957" y="665"/>
                </a:lnTo>
                <a:lnTo>
                  <a:pt x="1955" y="669"/>
                </a:lnTo>
                <a:lnTo>
                  <a:pt x="1958" y="668"/>
                </a:lnTo>
                <a:lnTo>
                  <a:pt x="1960" y="665"/>
                </a:lnTo>
                <a:close/>
                <a:moveTo>
                  <a:pt x="1919" y="1704"/>
                </a:moveTo>
                <a:lnTo>
                  <a:pt x="1917" y="1703"/>
                </a:lnTo>
                <a:lnTo>
                  <a:pt x="1917" y="1704"/>
                </a:lnTo>
                <a:lnTo>
                  <a:pt x="1919" y="1704"/>
                </a:lnTo>
                <a:lnTo>
                  <a:pt x="1919" y="1704"/>
                </a:lnTo>
                <a:close/>
                <a:moveTo>
                  <a:pt x="1961" y="1712"/>
                </a:moveTo>
                <a:lnTo>
                  <a:pt x="1961" y="1714"/>
                </a:lnTo>
                <a:lnTo>
                  <a:pt x="1963" y="1712"/>
                </a:lnTo>
                <a:lnTo>
                  <a:pt x="1961" y="1712"/>
                </a:lnTo>
                <a:close/>
                <a:moveTo>
                  <a:pt x="1966" y="1718"/>
                </a:moveTo>
                <a:lnTo>
                  <a:pt x="1964" y="1719"/>
                </a:lnTo>
                <a:lnTo>
                  <a:pt x="1966" y="1719"/>
                </a:lnTo>
                <a:lnTo>
                  <a:pt x="1966" y="1718"/>
                </a:lnTo>
                <a:close/>
                <a:moveTo>
                  <a:pt x="1974" y="676"/>
                </a:moveTo>
                <a:lnTo>
                  <a:pt x="1972" y="674"/>
                </a:lnTo>
                <a:lnTo>
                  <a:pt x="1972" y="676"/>
                </a:lnTo>
                <a:lnTo>
                  <a:pt x="1974" y="676"/>
                </a:lnTo>
                <a:close/>
                <a:moveTo>
                  <a:pt x="1976" y="676"/>
                </a:moveTo>
                <a:lnTo>
                  <a:pt x="1978" y="678"/>
                </a:lnTo>
                <a:lnTo>
                  <a:pt x="1980" y="675"/>
                </a:lnTo>
                <a:lnTo>
                  <a:pt x="1976" y="674"/>
                </a:lnTo>
                <a:lnTo>
                  <a:pt x="1975" y="675"/>
                </a:lnTo>
                <a:lnTo>
                  <a:pt x="1976" y="676"/>
                </a:lnTo>
                <a:lnTo>
                  <a:pt x="1974" y="676"/>
                </a:lnTo>
                <a:lnTo>
                  <a:pt x="1975" y="677"/>
                </a:lnTo>
                <a:lnTo>
                  <a:pt x="1976" y="676"/>
                </a:lnTo>
                <a:close/>
                <a:moveTo>
                  <a:pt x="1539" y="2397"/>
                </a:moveTo>
                <a:lnTo>
                  <a:pt x="1538" y="2397"/>
                </a:lnTo>
                <a:lnTo>
                  <a:pt x="1537" y="2398"/>
                </a:lnTo>
                <a:lnTo>
                  <a:pt x="1538" y="2401"/>
                </a:lnTo>
                <a:lnTo>
                  <a:pt x="1539" y="2398"/>
                </a:lnTo>
                <a:lnTo>
                  <a:pt x="1539" y="2397"/>
                </a:lnTo>
                <a:close/>
                <a:moveTo>
                  <a:pt x="1524" y="2477"/>
                </a:moveTo>
                <a:lnTo>
                  <a:pt x="1526" y="2475"/>
                </a:lnTo>
                <a:lnTo>
                  <a:pt x="1526" y="2471"/>
                </a:lnTo>
                <a:lnTo>
                  <a:pt x="1520" y="2470"/>
                </a:lnTo>
                <a:lnTo>
                  <a:pt x="1524" y="2477"/>
                </a:lnTo>
                <a:close/>
                <a:moveTo>
                  <a:pt x="1523" y="2465"/>
                </a:moveTo>
                <a:lnTo>
                  <a:pt x="1524" y="2465"/>
                </a:lnTo>
                <a:lnTo>
                  <a:pt x="1523" y="2462"/>
                </a:lnTo>
                <a:lnTo>
                  <a:pt x="1519" y="2463"/>
                </a:lnTo>
                <a:lnTo>
                  <a:pt x="1523" y="2465"/>
                </a:lnTo>
                <a:close/>
                <a:moveTo>
                  <a:pt x="1524" y="2463"/>
                </a:moveTo>
                <a:lnTo>
                  <a:pt x="1526" y="2463"/>
                </a:lnTo>
                <a:lnTo>
                  <a:pt x="1523" y="2462"/>
                </a:lnTo>
                <a:lnTo>
                  <a:pt x="1524" y="2463"/>
                </a:lnTo>
                <a:close/>
                <a:moveTo>
                  <a:pt x="1541" y="2534"/>
                </a:moveTo>
                <a:lnTo>
                  <a:pt x="1541" y="2532"/>
                </a:lnTo>
                <a:lnTo>
                  <a:pt x="1540" y="2531"/>
                </a:lnTo>
                <a:lnTo>
                  <a:pt x="1539" y="2532"/>
                </a:lnTo>
                <a:lnTo>
                  <a:pt x="1541" y="2534"/>
                </a:lnTo>
                <a:close/>
                <a:moveTo>
                  <a:pt x="1526" y="2465"/>
                </a:moveTo>
                <a:lnTo>
                  <a:pt x="1520" y="2469"/>
                </a:lnTo>
                <a:lnTo>
                  <a:pt x="1524" y="2469"/>
                </a:lnTo>
                <a:lnTo>
                  <a:pt x="1526" y="2470"/>
                </a:lnTo>
                <a:lnTo>
                  <a:pt x="1526" y="2469"/>
                </a:lnTo>
                <a:lnTo>
                  <a:pt x="1526" y="2465"/>
                </a:lnTo>
                <a:close/>
                <a:moveTo>
                  <a:pt x="1523" y="2409"/>
                </a:moveTo>
                <a:lnTo>
                  <a:pt x="1523" y="2412"/>
                </a:lnTo>
                <a:lnTo>
                  <a:pt x="1524" y="2409"/>
                </a:lnTo>
                <a:lnTo>
                  <a:pt x="1523" y="2408"/>
                </a:lnTo>
                <a:lnTo>
                  <a:pt x="1523" y="2409"/>
                </a:lnTo>
                <a:close/>
                <a:moveTo>
                  <a:pt x="1531" y="2451"/>
                </a:moveTo>
                <a:lnTo>
                  <a:pt x="1531" y="2452"/>
                </a:lnTo>
                <a:lnTo>
                  <a:pt x="1533" y="2451"/>
                </a:lnTo>
                <a:lnTo>
                  <a:pt x="1531" y="2451"/>
                </a:lnTo>
                <a:close/>
                <a:moveTo>
                  <a:pt x="1524" y="2432"/>
                </a:moveTo>
                <a:lnTo>
                  <a:pt x="1526" y="2431"/>
                </a:lnTo>
                <a:lnTo>
                  <a:pt x="1527" y="2428"/>
                </a:lnTo>
                <a:lnTo>
                  <a:pt x="1526" y="2429"/>
                </a:lnTo>
                <a:lnTo>
                  <a:pt x="1523" y="2429"/>
                </a:lnTo>
                <a:lnTo>
                  <a:pt x="1524" y="2431"/>
                </a:lnTo>
                <a:lnTo>
                  <a:pt x="1523" y="2431"/>
                </a:lnTo>
                <a:lnTo>
                  <a:pt x="1524" y="2432"/>
                </a:lnTo>
                <a:close/>
                <a:moveTo>
                  <a:pt x="1538" y="2401"/>
                </a:moveTo>
                <a:lnTo>
                  <a:pt x="1537" y="2401"/>
                </a:lnTo>
                <a:lnTo>
                  <a:pt x="1539" y="2401"/>
                </a:lnTo>
                <a:lnTo>
                  <a:pt x="1539" y="2401"/>
                </a:lnTo>
                <a:lnTo>
                  <a:pt x="1538" y="2401"/>
                </a:lnTo>
                <a:close/>
                <a:moveTo>
                  <a:pt x="1553" y="2547"/>
                </a:moveTo>
                <a:lnTo>
                  <a:pt x="1554" y="2547"/>
                </a:lnTo>
                <a:lnTo>
                  <a:pt x="1554" y="2546"/>
                </a:lnTo>
                <a:lnTo>
                  <a:pt x="1553" y="2547"/>
                </a:lnTo>
                <a:close/>
                <a:moveTo>
                  <a:pt x="2109" y="1799"/>
                </a:moveTo>
                <a:lnTo>
                  <a:pt x="2110" y="1808"/>
                </a:lnTo>
                <a:lnTo>
                  <a:pt x="2109" y="1808"/>
                </a:lnTo>
                <a:lnTo>
                  <a:pt x="2108" y="1810"/>
                </a:lnTo>
                <a:lnTo>
                  <a:pt x="2108" y="1811"/>
                </a:lnTo>
                <a:lnTo>
                  <a:pt x="2108" y="1814"/>
                </a:lnTo>
                <a:lnTo>
                  <a:pt x="2101" y="1830"/>
                </a:lnTo>
                <a:lnTo>
                  <a:pt x="2094" y="1839"/>
                </a:lnTo>
                <a:lnTo>
                  <a:pt x="2086" y="1850"/>
                </a:lnTo>
                <a:lnTo>
                  <a:pt x="2079" y="1856"/>
                </a:lnTo>
                <a:lnTo>
                  <a:pt x="2076" y="1857"/>
                </a:lnTo>
                <a:lnTo>
                  <a:pt x="2076" y="1858"/>
                </a:lnTo>
                <a:lnTo>
                  <a:pt x="2072" y="1860"/>
                </a:lnTo>
                <a:lnTo>
                  <a:pt x="2072" y="1862"/>
                </a:lnTo>
                <a:lnTo>
                  <a:pt x="2070" y="1866"/>
                </a:lnTo>
                <a:lnTo>
                  <a:pt x="2071" y="1866"/>
                </a:lnTo>
                <a:lnTo>
                  <a:pt x="2067" y="1875"/>
                </a:lnTo>
                <a:lnTo>
                  <a:pt x="2059" y="1884"/>
                </a:lnTo>
                <a:lnTo>
                  <a:pt x="2052" y="1890"/>
                </a:lnTo>
                <a:lnTo>
                  <a:pt x="2052" y="1889"/>
                </a:lnTo>
                <a:lnTo>
                  <a:pt x="2050" y="1891"/>
                </a:lnTo>
                <a:lnTo>
                  <a:pt x="2051" y="1889"/>
                </a:lnTo>
                <a:lnTo>
                  <a:pt x="2052" y="1889"/>
                </a:lnTo>
                <a:lnTo>
                  <a:pt x="2052" y="1887"/>
                </a:lnTo>
                <a:lnTo>
                  <a:pt x="2051" y="1888"/>
                </a:lnTo>
                <a:lnTo>
                  <a:pt x="2052" y="1886"/>
                </a:lnTo>
                <a:lnTo>
                  <a:pt x="2052" y="1885"/>
                </a:lnTo>
                <a:lnTo>
                  <a:pt x="2054" y="1885"/>
                </a:lnTo>
                <a:lnTo>
                  <a:pt x="2052" y="1884"/>
                </a:lnTo>
                <a:lnTo>
                  <a:pt x="2048" y="1886"/>
                </a:lnTo>
                <a:lnTo>
                  <a:pt x="2050" y="1889"/>
                </a:lnTo>
                <a:lnTo>
                  <a:pt x="2051" y="1889"/>
                </a:lnTo>
                <a:lnTo>
                  <a:pt x="2050" y="1890"/>
                </a:lnTo>
                <a:lnTo>
                  <a:pt x="2048" y="1894"/>
                </a:lnTo>
                <a:lnTo>
                  <a:pt x="2048" y="1898"/>
                </a:lnTo>
                <a:lnTo>
                  <a:pt x="2044" y="1894"/>
                </a:lnTo>
                <a:lnTo>
                  <a:pt x="2044" y="1896"/>
                </a:lnTo>
                <a:lnTo>
                  <a:pt x="2047" y="1899"/>
                </a:lnTo>
                <a:lnTo>
                  <a:pt x="2047" y="1905"/>
                </a:lnTo>
                <a:lnTo>
                  <a:pt x="2048" y="1904"/>
                </a:lnTo>
                <a:lnTo>
                  <a:pt x="2046" y="1914"/>
                </a:lnTo>
                <a:lnTo>
                  <a:pt x="2049" y="1932"/>
                </a:lnTo>
                <a:lnTo>
                  <a:pt x="2044" y="1951"/>
                </a:lnTo>
                <a:lnTo>
                  <a:pt x="2044" y="1960"/>
                </a:lnTo>
                <a:lnTo>
                  <a:pt x="2037" y="1967"/>
                </a:lnTo>
                <a:lnTo>
                  <a:pt x="2036" y="1976"/>
                </a:lnTo>
                <a:lnTo>
                  <a:pt x="2036" y="1985"/>
                </a:lnTo>
                <a:lnTo>
                  <a:pt x="2034" y="1989"/>
                </a:lnTo>
                <a:lnTo>
                  <a:pt x="2033" y="1990"/>
                </a:lnTo>
                <a:lnTo>
                  <a:pt x="2028" y="2001"/>
                </a:lnTo>
                <a:lnTo>
                  <a:pt x="2024" y="1999"/>
                </a:lnTo>
                <a:lnTo>
                  <a:pt x="2024" y="2001"/>
                </a:lnTo>
                <a:lnTo>
                  <a:pt x="2030" y="2001"/>
                </a:lnTo>
                <a:lnTo>
                  <a:pt x="2028" y="2006"/>
                </a:lnTo>
                <a:lnTo>
                  <a:pt x="2025" y="2009"/>
                </a:lnTo>
                <a:lnTo>
                  <a:pt x="2022" y="2009"/>
                </a:lnTo>
                <a:lnTo>
                  <a:pt x="2020" y="2016"/>
                </a:lnTo>
                <a:lnTo>
                  <a:pt x="2019" y="2020"/>
                </a:lnTo>
                <a:lnTo>
                  <a:pt x="2020" y="2027"/>
                </a:lnTo>
                <a:lnTo>
                  <a:pt x="2008" y="2031"/>
                </a:lnTo>
                <a:lnTo>
                  <a:pt x="2004" y="2035"/>
                </a:lnTo>
                <a:lnTo>
                  <a:pt x="2004" y="2045"/>
                </a:lnTo>
                <a:lnTo>
                  <a:pt x="1989" y="2045"/>
                </a:lnTo>
                <a:lnTo>
                  <a:pt x="1990" y="2041"/>
                </a:lnTo>
                <a:lnTo>
                  <a:pt x="1989" y="2037"/>
                </a:lnTo>
                <a:lnTo>
                  <a:pt x="1987" y="2040"/>
                </a:lnTo>
                <a:lnTo>
                  <a:pt x="1989" y="2045"/>
                </a:lnTo>
                <a:lnTo>
                  <a:pt x="1987" y="2045"/>
                </a:lnTo>
                <a:lnTo>
                  <a:pt x="1981" y="2045"/>
                </a:lnTo>
                <a:lnTo>
                  <a:pt x="1982" y="2045"/>
                </a:lnTo>
                <a:lnTo>
                  <a:pt x="1976" y="2045"/>
                </a:lnTo>
                <a:lnTo>
                  <a:pt x="1981" y="2043"/>
                </a:lnTo>
                <a:lnTo>
                  <a:pt x="1977" y="2040"/>
                </a:lnTo>
                <a:lnTo>
                  <a:pt x="1971" y="2042"/>
                </a:lnTo>
                <a:lnTo>
                  <a:pt x="1970" y="2041"/>
                </a:lnTo>
                <a:lnTo>
                  <a:pt x="1964" y="2042"/>
                </a:lnTo>
                <a:lnTo>
                  <a:pt x="1964" y="2049"/>
                </a:lnTo>
                <a:lnTo>
                  <a:pt x="1963" y="2049"/>
                </a:lnTo>
                <a:lnTo>
                  <a:pt x="1958" y="2051"/>
                </a:lnTo>
                <a:lnTo>
                  <a:pt x="1952" y="2051"/>
                </a:lnTo>
                <a:lnTo>
                  <a:pt x="1952" y="2057"/>
                </a:lnTo>
                <a:lnTo>
                  <a:pt x="1949" y="2057"/>
                </a:lnTo>
                <a:lnTo>
                  <a:pt x="1945" y="2057"/>
                </a:lnTo>
                <a:lnTo>
                  <a:pt x="1942" y="2058"/>
                </a:lnTo>
                <a:lnTo>
                  <a:pt x="1940" y="2056"/>
                </a:lnTo>
                <a:lnTo>
                  <a:pt x="1940" y="2058"/>
                </a:lnTo>
                <a:lnTo>
                  <a:pt x="1916" y="2078"/>
                </a:lnTo>
                <a:lnTo>
                  <a:pt x="1919" y="2078"/>
                </a:lnTo>
                <a:lnTo>
                  <a:pt x="1916" y="2078"/>
                </a:lnTo>
                <a:lnTo>
                  <a:pt x="1911" y="2082"/>
                </a:lnTo>
                <a:lnTo>
                  <a:pt x="1911" y="2080"/>
                </a:lnTo>
                <a:lnTo>
                  <a:pt x="1911" y="2078"/>
                </a:lnTo>
                <a:lnTo>
                  <a:pt x="1909" y="2080"/>
                </a:lnTo>
                <a:lnTo>
                  <a:pt x="1910" y="2082"/>
                </a:lnTo>
                <a:lnTo>
                  <a:pt x="1906" y="2082"/>
                </a:lnTo>
                <a:lnTo>
                  <a:pt x="1911" y="2083"/>
                </a:lnTo>
                <a:lnTo>
                  <a:pt x="1910" y="2087"/>
                </a:lnTo>
                <a:lnTo>
                  <a:pt x="1906" y="2090"/>
                </a:lnTo>
                <a:lnTo>
                  <a:pt x="1907" y="2090"/>
                </a:lnTo>
                <a:lnTo>
                  <a:pt x="1907" y="2093"/>
                </a:lnTo>
                <a:lnTo>
                  <a:pt x="1907" y="2094"/>
                </a:lnTo>
                <a:lnTo>
                  <a:pt x="1906" y="2098"/>
                </a:lnTo>
                <a:lnTo>
                  <a:pt x="1906" y="2101"/>
                </a:lnTo>
                <a:lnTo>
                  <a:pt x="1907" y="2109"/>
                </a:lnTo>
                <a:lnTo>
                  <a:pt x="1910" y="2110"/>
                </a:lnTo>
                <a:lnTo>
                  <a:pt x="1907" y="2110"/>
                </a:lnTo>
                <a:lnTo>
                  <a:pt x="1907" y="2116"/>
                </a:lnTo>
                <a:lnTo>
                  <a:pt x="1907" y="2121"/>
                </a:lnTo>
                <a:lnTo>
                  <a:pt x="1906" y="2131"/>
                </a:lnTo>
                <a:lnTo>
                  <a:pt x="1897" y="2139"/>
                </a:lnTo>
                <a:lnTo>
                  <a:pt x="1892" y="2143"/>
                </a:lnTo>
                <a:lnTo>
                  <a:pt x="1887" y="2151"/>
                </a:lnTo>
                <a:lnTo>
                  <a:pt x="1884" y="2161"/>
                </a:lnTo>
                <a:lnTo>
                  <a:pt x="1877" y="2171"/>
                </a:lnTo>
                <a:lnTo>
                  <a:pt x="1865" y="2182"/>
                </a:lnTo>
                <a:lnTo>
                  <a:pt x="1865" y="2183"/>
                </a:lnTo>
                <a:lnTo>
                  <a:pt x="1867" y="2180"/>
                </a:lnTo>
                <a:lnTo>
                  <a:pt x="1869" y="2178"/>
                </a:lnTo>
                <a:lnTo>
                  <a:pt x="1870" y="2171"/>
                </a:lnTo>
                <a:lnTo>
                  <a:pt x="1871" y="2173"/>
                </a:lnTo>
                <a:lnTo>
                  <a:pt x="1871" y="2170"/>
                </a:lnTo>
                <a:lnTo>
                  <a:pt x="1875" y="2166"/>
                </a:lnTo>
                <a:lnTo>
                  <a:pt x="1875" y="2162"/>
                </a:lnTo>
                <a:lnTo>
                  <a:pt x="1871" y="2162"/>
                </a:lnTo>
                <a:lnTo>
                  <a:pt x="1871" y="2158"/>
                </a:lnTo>
                <a:lnTo>
                  <a:pt x="1871" y="2158"/>
                </a:lnTo>
                <a:lnTo>
                  <a:pt x="1867" y="2155"/>
                </a:lnTo>
                <a:lnTo>
                  <a:pt x="1867" y="2157"/>
                </a:lnTo>
                <a:lnTo>
                  <a:pt x="1869" y="2161"/>
                </a:lnTo>
                <a:lnTo>
                  <a:pt x="1870" y="2168"/>
                </a:lnTo>
                <a:lnTo>
                  <a:pt x="1867" y="2165"/>
                </a:lnTo>
                <a:lnTo>
                  <a:pt x="1866" y="2171"/>
                </a:lnTo>
                <a:lnTo>
                  <a:pt x="1859" y="2177"/>
                </a:lnTo>
                <a:lnTo>
                  <a:pt x="1859" y="2181"/>
                </a:lnTo>
                <a:lnTo>
                  <a:pt x="1855" y="2182"/>
                </a:lnTo>
                <a:lnTo>
                  <a:pt x="1856" y="2185"/>
                </a:lnTo>
                <a:lnTo>
                  <a:pt x="1856" y="2186"/>
                </a:lnTo>
                <a:lnTo>
                  <a:pt x="1856" y="2186"/>
                </a:lnTo>
                <a:lnTo>
                  <a:pt x="1857" y="2186"/>
                </a:lnTo>
                <a:lnTo>
                  <a:pt x="1855" y="2189"/>
                </a:lnTo>
                <a:lnTo>
                  <a:pt x="1856" y="2189"/>
                </a:lnTo>
                <a:lnTo>
                  <a:pt x="1854" y="2197"/>
                </a:lnTo>
                <a:lnTo>
                  <a:pt x="1848" y="2207"/>
                </a:lnTo>
                <a:lnTo>
                  <a:pt x="1839" y="2218"/>
                </a:lnTo>
                <a:lnTo>
                  <a:pt x="1839" y="2218"/>
                </a:lnTo>
                <a:lnTo>
                  <a:pt x="1836" y="2223"/>
                </a:lnTo>
                <a:lnTo>
                  <a:pt x="1827" y="2231"/>
                </a:lnTo>
                <a:lnTo>
                  <a:pt x="1823" y="2230"/>
                </a:lnTo>
                <a:lnTo>
                  <a:pt x="1823" y="2231"/>
                </a:lnTo>
                <a:lnTo>
                  <a:pt x="1816" y="2239"/>
                </a:lnTo>
                <a:lnTo>
                  <a:pt x="1806" y="2236"/>
                </a:lnTo>
                <a:lnTo>
                  <a:pt x="1796" y="2238"/>
                </a:lnTo>
                <a:lnTo>
                  <a:pt x="1795" y="2238"/>
                </a:lnTo>
                <a:lnTo>
                  <a:pt x="1796" y="2236"/>
                </a:lnTo>
                <a:lnTo>
                  <a:pt x="1788" y="2232"/>
                </a:lnTo>
                <a:lnTo>
                  <a:pt x="1784" y="2230"/>
                </a:lnTo>
                <a:lnTo>
                  <a:pt x="1774" y="2230"/>
                </a:lnTo>
                <a:lnTo>
                  <a:pt x="1763" y="2219"/>
                </a:lnTo>
                <a:lnTo>
                  <a:pt x="1763" y="2211"/>
                </a:lnTo>
                <a:lnTo>
                  <a:pt x="1763" y="2206"/>
                </a:lnTo>
                <a:lnTo>
                  <a:pt x="1769" y="2206"/>
                </a:lnTo>
                <a:lnTo>
                  <a:pt x="1770" y="2202"/>
                </a:lnTo>
                <a:lnTo>
                  <a:pt x="1769" y="2192"/>
                </a:lnTo>
                <a:lnTo>
                  <a:pt x="1770" y="2191"/>
                </a:lnTo>
                <a:lnTo>
                  <a:pt x="1769" y="2185"/>
                </a:lnTo>
                <a:lnTo>
                  <a:pt x="1770" y="2181"/>
                </a:lnTo>
                <a:lnTo>
                  <a:pt x="1772" y="2179"/>
                </a:lnTo>
                <a:lnTo>
                  <a:pt x="1770" y="2176"/>
                </a:lnTo>
                <a:lnTo>
                  <a:pt x="1771" y="2172"/>
                </a:lnTo>
                <a:lnTo>
                  <a:pt x="1775" y="2167"/>
                </a:lnTo>
                <a:lnTo>
                  <a:pt x="1773" y="2161"/>
                </a:lnTo>
                <a:lnTo>
                  <a:pt x="1775" y="2157"/>
                </a:lnTo>
                <a:lnTo>
                  <a:pt x="1775" y="2158"/>
                </a:lnTo>
                <a:lnTo>
                  <a:pt x="1777" y="2158"/>
                </a:lnTo>
                <a:lnTo>
                  <a:pt x="1778" y="2157"/>
                </a:lnTo>
                <a:lnTo>
                  <a:pt x="1779" y="2155"/>
                </a:lnTo>
                <a:lnTo>
                  <a:pt x="1779" y="2153"/>
                </a:lnTo>
                <a:lnTo>
                  <a:pt x="1771" y="2156"/>
                </a:lnTo>
                <a:lnTo>
                  <a:pt x="1771" y="2158"/>
                </a:lnTo>
                <a:lnTo>
                  <a:pt x="1770" y="2161"/>
                </a:lnTo>
                <a:lnTo>
                  <a:pt x="1774" y="2166"/>
                </a:lnTo>
                <a:lnTo>
                  <a:pt x="1771" y="2172"/>
                </a:lnTo>
                <a:lnTo>
                  <a:pt x="1768" y="2176"/>
                </a:lnTo>
                <a:lnTo>
                  <a:pt x="1771" y="2178"/>
                </a:lnTo>
                <a:lnTo>
                  <a:pt x="1767" y="2181"/>
                </a:lnTo>
                <a:lnTo>
                  <a:pt x="1766" y="2184"/>
                </a:lnTo>
                <a:lnTo>
                  <a:pt x="1766" y="2191"/>
                </a:lnTo>
                <a:lnTo>
                  <a:pt x="1763" y="2192"/>
                </a:lnTo>
                <a:lnTo>
                  <a:pt x="1763" y="2203"/>
                </a:lnTo>
                <a:lnTo>
                  <a:pt x="1761" y="2203"/>
                </a:lnTo>
                <a:lnTo>
                  <a:pt x="1759" y="2210"/>
                </a:lnTo>
                <a:lnTo>
                  <a:pt x="1759" y="2214"/>
                </a:lnTo>
                <a:lnTo>
                  <a:pt x="1763" y="2221"/>
                </a:lnTo>
                <a:lnTo>
                  <a:pt x="1763" y="2222"/>
                </a:lnTo>
                <a:lnTo>
                  <a:pt x="1759" y="2224"/>
                </a:lnTo>
                <a:lnTo>
                  <a:pt x="1759" y="2228"/>
                </a:lnTo>
                <a:lnTo>
                  <a:pt x="1774" y="2237"/>
                </a:lnTo>
                <a:lnTo>
                  <a:pt x="1780" y="2242"/>
                </a:lnTo>
                <a:lnTo>
                  <a:pt x="1781" y="2243"/>
                </a:lnTo>
                <a:lnTo>
                  <a:pt x="1775" y="2248"/>
                </a:lnTo>
                <a:lnTo>
                  <a:pt x="1775" y="2252"/>
                </a:lnTo>
                <a:lnTo>
                  <a:pt x="1783" y="2262"/>
                </a:lnTo>
                <a:lnTo>
                  <a:pt x="1785" y="2262"/>
                </a:lnTo>
                <a:lnTo>
                  <a:pt x="1787" y="2262"/>
                </a:lnTo>
                <a:lnTo>
                  <a:pt x="1789" y="2270"/>
                </a:lnTo>
                <a:lnTo>
                  <a:pt x="1775" y="2283"/>
                </a:lnTo>
                <a:lnTo>
                  <a:pt x="1775" y="2290"/>
                </a:lnTo>
                <a:lnTo>
                  <a:pt x="1764" y="2296"/>
                </a:lnTo>
                <a:lnTo>
                  <a:pt x="1742" y="2302"/>
                </a:lnTo>
                <a:lnTo>
                  <a:pt x="1726" y="2306"/>
                </a:lnTo>
                <a:lnTo>
                  <a:pt x="1715" y="2306"/>
                </a:lnTo>
                <a:lnTo>
                  <a:pt x="1707" y="2303"/>
                </a:lnTo>
                <a:lnTo>
                  <a:pt x="1708" y="2305"/>
                </a:lnTo>
                <a:lnTo>
                  <a:pt x="1707" y="2311"/>
                </a:lnTo>
                <a:lnTo>
                  <a:pt x="1712" y="2315"/>
                </a:lnTo>
                <a:lnTo>
                  <a:pt x="1708" y="2315"/>
                </a:lnTo>
                <a:lnTo>
                  <a:pt x="1712" y="2319"/>
                </a:lnTo>
                <a:lnTo>
                  <a:pt x="1709" y="2323"/>
                </a:lnTo>
                <a:lnTo>
                  <a:pt x="1708" y="2323"/>
                </a:lnTo>
                <a:lnTo>
                  <a:pt x="1707" y="2328"/>
                </a:lnTo>
                <a:lnTo>
                  <a:pt x="1705" y="2328"/>
                </a:lnTo>
                <a:lnTo>
                  <a:pt x="1708" y="2333"/>
                </a:lnTo>
                <a:lnTo>
                  <a:pt x="1707" y="2335"/>
                </a:lnTo>
                <a:lnTo>
                  <a:pt x="1709" y="2335"/>
                </a:lnTo>
                <a:lnTo>
                  <a:pt x="1707" y="2342"/>
                </a:lnTo>
                <a:lnTo>
                  <a:pt x="1697" y="2347"/>
                </a:lnTo>
                <a:lnTo>
                  <a:pt x="1686" y="2347"/>
                </a:lnTo>
                <a:lnTo>
                  <a:pt x="1674" y="2341"/>
                </a:lnTo>
                <a:lnTo>
                  <a:pt x="1671" y="2339"/>
                </a:lnTo>
                <a:lnTo>
                  <a:pt x="1668" y="2339"/>
                </a:lnTo>
                <a:lnTo>
                  <a:pt x="1667" y="2338"/>
                </a:lnTo>
                <a:lnTo>
                  <a:pt x="1667" y="2343"/>
                </a:lnTo>
                <a:lnTo>
                  <a:pt x="1668" y="2349"/>
                </a:lnTo>
                <a:lnTo>
                  <a:pt x="1667" y="2358"/>
                </a:lnTo>
                <a:lnTo>
                  <a:pt x="1668" y="2360"/>
                </a:lnTo>
                <a:lnTo>
                  <a:pt x="1676" y="2364"/>
                </a:lnTo>
                <a:lnTo>
                  <a:pt x="1675" y="2367"/>
                </a:lnTo>
                <a:lnTo>
                  <a:pt x="1676" y="2367"/>
                </a:lnTo>
                <a:lnTo>
                  <a:pt x="1677" y="2367"/>
                </a:lnTo>
                <a:lnTo>
                  <a:pt x="1685" y="2361"/>
                </a:lnTo>
                <a:lnTo>
                  <a:pt x="1687" y="2364"/>
                </a:lnTo>
                <a:lnTo>
                  <a:pt x="1687" y="2369"/>
                </a:lnTo>
                <a:lnTo>
                  <a:pt x="1686" y="2372"/>
                </a:lnTo>
                <a:lnTo>
                  <a:pt x="1681" y="2375"/>
                </a:lnTo>
                <a:lnTo>
                  <a:pt x="1679" y="2372"/>
                </a:lnTo>
                <a:lnTo>
                  <a:pt x="1679" y="2369"/>
                </a:lnTo>
                <a:lnTo>
                  <a:pt x="1677" y="2367"/>
                </a:lnTo>
                <a:lnTo>
                  <a:pt x="1667" y="2371"/>
                </a:lnTo>
                <a:lnTo>
                  <a:pt x="1667" y="2372"/>
                </a:lnTo>
                <a:lnTo>
                  <a:pt x="1679" y="2376"/>
                </a:lnTo>
                <a:lnTo>
                  <a:pt x="1670" y="2380"/>
                </a:lnTo>
                <a:lnTo>
                  <a:pt x="1663" y="2389"/>
                </a:lnTo>
                <a:lnTo>
                  <a:pt x="1663" y="2391"/>
                </a:lnTo>
                <a:lnTo>
                  <a:pt x="1664" y="2394"/>
                </a:lnTo>
                <a:lnTo>
                  <a:pt x="1663" y="2399"/>
                </a:lnTo>
                <a:lnTo>
                  <a:pt x="1664" y="2400"/>
                </a:lnTo>
                <a:lnTo>
                  <a:pt x="1663" y="2403"/>
                </a:lnTo>
                <a:lnTo>
                  <a:pt x="1658" y="2406"/>
                </a:lnTo>
                <a:lnTo>
                  <a:pt x="1658" y="2409"/>
                </a:lnTo>
                <a:lnTo>
                  <a:pt x="1658" y="2414"/>
                </a:lnTo>
                <a:lnTo>
                  <a:pt x="1649" y="2413"/>
                </a:lnTo>
                <a:lnTo>
                  <a:pt x="1639" y="2417"/>
                </a:lnTo>
                <a:lnTo>
                  <a:pt x="1630" y="2432"/>
                </a:lnTo>
                <a:lnTo>
                  <a:pt x="1629" y="2436"/>
                </a:lnTo>
                <a:lnTo>
                  <a:pt x="1630" y="2440"/>
                </a:lnTo>
                <a:lnTo>
                  <a:pt x="1641" y="2449"/>
                </a:lnTo>
                <a:lnTo>
                  <a:pt x="1652" y="2452"/>
                </a:lnTo>
                <a:lnTo>
                  <a:pt x="1654" y="2453"/>
                </a:lnTo>
                <a:lnTo>
                  <a:pt x="1654" y="2459"/>
                </a:lnTo>
                <a:lnTo>
                  <a:pt x="1654" y="2465"/>
                </a:lnTo>
                <a:lnTo>
                  <a:pt x="1653" y="2466"/>
                </a:lnTo>
                <a:lnTo>
                  <a:pt x="1656" y="2471"/>
                </a:lnTo>
                <a:lnTo>
                  <a:pt x="1650" y="2471"/>
                </a:lnTo>
                <a:lnTo>
                  <a:pt x="1650" y="2471"/>
                </a:lnTo>
                <a:lnTo>
                  <a:pt x="1635" y="2481"/>
                </a:lnTo>
                <a:lnTo>
                  <a:pt x="1630" y="2489"/>
                </a:lnTo>
                <a:lnTo>
                  <a:pt x="1629" y="2493"/>
                </a:lnTo>
                <a:lnTo>
                  <a:pt x="1626" y="2495"/>
                </a:lnTo>
                <a:lnTo>
                  <a:pt x="1629" y="2494"/>
                </a:lnTo>
                <a:lnTo>
                  <a:pt x="1628" y="2505"/>
                </a:lnTo>
                <a:lnTo>
                  <a:pt x="1626" y="2508"/>
                </a:lnTo>
                <a:lnTo>
                  <a:pt x="1618" y="2511"/>
                </a:lnTo>
                <a:lnTo>
                  <a:pt x="1615" y="2507"/>
                </a:lnTo>
                <a:lnTo>
                  <a:pt x="1610" y="2511"/>
                </a:lnTo>
                <a:lnTo>
                  <a:pt x="1615" y="2511"/>
                </a:lnTo>
                <a:lnTo>
                  <a:pt x="1617" y="2512"/>
                </a:lnTo>
                <a:lnTo>
                  <a:pt x="1610" y="2516"/>
                </a:lnTo>
                <a:lnTo>
                  <a:pt x="1608" y="2519"/>
                </a:lnTo>
                <a:lnTo>
                  <a:pt x="1607" y="2525"/>
                </a:lnTo>
                <a:lnTo>
                  <a:pt x="1603" y="2528"/>
                </a:lnTo>
                <a:lnTo>
                  <a:pt x="1607" y="2528"/>
                </a:lnTo>
                <a:lnTo>
                  <a:pt x="1610" y="2540"/>
                </a:lnTo>
                <a:lnTo>
                  <a:pt x="1600" y="2543"/>
                </a:lnTo>
                <a:lnTo>
                  <a:pt x="1610" y="2543"/>
                </a:lnTo>
                <a:lnTo>
                  <a:pt x="1614" y="2553"/>
                </a:lnTo>
                <a:lnTo>
                  <a:pt x="1614" y="2553"/>
                </a:lnTo>
                <a:lnTo>
                  <a:pt x="1616" y="2554"/>
                </a:lnTo>
                <a:lnTo>
                  <a:pt x="1614" y="2553"/>
                </a:lnTo>
                <a:lnTo>
                  <a:pt x="1614" y="2555"/>
                </a:lnTo>
                <a:lnTo>
                  <a:pt x="1603" y="2550"/>
                </a:lnTo>
                <a:lnTo>
                  <a:pt x="1602" y="2551"/>
                </a:lnTo>
                <a:lnTo>
                  <a:pt x="1602" y="2554"/>
                </a:lnTo>
                <a:lnTo>
                  <a:pt x="1600" y="2557"/>
                </a:lnTo>
                <a:lnTo>
                  <a:pt x="1597" y="2555"/>
                </a:lnTo>
                <a:lnTo>
                  <a:pt x="1582" y="2561"/>
                </a:lnTo>
                <a:lnTo>
                  <a:pt x="1582" y="2566"/>
                </a:lnTo>
                <a:lnTo>
                  <a:pt x="1582" y="2574"/>
                </a:lnTo>
                <a:lnTo>
                  <a:pt x="1582" y="2582"/>
                </a:lnTo>
                <a:lnTo>
                  <a:pt x="1578" y="2586"/>
                </a:lnTo>
                <a:lnTo>
                  <a:pt x="1565" y="2581"/>
                </a:lnTo>
                <a:lnTo>
                  <a:pt x="1560" y="2576"/>
                </a:lnTo>
                <a:lnTo>
                  <a:pt x="1564" y="2576"/>
                </a:lnTo>
                <a:lnTo>
                  <a:pt x="1565" y="2576"/>
                </a:lnTo>
                <a:lnTo>
                  <a:pt x="1566" y="2574"/>
                </a:lnTo>
                <a:lnTo>
                  <a:pt x="1566" y="2572"/>
                </a:lnTo>
                <a:lnTo>
                  <a:pt x="1570" y="2572"/>
                </a:lnTo>
                <a:lnTo>
                  <a:pt x="1570" y="2575"/>
                </a:lnTo>
                <a:lnTo>
                  <a:pt x="1567" y="2579"/>
                </a:lnTo>
                <a:lnTo>
                  <a:pt x="1570" y="2578"/>
                </a:lnTo>
                <a:lnTo>
                  <a:pt x="1571" y="2571"/>
                </a:lnTo>
                <a:lnTo>
                  <a:pt x="1576" y="2569"/>
                </a:lnTo>
                <a:lnTo>
                  <a:pt x="1578" y="2563"/>
                </a:lnTo>
                <a:lnTo>
                  <a:pt x="1578" y="2562"/>
                </a:lnTo>
                <a:lnTo>
                  <a:pt x="1572" y="2563"/>
                </a:lnTo>
                <a:lnTo>
                  <a:pt x="1567" y="2569"/>
                </a:lnTo>
                <a:lnTo>
                  <a:pt x="1564" y="2567"/>
                </a:lnTo>
                <a:lnTo>
                  <a:pt x="1559" y="2570"/>
                </a:lnTo>
                <a:lnTo>
                  <a:pt x="1565" y="2572"/>
                </a:lnTo>
                <a:lnTo>
                  <a:pt x="1560" y="2572"/>
                </a:lnTo>
                <a:lnTo>
                  <a:pt x="1562" y="2574"/>
                </a:lnTo>
                <a:lnTo>
                  <a:pt x="1560" y="2576"/>
                </a:lnTo>
                <a:lnTo>
                  <a:pt x="1557" y="2576"/>
                </a:lnTo>
                <a:lnTo>
                  <a:pt x="1560" y="2579"/>
                </a:lnTo>
                <a:lnTo>
                  <a:pt x="1554" y="2575"/>
                </a:lnTo>
                <a:lnTo>
                  <a:pt x="1553" y="2576"/>
                </a:lnTo>
                <a:lnTo>
                  <a:pt x="1546" y="2571"/>
                </a:lnTo>
                <a:lnTo>
                  <a:pt x="1546" y="2569"/>
                </a:lnTo>
                <a:lnTo>
                  <a:pt x="1551" y="2571"/>
                </a:lnTo>
                <a:lnTo>
                  <a:pt x="1557" y="2574"/>
                </a:lnTo>
                <a:lnTo>
                  <a:pt x="1556" y="2572"/>
                </a:lnTo>
                <a:lnTo>
                  <a:pt x="1557" y="2572"/>
                </a:lnTo>
                <a:lnTo>
                  <a:pt x="1553" y="2572"/>
                </a:lnTo>
                <a:lnTo>
                  <a:pt x="1556" y="2569"/>
                </a:lnTo>
                <a:lnTo>
                  <a:pt x="1553" y="2563"/>
                </a:lnTo>
                <a:lnTo>
                  <a:pt x="1557" y="2561"/>
                </a:lnTo>
                <a:lnTo>
                  <a:pt x="1560" y="2562"/>
                </a:lnTo>
                <a:lnTo>
                  <a:pt x="1564" y="2560"/>
                </a:lnTo>
                <a:lnTo>
                  <a:pt x="1562" y="2560"/>
                </a:lnTo>
                <a:lnTo>
                  <a:pt x="1557" y="2560"/>
                </a:lnTo>
                <a:lnTo>
                  <a:pt x="1552" y="2564"/>
                </a:lnTo>
                <a:lnTo>
                  <a:pt x="1553" y="2567"/>
                </a:lnTo>
                <a:lnTo>
                  <a:pt x="1550" y="2569"/>
                </a:lnTo>
                <a:lnTo>
                  <a:pt x="1546" y="2567"/>
                </a:lnTo>
                <a:lnTo>
                  <a:pt x="1547" y="2566"/>
                </a:lnTo>
                <a:lnTo>
                  <a:pt x="1543" y="2564"/>
                </a:lnTo>
                <a:lnTo>
                  <a:pt x="1545" y="2564"/>
                </a:lnTo>
                <a:lnTo>
                  <a:pt x="1546" y="2564"/>
                </a:lnTo>
                <a:lnTo>
                  <a:pt x="1549" y="2564"/>
                </a:lnTo>
                <a:lnTo>
                  <a:pt x="1550" y="2560"/>
                </a:lnTo>
                <a:lnTo>
                  <a:pt x="1553" y="2560"/>
                </a:lnTo>
                <a:lnTo>
                  <a:pt x="1550" y="2556"/>
                </a:lnTo>
                <a:lnTo>
                  <a:pt x="1549" y="2561"/>
                </a:lnTo>
                <a:lnTo>
                  <a:pt x="1548" y="2560"/>
                </a:lnTo>
                <a:lnTo>
                  <a:pt x="1542" y="2561"/>
                </a:lnTo>
                <a:lnTo>
                  <a:pt x="1542" y="2560"/>
                </a:lnTo>
                <a:lnTo>
                  <a:pt x="1539" y="2561"/>
                </a:lnTo>
                <a:lnTo>
                  <a:pt x="1538" y="2557"/>
                </a:lnTo>
                <a:lnTo>
                  <a:pt x="1541" y="2555"/>
                </a:lnTo>
                <a:lnTo>
                  <a:pt x="1539" y="2552"/>
                </a:lnTo>
                <a:lnTo>
                  <a:pt x="1537" y="2554"/>
                </a:lnTo>
                <a:lnTo>
                  <a:pt x="1535" y="2551"/>
                </a:lnTo>
                <a:lnTo>
                  <a:pt x="1537" y="2551"/>
                </a:lnTo>
                <a:lnTo>
                  <a:pt x="1531" y="2550"/>
                </a:lnTo>
                <a:lnTo>
                  <a:pt x="1535" y="2546"/>
                </a:lnTo>
                <a:lnTo>
                  <a:pt x="1537" y="2549"/>
                </a:lnTo>
                <a:lnTo>
                  <a:pt x="1541" y="2552"/>
                </a:lnTo>
                <a:lnTo>
                  <a:pt x="1542" y="2554"/>
                </a:lnTo>
                <a:lnTo>
                  <a:pt x="1542" y="2554"/>
                </a:lnTo>
                <a:lnTo>
                  <a:pt x="1542" y="2555"/>
                </a:lnTo>
                <a:lnTo>
                  <a:pt x="1542" y="2555"/>
                </a:lnTo>
                <a:lnTo>
                  <a:pt x="1542" y="2558"/>
                </a:lnTo>
                <a:lnTo>
                  <a:pt x="1544" y="2557"/>
                </a:lnTo>
                <a:lnTo>
                  <a:pt x="1543" y="2555"/>
                </a:lnTo>
                <a:lnTo>
                  <a:pt x="1545" y="2551"/>
                </a:lnTo>
                <a:lnTo>
                  <a:pt x="1543" y="2547"/>
                </a:lnTo>
                <a:lnTo>
                  <a:pt x="1545" y="2551"/>
                </a:lnTo>
                <a:lnTo>
                  <a:pt x="1548" y="2551"/>
                </a:lnTo>
                <a:lnTo>
                  <a:pt x="1549" y="2549"/>
                </a:lnTo>
                <a:lnTo>
                  <a:pt x="1545" y="2546"/>
                </a:lnTo>
                <a:lnTo>
                  <a:pt x="1543" y="2543"/>
                </a:lnTo>
                <a:lnTo>
                  <a:pt x="1543" y="2543"/>
                </a:lnTo>
                <a:lnTo>
                  <a:pt x="1541" y="2539"/>
                </a:lnTo>
                <a:lnTo>
                  <a:pt x="1540" y="2539"/>
                </a:lnTo>
                <a:lnTo>
                  <a:pt x="1539" y="2539"/>
                </a:lnTo>
                <a:lnTo>
                  <a:pt x="1539" y="2539"/>
                </a:lnTo>
                <a:lnTo>
                  <a:pt x="1538" y="2539"/>
                </a:lnTo>
                <a:lnTo>
                  <a:pt x="1538" y="2539"/>
                </a:lnTo>
                <a:lnTo>
                  <a:pt x="1538" y="2534"/>
                </a:lnTo>
                <a:lnTo>
                  <a:pt x="1545" y="2539"/>
                </a:lnTo>
                <a:lnTo>
                  <a:pt x="1542" y="2532"/>
                </a:lnTo>
                <a:lnTo>
                  <a:pt x="1542" y="2531"/>
                </a:lnTo>
                <a:lnTo>
                  <a:pt x="1542" y="2528"/>
                </a:lnTo>
                <a:lnTo>
                  <a:pt x="1538" y="2531"/>
                </a:lnTo>
                <a:lnTo>
                  <a:pt x="1538" y="2532"/>
                </a:lnTo>
                <a:lnTo>
                  <a:pt x="1537" y="2534"/>
                </a:lnTo>
                <a:lnTo>
                  <a:pt x="1537" y="2532"/>
                </a:lnTo>
                <a:lnTo>
                  <a:pt x="1537" y="2531"/>
                </a:lnTo>
                <a:lnTo>
                  <a:pt x="1537" y="2531"/>
                </a:lnTo>
                <a:lnTo>
                  <a:pt x="1535" y="2528"/>
                </a:lnTo>
                <a:lnTo>
                  <a:pt x="1535" y="2528"/>
                </a:lnTo>
                <a:lnTo>
                  <a:pt x="1535" y="2528"/>
                </a:lnTo>
                <a:lnTo>
                  <a:pt x="1535" y="2528"/>
                </a:lnTo>
                <a:lnTo>
                  <a:pt x="1537" y="2527"/>
                </a:lnTo>
                <a:lnTo>
                  <a:pt x="1541" y="2527"/>
                </a:lnTo>
                <a:lnTo>
                  <a:pt x="1541" y="2521"/>
                </a:lnTo>
                <a:lnTo>
                  <a:pt x="1542" y="2520"/>
                </a:lnTo>
                <a:lnTo>
                  <a:pt x="1542" y="2520"/>
                </a:lnTo>
                <a:lnTo>
                  <a:pt x="1540" y="2517"/>
                </a:lnTo>
                <a:lnTo>
                  <a:pt x="1543" y="2515"/>
                </a:lnTo>
                <a:lnTo>
                  <a:pt x="1538" y="2516"/>
                </a:lnTo>
                <a:lnTo>
                  <a:pt x="1535" y="2515"/>
                </a:lnTo>
                <a:lnTo>
                  <a:pt x="1527" y="2511"/>
                </a:lnTo>
                <a:lnTo>
                  <a:pt x="1530" y="2509"/>
                </a:lnTo>
                <a:lnTo>
                  <a:pt x="1533" y="2508"/>
                </a:lnTo>
                <a:lnTo>
                  <a:pt x="1535" y="2511"/>
                </a:lnTo>
                <a:lnTo>
                  <a:pt x="1537" y="2512"/>
                </a:lnTo>
                <a:lnTo>
                  <a:pt x="1533" y="2507"/>
                </a:lnTo>
                <a:lnTo>
                  <a:pt x="1535" y="2507"/>
                </a:lnTo>
                <a:lnTo>
                  <a:pt x="1539" y="2509"/>
                </a:lnTo>
                <a:lnTo>
                  <a:pt x="1535" y="2505"/>
                </a:lnTo>
                <a:lnTo>
                  <a:pt x="1533" y="2505"/>
                </a:lnTo>
                <a:lnTo>
                  <a:pt x="1538" y="2503"/>
                </a:lnTo>
                <a:lnTo>
                  <a:pt x="1535" y="2503"/>
                </a:lnTo>
                <a:lnTo>
                  <a:pt x="1533" y="2501"/>
                </a:lnTo>
                <a:lnTo>
                  <a:pt x="1533" y="2501"/>
                </a:lnTo>
                <a:lnTo>
                  <a:pt x="1533" y="2501"/>
                </a:lnTo>
                <a:lnTo>
                  <a:pt x="1538" y="2498"/>
                </a:lnTo>
                <a:lnTo>
                  <a:pt x="1536" y="2497"/>
                </a:lnTo>
                <a:lnTo>
                  <a:pt x="1535" y="2499"/>
                </a:lnTo>
                <a:lnTo>
                  <a:pt x="1534" y="2498"/>
                </a:lnTo>
                <a:lnTo>
                  <a:pt x="1535" y="2498"/>
                </a:lnTo>
                <a:lnTo>
                  <a:pt x="1533" y="2497"/>
                </a:lnTo>
                <a:lnTo>
                  <a:pt x="1532" y="2497"/>
                </a:lnTo>
                <a:lnTo>
                  <a:pt x="1530" y="2484"/>
                </a:lnTo>
                <a:lnTo>
                  <a:pt x="1530" y="2483"/>
                </a:lnTo>
                <a:lnTo>
                  <a:pt x="1530" y="2483"/>
                </a:lnTo>
                <a:lnTo>
                  <a:pt x="1530" y="2483"/>
                </a:lnTo>
                <a:lnTo>
                  <a:pt x="1530" y="2483"/>
                </a:lnTo>
                <a:lnTo>
                  <a:pt x="1530" y="2482"/>
                </a:lnTo>
                <a:lnTo>
                  <a:pt x="1530" y="2481"/>
                </a:lnTo>
                <a:lnTo>
                  <a:pt x="1530" y="2482"/>
                </a:lnTo>
                <a:lnTo>
                  <a:pt x="1530" y="2483"/>
                </a:lnTo>
                <a:lnTo>
                  <a:pt x="1529" y="2483"/>
                </a:lnTo>
                <a:lnTo>
                  <a:pt x="1525" y="2482"/>
                </a:lnTo>
                <a:lnTo>
                  <a:pt x="1523" y="2482"/>
                </a:lnTo>
                <a:lnTo>
                  <a:pt x="1523" y="2485"/>
                </a:lnTo>
                <a:lnTo>
                  <a:pt x="1520" y="2482"/>
                </a:lnTo>
                <a:lnTo>
                  <a:pt x="1522" y="2481"/>
                </a:lnTo>
                <a:lnTo>
                  <a:pt x="1522" y="2481"/>
                </a:lnTo>
                <a:lnTo>
                  <a:pt x="1523" y="2481"/>
                </a:lnTo>
                <a:lnTo>
                  <a:pt x="1523" y="2481"/>
                </a:lnTo>
                <a:lnTo>
                  <a:pt x="1522" y="2480"/>
                </a:lnTo>
                <a:lnTo>
                  <a:pt x="1519" y="2481"/>
                </a:lnTo>
                <a:lnTo>
                  <a:pt x="1519" y="2481"/>
                </a:lnTo>
                <a:lnTo>
                  <a:pt x="1516" y="2482"/>
                </a:lnTo>
                <a:lnTo>
                  <a:pt x="1517" y="2483"/>
                </a:lnTo>
                <a:lnTo>
                  <a:pt x="1514" y="2483"/>
                </a:lnTo>
                <a:lnTo>
                  <a:pt x="1514" y="2482"/>
                </a:lnTo>
                <a:lnTo>
                  <a:pt x="1514" y="2481"/>
                </a:lnTo>
                <a:lnTo>
                  <a:pt x="1514" y="2482"/>
                </a:lnTo>
                <a:lnTo>
                  <a:pt x="1515" y="2478"/>
                </a:lnTo>
                <a:lnTo>
                  <a:pt x="1518" y="2474"/>
                </a:lnTo>
                <a:lnTo>
                  <a:pt x="1514" y="2475"/>
                </a:lnTo>
                <a:lnTo>
                  <a:pt x="1514" y="2470"/>
                </a:lnTo>
                <a:lnTo>
                  <a:pt x="1517" y="2471"/>
                </a:lnTo>
                <a:lnTo>
                  <a:pt x="1519" y="2471"/>
                </a:lnTo>
                <a:lnTo>
                  <a:pt x="1522" y="2478"/>
                </a:lnTo>
                <a:lnTo>
                  <a:pt x="1526" y="2479"/>
                </a:lnTo>
                <a:lnTo>
                  <a:pt x="1527" y="2479"/>
                </a:lnTo>
                <a:lnTo>
                  <a:pt x="1526" y="2476"/>
                </a:lnTo>
                <a:lnTo>
                  <a:pt x="1527" y="2470"/>
                </a:lnTo>
                <a:lnTo>
                  <a:pt x="1530" y="2477"/>
                </a:lnTo>
                <a:lnTo>
                  <a:pt x="1530" y="2480"/>
                </a:lnTo>
                <a:lnTo>
                  <a:pt x="1533" y="2477"/>
                </a:lnTo>
                <a:lnTo>
                  <a:pt x="1534" y="2477"/>
                </a:lnTo>
                <a:lnTo>
                  <a:pt x="1538" y="2478"/>
                </a:lnTo>
                <a:lnTo>
                  <a:pt x="1535" y="2475"/>
                </a:lnTo>
                <a:lnTo>
                  <a:pt x="1537" y="2475"/>
                </a:lnTo>
                <a:lnTo>
                  <a:pt x="1535" y="2474"/>
                </a:lnTo>
                <a:lnTo>
                  <a:pt x="1535" y="2474"/>
                </a:lnTo>
                <a:lnTo>
                  <a:pt x="1535" y="2474"/>
                </a:lnTo>
                <a:lnTo>
                  <a:pt x="1535" y="2474"/>
                </a:lnTo>
                <a:lnTo>
                  <a:pt x="1535" y="2475"/>
                </a:lnTo>
                <a:lnTo>
                  <a:pt x="1534" y="2473"/>
                </a:lnTo>
                <a:lnTo>
                  <a:pt x="1535" y="2473"/>
                </a:lnTo>
                <a:lnTo>
                  <a:pt x="1534" y="2472"/>
                </a:lnTo>
                <a:lnTo>
                  <a:pt x="1533" y="2471"/>
                </a:lnTo>
                <a:lnTo>
                  <a:pt x="1541" y="2471"/>
                </a:lnTo>
                <a:lnTo>
                  <a:pt x="1545" y="2475"/>
                </a:lnTo>
                <a:lnTo>
                  <a:pt x="1546" y="2471"/>
                </a:lnTo>
                <a:lnTo>
                  <a:pt x="1548" y="2471"/>
                </a:lnTo>
                <a:lnTo>
                  <a:pt x="1545" y="2470"/>
                </a:lnTo>
                <a:lnTo>
                  <a:pt x="1543" y="2466"/>
                </a:lnTo>
                <a:lnTo>
                  <a:pt x="1549" y="2469"/>
                </a:lnTo>
                <a:lnTo>
                  <a:pt x="1545" y="2466"/>
                </a:lnTo>
                <a:lnTo>
                  <a:pt x="1542" y="2463"/>
                </a:lnTo>
                <a:lnTo>
                  <a:pt x="1542" y="2462"/>
                </a:lnTo>
                <a:lnTo>
                  <a:pt x="1542" y="2459"/>
                </a:lnTo>
                <a:lnTo>
                  <a:pt x="1540" y="2464"/>
                </a:lnTo>
                <a:lnTo>
                  <a:pt x="1539" y="2466"/>
                </a:lnTo>
                <a:lnTo>
                  <a:pt x="1536" y="2466"/>
                </a:lnTo>
                <a:lnTo>
                  <a:pt x="1535" y="2466"/>
                </a:lnTo>
                <a:lnTo>
                  <a:pt x="1535" y="2466"/>
                </a:lnTo>
                <a:lnTo>
                  <a:pt x="1527" y="2465"/>
                </a:lnTo>
                <a:lnTo>
                  <a:pt x="1530" y="2463"/>
                </a:lnTo>
                <a:lnTo>
                  <a:pt x="1533" y="2463"/>
                </a:lnTo>
                <a:lnTo>
                  <a:pt x="1534" y="2463"/>
                </a:lnTo>
                <a:lnTo>
                  <a:pt x="1534" y="2463"/>
                </a:lnTo>
                <a:lnTo>
                  <a:pt x="1533" y="2463"/>
                </a:lnTo>
                <a:lnTo>
                  <a:pt x="1530" y="2460"/>
                </a:lnTo>
                <a:lnTo>
                  <a:pt x="1533" y="2455"/>
                </a:lnTo>
                <a:lnTo>
                  <a:pt x="1537" y="2455"/>
                </a:lnTo>
                <a:lnTo>
                  <a:pt x="1539" y="2452"/>
                </a:lnTo>
                <a:lnTo>
                  <a:pt x="1538" y="2451"/>
                </a:lnTo>
                <a:lnTo>
                  <a:pt x="1539" y="2451"/>
                </a:lnTo>
                <a:lnTo>
                  <a:pt x="1538" y="2451"/>
                </a:lnTo>
                <a:lnTo>
                  <a:pt x="1538" y="2451"/>
                </a:lnTo>
                <a:lnTo>
                  <a:pt x="1538" y="2451"/>
                </a:lnTo>
                <a:lnTo>
                  <a:pt x="1537" y="2449"/>
                </a:lnTo>
                <a:lnTo>
                  <a:pt x="1535" y="2447"/>
                </a:lnTo>
                <a:lnTo>
                  <a:pt x="1530" y="2447"/>
                </a:lnTo>
                <a:lnTo>
                  <a:pt x="1531" y="2448"/>
                </a:lnTo>
                <a:lnTo>
                  <a:pt x="1524" y="2446"/>
                </a:lnTo>
                <a:lnTo>
                  <a:pt x="1523" y="2443"/>
                </a:lnTo>
                <a:lnTo>
                  <a:pt x="1518" y="2445"/>
                </a:lnTo>
                <a:lnTo>
                  <a:pt x="1519" y="2449"/>
                </a:lnTo>
                <a:lnTo>
                  <a:pt x="1517" y="2451"/>
                </a:lnTo>
                <a:lnTo>
                  <a:pt x="1516" y="2451"/>
                </a:lnTo>
                <a:lnTo>
                  <a:pt x="1515" y="2447"/>
                </a:lnTo>
                <a:lnTo>
                  <a:pt x="1514" y="2446"/>
                </a:lnTo>
                <a:lnTo>
                  <a:pt x="1515" y="2445"/>
                </a:lnTo>
                <a:lnTo>
                  <a:pt x="1514" y="2443"/>
                </a:lnTo>
                <a:lnTo>
                  <a:pt x="1514" y="2441"/>
                </a:lnTo>
                <a:lnTo>
                  <a:pt x="1518" y="2437"/>
                </a:lnTo>
                <a:lnTo>
                  <a:pt x="1518" y="2440"/>
                </a:lnTo>
                <a:lnTo>
                  <a:pt x="1522" y="2436"/>
                </a:lnTo>
                <a:lnTo>
                  <a:pt x="1526" y="2433"/>
                </a:lnTo>
                <a:lnTo>
                  <a:pt x="1527" y="2431"/>
                </a:lnTo>
                <a:lnTo>
                  <a:pt x="1533" y="2431"/>
                </a:lnTo>
                <a:lnTo>
                  <a:pt x="1537" y="2431"/>
                </a:lnTo>
                <a:lnTo>
                  <a:pt x="1538" y="2432"/>
                </a:lnTo>
                <a:lnTo>
                  <a:pt x="1539" y="2432"/>
                </a:lnTo>
                <a:lnTo>
                  <a:pt x="1533" y="2436"/>
                </a:lnTo>
                <a:lnTo>
                  <a:pt x="1538" y="2435"/>
                </a:lnTo>
                <a:lnTo>
                  <a:pt x="1539" y="2435"/>
                </a:lnTo>
                <a:lnTo>
                  <a:pt x="1541" y="2436"/>
                </a:lnTo>
                <a:lnTo>
                  <a:pt x="1538" y="2441"/>
                </a:lnTo>
                <a:lnTo>
                  <a:pt x="1541" y="2442"/>
                </a:lnTo>
                <a:lnTo>
                  <a:pt x="1545" y="2432"/>
                </a:lnTo>
                <a:lnTo>
                  <a:pt x="1542" y="2437"/>
                </a:lnTo>
                <a:lnTo>
                  <a:pt x="1542" y="2433"/>
                </a:lnTo>
                <a:lnTo>
                  <a:pt x="1543" y="2432"/>
                </a:lnTo>
                <a:lnTo>
                  <a:pt x="1542" y="2432"/>
                </a:lnTo>
                <a:lnTo>
                  <a:pt x="1542" y="2431"/>
                </a:lnTo>
                <a:lnTo>
                  <a:pt x="1543" y="2431"/>
                </a:lnTo>
                <a:lnTo>
                  <a:pt x="1542" y="2431"/>
                </a:lnTo>
                <a:lnTo>
                  <a:pt x="1548" y="2427"/>
                </a:lnTo>
                <a:lnTo>
                  <a:pt x="1544" y="2427"/>
                </a:lnTo>
                <a:lnTo>
                  <a:pt x="1545" y="2421"/>
                </a:lnTo>
                <a:lnTo>
                  <a:pt x="1549" y="2418"/>
                </a:lnTo>
                <a:lnTo>
                  <a:pt x="1552" y="2421"/>
                </a:lnTo>
                <a:lnTo>
                  <a:pt x="1555" y="2420"/>
                </a:lnTo>
                <a:lnTo>
                  <a:pt x="1547" y="2416"/>
                </a:lnTo>
                <a:lnTo>
                  <a:pt x="1542" y="2417"/>
                </a:lnTo>
                <a:lnTo>
                  <a:pt x="1542" y="2418"/>
                </a:lnTo>
                <a:lnTo>
                  <a:pt x="1540" y="2417"/>
                </a:lnTo>
                <a:lnTo>
                  <a:pt x="1541" y="2418"/>
                </a:lnTo>
                <a:lnTo>
                  <a:pt x="1538" y="2420"/>
                </a:lnTo>
                <a:lnTo>
                  <a:pt x="1537" y="2416"/>
                </a:lnTo>
                <a:lnTo>
                  <a:pt x="1534" y="2416"/>
                </a:lnTo>
                <a:lnTo>
                  <a:pt x="1534" y="2414"/>
                </a:lnTo>
                <a:lnTo>
                  <a:pt x="1540" y="2413"/>
                </a:lnTo>
                <a:lnTo>
                  <a:pt x="1542" y="2414"/>
                </a:lnTo>
                <a:lnTo>
                  <a:pt x="1542" y="2415"/>
                </a:lnTo>
                <a:lnTo>
                  <a:pt x="1542" y="2416"/>
                </a:lnTo>
                <a:lnTo>
                  <a:pt x="1542" y="2416"/>
                </a:lnTo>
                <a:lnTo>
                  <a:pt x="1542" y="2416"/>
                </a:lnTo>
                <a:lnTo>
                  <a:pt x="1542" y="2415"/>
                </a:lnTo>
                <a:lnTo>
                  <a:pt x="1547" y="2414"/>
                </a:lnTo>
                <a:lnTo>
                  <a:pt x="1548" y="2412"/>
                </a:lnTo>
                <a:lnTo>
                  <a:pt x="1549" y="2412"/>
                </a:lnTo>
                <a:lnTo>
                  <a:pt x="1549" y="2411"/>
                </a:lnTo>
                <a:lnTo>
                  <a:pt x="1548" y="2411"/>
                </a:lnTo>
                <a:lnTo>
                  <a:pt x="1545" y="2408"/>
                </a:lnTo>
                <a:lnTo>
                  <a:pt x="1545" y="2407"/>
                </a:lnTo>
                <a:lnTo>
                  <a:pt x="1544" y="2407"/>
                </a:lnTo>
                <a:lnTo>
                  <a:pt x="1544" y="2407"/>
                </a:lnTo>
                <a:lnTo>
                  <a:pt x="1546" y="2405"/>
                </a:lnTo>
                <a:lnTo>
                  <a:pt x="1546" y="2401"/>
                </a:lnTo>
                <a:lnTo>
                  <a:pt x="1546" y="2401"/>
                </a:lnTo>
                <a:lnTo>
                  <a:pt x="1550" y="2403"/>
                </a:lnTo>
                <a:lnTo>
                  <a:pt x="1552" y="2403"/>
                </a:lnTo>
                <a:lnTo>
                  <a:pt x="1556" y="2403"/>
                </a:lnTo>
                <a:lnTo>
                  <a:pt x="1554" y="2406"/>
                </a:lnTo>
                <a:lnTo>
                  <a:pt x="1554" y="2408"/>
                </a:lnTo>
                <a:lnTo>
                  <a:pt x="1558" y="2402"/>
                </a:lnTo>
                <a:lnTo>
                  <a:pt x="1558" y="2401"/>
                </a:lnTo>
                <a:lnTo>
                  <a:pt x="1556" y="2402"/>
                </a:lnTo>
                <a:lnTo>
                  <a:pt x="1548" y="2397"/>
                </a:lnTo>
                <a:lnTo>
                  <a:pt x="1549" y="2395"/>
                </a:lnTo>
                <a:lnTo>
                  <a:pt x="1550" y="2395"/>
                </a:lnTo>
                <a:lnTo>
                  <a:pt x="1550" y="2395"/>
                </a:lnTo>
                <a:lnTo>
                  <a:pt x="1552" y="2391"/>
                </a:lnTo>
                <a:lnTo>
                  <a:pt x="1550" y="2385"/>
                </a:lnTo>
                <a:lnTo>
                  <a:pt x="1552" y="2382"/>
                </a:lnTo>
                <a:lnTo>
                  <a:pt x="1553" y="2380"/>
                </a:lnTo>
                <a:lnTo>
                  <a:pt x="1556" y="2379"/>
                </a:lnTo>
                <a:lnTo>
                  <a:pt x="1557" y="2379"/>
                </a:lnTo>
                <a:lnTo>
                  <a:pt x="1554" y="2368"/>
                </a:lnTo>
                <a:lnTo>
                  <a:pt x="1554" y="2367"/>
                </a:lnTo>
                <a:lnTo>
                  <a:pt x="1559" y="2368"/>
                </a:lnTo>
                <a:lnTo>
                  <a:pt x="1556" y="2363"/>
                </a:lnTo>
                <a:lnTo>
                  <a:pt x="1558" y="2361"/>
                </a:lnTo>
                <a:lnTo>
                  <a:pt x="1561" y="2367"/>
                </a:lnTo>
                <a:lnTo>
                  <a:pt x="1558" y="2359"/>
                </a:lnTo>
                <a:lnTo>
                  <a:pt x="1557" y="2359"/>
                </a:lnTo>
                <a:lnTo>
                  <a:pt x="1556" y="2358"/>
                </a:lnTo>
                <a:lnTo>
                  <a:pt x="1557" y="2356"/>
                </a:lnTo>
                <a:lnTo>
                  <a:pt x="1562" y="2355"/>
                </a:lnTo>
                <a:lnTo>
                  <a:pt x="1559" y="2355"/>
                </a:lnTo>
                <a:lnTo>
                  <a:pt x="1553" y="2351"/>
                </a:lnTo>
                <a:lnTo>
                  <a:pt x="1550" y="2351"/>
                </a:lnTo>
                <a:lnTo>
                  <a:pt x="1550" y="2352"/>
                </a:lnTo>
                <a:lnTo>
                  <a:pt x="1549" y="2355"/>
                </a:lnTo>
                <a:lnTo>
                  <a:pt x="1543" y="2355"/>
                </a:lnTo>
                <a:lnTo>
                  <a:pt x="1545" y="2349"/>
                </a:lnTo>
                <a:lnTo>
                  <a:pt x="1543" y="2351"/>
                </a:lnTo>
                <a:lnTo>
                  <a:pt x="1539" y="2349"/>
                </a:lnTo>
                <a:lnTo>
                  <a:pt x="1538" y="2340"/>
                </a:lnTo>
                <a:lnTo>
                  <a:pt x="1542" y="2332"/>
                </a:lnTo>
                <a:lnTo>
                  <a:pt x="1542" y="2326"/>
                </a:lnTo>
                <a:lnTo>
                  <a:pt x="1542" y="2324"/>
                </a:lnTo>
                <a:lnTo>
                  <a:pt x="1542" y="2322"/>
                </a:lnTo>
                <a:lnTo>
                  <a:pt x="1548" y="2322"/>
                </a:lnTo>
                <a:lnTo>
                  <a:pt x="1549" y="2312"/>
                </a:lnTo>
                <a:lnTo>
                  <a:pt x="1545" y="2294"/>
                </a:lnTo>
                <a:lnTo>
                  <a:pt x="1546" y="2287"/>
                </a:lnTo>
                <a:lnTo>
                  <a:pt x="1543" y="2283"/>
                </a:lnTo>
                <a:lnTo>
                  <a:pt x="1545" y="2278"/>
                </a:lnTo>
                <a:lnTo>
                  <a:pt x="1543" y="2277"/>
                </a:lnTo>
                <a:lnTo>
                  <a:pt x="1545" y="2274"/>
                </a:lnTo>
                <a:lnTo>
                  <a:pt x="1548" y="2274"/>
                </a:lnTo>
                <a:lnTo>
                  <a:pt x="1550" y="2271"/>
                </a:lnTo>
                <a:lnTo>
                  <a:pt x="1550" y="2266"/>
                </a:lnTo>
                <a:lnTo>
                  <a:pt x="1552" y="2266"/>
                </a:lnTo>
                <a:lnTo>
                  <a:pt x="1556" y="2253"/>
                </a:lnTo>
                <a:lnTo>
                  <a:pt x="1558" y="2249"/>
                </a:lnTo>
                <a:lnTo>
                  <a:pt x="1558" y="2244"/>
                </a:lnTo>
                <a:lnTo>
                  <a:pt x="1563" y="2237"/>
                </a:lnTo>
                <a:lnTo>
                  <a:pt x="1568" y="2225"/>
                </a:lnTo>
                <a:lnTo>
                  <a:pt x="1567" y="2221"/>
                </a:lnTo>
                <a:lnTo>
                  <a:pt x="1570" y="2215"/>
                </a:lnTo>
                <a:lnTo>
                  <a:pt x="1572" y="2214"/>
                </a:lnTo>
                <a:lnTo>
                  <a:pt x="1571" y="2203"/>
                </a:lnTo>
                <a:lnTo>
                  <a:pt x="1571" y="2203"/>
                </a:lnTo>
                <a:lnTo>
                  <a:pt x="1574" y="2196"/>
                </a:lnTo>
                <a:lnTo>
                  <a:pt x="1574" y="2192"/>
                </a:lnTo>
                <a:lnTo>
                  <a:pt x="1574" y="2190"/>
                </a:lnTo>
                <a:lnTo>
                  <a:pt x="1574" y="2181"/>
                </a:lnTo>
                <a:lnTo>
                  <a:pt x="1570" y="2164"/>
                </a:lnTo>
                <a:lnTo>
                  <a:pt x="1570" y="2158"/>
                </a:lnTo>
                <a:lnTo>
                  <a:pt x="1573" y="2157"/>
                </a:lnTo>
                <a:lnTo>
                  <a:pt x="1574" y="2152"/>
                </a:lnTo>
                <a:lnTo>
                  <a:pt x="1574" y="2144"/>
                </a:lnTo>
                <a:lnTo>
                  <a:pt x="1574" y="2141"/>
                </a:lnTo>
                <a:lnTo>
                  <a:pt x="1574" y="2135"/>
                </a:lnTo>
                <a:lnTo>
                  <a:pt x="1578" y="2125"/>
                </a:lnTo>
                <a:lnTo>
                  <a:pt x="1581" y="2118"/>
                </a:lnTo>
                <a:lnTo>
                  <a:pt x="1582" y="2114"/>
                </a:lnTo>
                <a:lnTo>
                  <a:pt x="1582" y="2107"/>
                </a:lnTo>
                <a:lnTo>
                  <a:pt x="1582" y="2104"/>
                </a:lnTo>
                <a:lnTo>
                  <a:pt x="1582" y="2103"/>
                </a:lnTo>
                <a:lnTo>
                  <a:pt x="1586" y="2093"/>
                </a:lnTo>
                <a:lnTo>
                  <a:pt x="1586" y="2088"/>
                </a:lnTo>
                <a:lnTo>
                  <a:pt x="1586" y="2085"/>
                </a:lnTo>
                <a:lnTo>
                  <a:pt x="1590" y="2078"/>
                </a:lnTo>
                <a:lnTo>
                  <a:pt x="1587" y="2067"/>
                </a:lnTo>
                <a:lnTo>
                  <a:pt x="1589" y="2054"/>
                </a:lnTo>
                <a:lnTo>
                  <a:pt x="1590" y="2050"/>
                </a:lnTo>
                <a:lnTo>
                  <a:pt x="1589" y="2049"/>
                </a:lnTo>
                <a:lnTo>
                  <a:pt x="1586" y="2049"/>
                </a:lnTo>
                <a:lnTo>
                  <a:pt x="1586" y="2045"/>
                </a:lnTo>
                <a:lnTo>
                  <a:pt x="1590" y="2045"/>
                </a:lnTo>
                <a:lnTo>
                  <a:pt x="1593" y="2039"/>
                </a:lnTo>
                <a:lnTo>
                  <a:pt x="1594" y="2020"/>
                </a:lnTo>
                <a:lnTo>
                  <a:pt x="1595" y="2015"/>
                </a:lnTo>
                <a:lnTo>
                  <a:pt x="1593" y="2006"/>
                </a:lnTo>
                <a:lnTo>
                  <a:pt x="1593" y="1993"/>
                </a:lnTo>
                <a:lnTo>
                  <a:pt x="1590" y="1976"/>
                </a:lnTo>
                <a:lnTo>
                  <a:pt x="1590" y="1970"/>
                </a:lnTo>
                <a:lnTo>
                  <a:pt x="1588" y="1971"/>
                </a:lnTo>
                <a:lnTo>
                  <a:pt x="1578" y="1961"/>
                </a:lnTo>
                <a:lnTo>
                  <a:pt x="1575" y="1954"/>
                </a:lnTo>
                <a:lnTo>
                  <a:pt x="1570" y="1952"/>
                </a:lnTo>
                <a:lnTo>
                  <a:pt x="1560" y="1946"/>
                </a:lnTo>
                <a:lnTo>
                  <a:pt x="1541" y="1938"/>
                </a:lnTo>
                <a:lnTo>
                  <a:pt x="1539" y="1934"/>
                </a:lnTo>
                <a:lnTo>
                  <a:pt x="1523" y="1927"/>
                </a:lnTo>
                <a:lnTo>
                  <a:pt x="1516" y="1918"/>
                </a:lnTo>
                <a:lnTo>
                  <a:pt x="1512" y="1915"/>
                </a:lnTo>
                <a:lnTo>
                  <a:pt x="1506" y="1908"/>
                </a:lnTo>
                <a:lnTo>
                  <a:pt x="1505" y="1905"/>
                </a:lnTo>
                <a:lnTo>
                  <a:pt x="1506" y="1905"/>
                </a:lnTo>
                <a:lnTo>
                  <a:pt x="1506" y="1895"/>
                </a:lnTo>
                <a:lnTo>
                  <a:pt x="1504" y="1890"/>
                </a:lnTo>
                <a:lnTo>
                  <a:pt x="1499" y="1880"/>
                </a:lnTo>
                <a:lnTo>
                  <a:pt x="1494" y="1875"/>
                </a:lnTo>
                <a:lnTo>
                  <a:pt x="1493" y="1869"/>
                </a:lnTo>
                <a:lnTo>
                  <a:pt x="1486" y="1864"/>
                </a:lnTo>
                <a:lnTo>
                  <a:pt x="1486" y="1857"/>
                </a:lnTo>
                <a:lnTo>
                  <a:pt x="1479" y="1849"/>
                </a:lnTo>
                <a:lnTo>
                  <a:pt x="1473" y="1830"/>
                </a:lnTo>
                <a:lnTo>
                  <a:pt x="1472" y="1830"/>
                </a:lnTo>
                <a:lnTo>
                  <a:pt x="1471" y="1822"/>
                </a:lnTo>
                <a:lnTo>
                  <a:pt x="1468" y="1817"/>
                </a:lnTo>
                <a:lnTo>
                  <a:pt x="1462" y="1811"/>
                </a:lnTo>
                <a:lnTo>
                  <a:pt x="1456" y="1798"/>
                </a:lnTo>
                <a:lnTo>
                  <a:pt x="1453" y="1794"/>
                </a:lnTo>
                <a:lnTo>
                  <a:pt x="1434" y="1784"/>
                </a:lnTo>
                <a:lnTo>
                  <a:pt x="1434" y="1780"/>
                </a:lnTo>
                <a:lnTo>
                  <a:pt x="1439" y="1780"/>
                </a:lnTo>
                <a:lnTo>
                  <a:pt x="1440" y="1776"/>
                </a:lnTo>
                <a:lnTo>
                  <a:pt x="1439" y="1774"/>
                </a:lnTo>
                <a:lnTo>
                  <a:pt x="1436" y="1770"/>
                </a:lnTo>
                <a:lnTo>
                  <a:pt x="1437" y="1768"/>
                </a:lnTo>
                <a:lnTo>
                  <a:pt x="1433" y="1763"/>
                </a:lnTo>
                <a:lnTo>
                  <a:pt x="1434" y="1757"/>
                </a:lnTo>
                <a:lnTo>
                  <a:pt x="1439" y="1749"/>
                </a:lnTo>
                <a:lnTo>
                  <a:pt x="1446" y="1742"/>
                </a:lnTo>
                <a:lnTo>
                  <a:pt x="1446" y="1741"/>
                </a:lnTo>
                <a:lnTo>
                  <a:pt x="1452" y="1739"/>
                </a:lnTo>
                <a:lnTo>
                  <a:pt x="1456" y="1730"/>
                </a:lnTo>
                <a:lnTo>
                  <a:pt x="1453" y="1727"/>
                </a:lnTo>
                <a:lnTo>
                  <a:pt x="1455" y="1721"/>
                </a:lnTo>
                <a:lnTo>
                  <a:pt x="1450" y="1724"/>
                </a:lnTo>
                <a:lnTo>
                  <a:pt x="1450" y="1727"/>
                </a:lnTo>
                <a:lnTo>
                  <a:pt x="1450" y="1730"/>
                </a:lnTo>
                <a:lnTo>
                  <a:pt x="1448" y="1732"/>
                </a:lnTo>
                <a:lnTo>
                  <a:pt x="1440" y="1727"/>
                </a:lnTo>
                <a:lnTo>
                  <a:pt x="1439" y="1724"/>
                </a:lnTo>
                <a:lnTo>
                  <a:pt x="1438" y="1724"/>
                </a:lnTo>
                <a:lnTo>
                  <a:pt x="1438" y="1720"/>
                </a:lnTo>
                <a:lnTo>
                  <a:pt x="1438" y="1716"/>
                </a:lnTo>
                <a:lnTo>
                  <a:pt x="1442" y="1713"/>
                </a:lnTo>
                <a:lnTo>
                  <a:pt x="1439" y="1708"/>
                </a:lnTo>
                <a:lnTo>
                  <a:pt x="1440" y="1708"/>
                </a:lnTo>
                <a:lnTo>
                  <a:pt x="1443" y="1708"/>
                </a:lnTo>
                <a:lnTo>
                  <a:pt x="1446" y="1702"/>
                </a:lnTo>
                <a:lnTo>
                  <a:pt x="1445" y="1697"/>
                </a:lnTo>
                <a:lnTo>
                  <a:pt x="1451" y="1690"/>
                </a:lnTo>
                <a:lnTo>
                  <a:pt x="1452" y="1687"/>
                </a:lnTo>
                <a:lnTo>
                  <a:pt x="1450" y="1682"/>
                </a:lnTo>
                <a:lnTo>
                  <a:pt x="1450" y="1679"/>
                </a:lnTo>
                <a:lnTo>
                  <a:pt x="1467" y="1675"/>
                </a:lnTo>
                <a:lnTo>
                  <a:pt x="1471" y="1671"/>
                </a:lnTo>
                <a:lnTo>
                  <a:pt x="1471" y="1671"/>
                </a:lnTo>
                <a:lnTo>
                  <a:pt x="1469" y="1669"/>
                </a:lnTo>
                <a:lnTo>
                  <a:pt x="1466" y="1668"/>
                </a:lnTo>
                <a:lnTo>
                  <a:pt x="1469" y="1664"/>
                </a:lnTo>
                <a:lnTo>
                  <a:pt x="1474" y="1666"/>
                </a:lnTo>
                <a:lnTo>
                  <a:pt x="1474" y="1663"/>
                </a:lnTo>
                <a:lnTo>
                  <a:pt x="1472" y="1660"/>
                </a:lnTo>
                <a:lnTo>
                  <a:pt x="1474" y="1657"/>
                </a:lnTo>
                <a:lnTo>
                  <a:pt x="1476" y="1656"/>
                </a:lnTo>
                <a:lnTo>
                  <a:pt x="1477" y="1656"/>
                </a:lnTo>
                <a:lnTo>
                  <a:pt x="1480" y="1656"/>
                </a:lnTo>
                <a:lnTo>
                  <a:pt x="1481" y="1656"/>
                </a:lnTo>
                <a:lnTo>
                  <a:pt x="1483" y="1656"/>
                </a:lnTo>
                <a:lnTo>
                  <a:pt x="1482" y="1654"/>
                </a:lnTo>
                <a:lnTo>
                  <a:pt x="1482" y="1653"/>
                </a:lnTo>
                <a:lnTo>
                  <a:pt x="1482" y="1652"/>
                </a:lnTo>
                <a:lnTo>
                  <a:pt x="1482" y="1653"/>
                </a:lnTo>
                <a:lnTo>
                  <a:pt x="1482" y="1652"/>
                </a:lnTo>
                <a:lnTo>
                  <a:pt x="1487" y="1645"/>
                </a:lnTo>
                <a:lnTo>
                  <a:pt x="1487" y="1644"/>
                </a:lnTo>
                <a:lnTo>
                  <a:pt x="1490" y="1644"/>
                </a:lnTo>
                <a:lnTo>
                  <a:pt x="1490" y="1643"/>
                </a:lnTo>
                <a:lnTo>
                  <a:pt x="1490" y="1641"/>
                </a:lnTo>
                <a:lnTo>
                  <a:pt x="1495" y="1636"/>
                </a:lnTo>
                <a:lnTo>
                  <a:pt x="1496" y="1633"/>
                </a:lnTo>
                <a:lnTo>
                  <a:pt x="1494" y="1635"/>
                </a:lnTo>
                <a:lnTo>
                  <a:pt x="1491" y="1633"/>
                </a:lnTo>
                <a:lnTo>
                  <a:pt x="1491" y="1633"/>
                </a:lnTo>
                <a:lnTo>
                  <a:pt x="1490" y="1633"/>
                </a:lnTo>
                <a:lnTo>
                  <a:pt x="1488" y="1632"/>
                </a:lnTo>
                <a:lnTo>
                  <a:pt x="1490" y="1632"/>
                </a:lnTo>
                <a:lnTo>
                  <a:pt x="1494" y="1630"/>
                </a:lnTo>
                <a:lnTo>
                  <a:pt x="1490" y="1627"/>
                </a:lnTo>
                <a:lnTo>
                  <a:pt x="1490" y="1626"/>
                </a:lnTo>
                <a:lnTo>
                  <a:pt x="1490" y="1626"/>
                </a:lnTo>
                <a:lnTo>
                  <a:pt x="1490" y="1626"/>
                </a:lnTo>
                <a:lnTo>
                  <a:pt x="1490" y="1623"/>
                </a:lnTo>
                <a:lnTo>
                  <a:pt x="1490" y="1614"/>
                </a:lnTo>
                <a:lnTo>
                  <a:pt x="1490" y="1610"/>
                </a:lnTo>
                <a:lnTo>
                  <a:pt x="1488" y="1609"/>
                </a:lnTo>
                <a:lnTo>
                  <a:pt x="1494" y="1605"/>
                </a:lnTo>
                <a:lnTo>
                  <a:pt x="1490" y="1598"/>
                </a:lnTo>
                <a:lnTo>
                  <a:pt x="1491" y="1595"/>
                </a:lnTo>
                <a:lnTo>
                  <a:pt x="1482" y="1584"/>
                </a:lnTo>
                <a:lnTo>
                  <a:pt x="1482" y="1581"/>
                </a:lnTo>
                <a:lnTo>
                  <a:pt x="1482" y="1583"/>
                </a:lnTo>
                <a:lnTo>
                  <a:pt x="1479" y="1577"/>
                </a:lnTo>
                <a:lnTo>
                  <a:pt x="1475" y="1571"/>
                </a:lnTo>
                <a:lnTo>
                  <a:pt x="1479" y="1571"/>
                </a:lnTo>
                <a:lnTo>
                  <a:pt x="1476" y="1567"/>
                </a:lnTo>
                <a:lnTo>
                  <a:pt x="1475" y="1567"/>
                </a:lnTo>
                <a:lnTo>
                  <a:pt x="1472" y="1563"/>
                </a:lnTo>
                <a:lnTo>
                  <a:pt x="1464" y="1557"/>
                </a:lnTo>
                <a:lnTo>
                  <a:pt x="1464" y="1556"/>
                </a:lnTo>
                <a:lnTo>
                  <a:pt x="1458" y="1557"/>
                </a:lnTo>
                <a:lnTo>
                  <a:pt x="1454" y="1559"/>
                </a:lnTo>
                <a:lnTo>
                  <a:pt x="1454" y="1563"/>
                </a:lnTo>
                <a:lnTo>
                  <a:pt x="1452" y="1565"/>
                </a:lnTo>
                <a:lnTo>
                  <a:pt x="1443" y="1568"/>
                </a:lnTo>
                <a:lnTo>
                  <a:pt x="1444" y="1571"/>
                </a:lnTo>
                <a:lnTo>
                  <a:pt x="1452" y="1577"/>
                </a:lnTo>
                <a:lnTo>
                  <a:pt x="1447" y="1581"/>
                </a:lnTo>
                <a:lnTo>
                  <a:pt x="1444" y="1584"/>
                </a:lnTo>
                <a:lnTo>
                  <a:pt x="1437" y="1584"/>
                </a:lnTo>
                <a:lnTo>
                  <a:pt x="1438" y="1583"/>
                </a:lnTo>
                <a:lnTo>
                  <a:pt x="1435" y="1575"/>
                </a:lnTo>
                <a:lnTo>
                  <a:pt x="1430" y="1575"/>
                </a:lnTo>
                <a:lnTo>
                  <a:pt x="1430" y="1579"/>
                </a:lnTo>
                <a:lnTo>
                  <a:pt x="1428" y="1579"/>
                </a:lnTo>
                <a:lnTo>
                  <a:pt x="1424" y="1571"/>
                </a:lnTo>
                <a:lnTo>
                  <a:pt x="1418" y="1571"/>
                </a:lnTo>
                <a:lnTo>
                  <a:pt x="1417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9"/>
                </a:lnTo>
                <a:lnTo>
                  <a:pt x="1409" y="1568"/>
                </a:lnTo>
                <a:lnTo>
                  <a:pt x="1410" y="1567"/>
                </a:lnTo>
                <a:lnTo>
                  <a:pt x="1410" y="1567"/>
                </a:lnTo>
                <a:lnTo>
                  <a:pt x="1410" y="1567"/>
                </a:lnTo>
                <a:lnTo>
                  <a:pt x="1409" y="1567"/>
                </a:lnTo>
                <a:lnTo>
                  <a:pt x="1409" y="1568"/>
                </a:lnTo>
                <a:lnTo>
                  <a:pt x="1409" y="1568"/>
                </a:lnTo>
                <a:lnTo>
                  <a:pt x="1409" y="1567"/>
                </a:lnTo>
                <a:lnTo>
                  <a:pt x="1408" y="1567"/>
                </a:lnTo>
                <a:lnTo>
                  <a:pt x="1405" y="1571"/>
                </a:lnTo>
                <a:lnTo>
                  <a:pt x="1405" y="1567"/>
                </a:lnTo>
                <a:lnTo>
                  <a:pt x="1404" y="1567"/>
                </a:lnTo>
                <a:lnTo>
                  <a:pt x="1408" y="1565"/>
                </a:lnTo>
                <a:lnTo>
                  <a:pt x="1407" y="1565"/>
                </a:lnTo>
                <a:lnTo>
                  <a:pt x="1404" y="1563"/>
                </a:lnTo>
                <a:lnTo>
                  <a:pt x="1402" y="1563"/>
                </a:lnTo>
                <a:lnTo>
                  <a:pt x="1401" y="1565"/>
                </a:lnTo>
                <a:lnTo>
                  <a:pt x="1401" y="1566"/>
                </a:lnTo>
                <a:lnTo>
                  <a:pt x="1395" y="1564"/>
                </a:lnTo>
                <a:lnTo>
                  <a:pt x="1397" y="1560"/>
                </a:lnTo>
                <a:lnTo>
                  <a:pt x="1397" y="1557"/>
                </a:lnTo>
                <a:lnTo>
                  <a:pt x="1388" y="1550"/>
                </a:lnTo>
                <a:lnTo>
                  <a:pt x="1385" y="1550"/>
                </a:lnTo>
                <a:lnTo>
                  <a:pt x="1382" y="1545"/>
                </a:lnTo>
                <a:lnTo>
                  <a:pt x="1373" y="1542"/>
                </a:lnTo>
                <a:lnTo>
                  <a:pt x="1373" y="1544"/>
                </a:lnTo>
                <a:lnTo>
                  <a:pt x="1380" y="1547"/>
                </a:lnTo>
                <a:lnTo>
                  <a:pt x="1377" y="1550"/>
                </a:lnTo>
                <a:lnTo>
                  <a:pt x="1373" y="1547"/>
                </a:lnTo>
                <a:lnTo>
                  <a:pt x="1369" y="1545"/>
                </a:lnTo>
                <a:lnTo>
                  <a:pt x="1366" y="1540"/>
                </a:lnTo>
                <a:lnTo>
                  <a:pt x="1370" y="1537"/>
                </a:lnTo>
                <a:lnTo>
                  <a:pt x="1369" y="1535"/>
                </a:lnTo>
                <a:lnTo>
                  <a:pt x="1366" y="1535"/>
                </a:lnTo>
                <a:lnTo>
                  <a:pt x="1369" y="1535"/>
                </a:lnTo>
                <a:lnTo>
                  <a:pt x="1369" y="1530"/>
                </a:lnTo>
                <a:lnTo>
                  <a:pt x="1370" y="1527"/>
                </a:lnTo>
                <a:lnTo>
                  <a:pt x="1381" y="1532"/>
                </a:lnTo>
                <a:lnTo>
                  <a:pt x="1383" y="1530"/>
                </a:lnTo>
                <a:lnTo>
                  <a:pt x="1394" y="1534"/>
                </a:lnTo>
                <a:lnTo>
                  <a:pt x="1398" y="1534"/>
                </a:lnTo>
                <a:lnTo>
                  <a:pt x="1400" y="1532"/>
                </a:lnTo>
                <a:lnTo>
                  <a:pt x="1404" y="1541"/>
                </a:lnTo>
                <a:lnTo>
                  <a:pt x="1414" y="1550"/>
                </a:lnTo>
                <a:lnTo>
                  <a:pt x="1411" y="1550"/>
                </a:lnTo>
                <a:lnTo>
                  <a:pt x="1414" y="1553"/>
                </a:lnTo>
                <a:lnTo>
                  <a:pt x="1417" y="1559"/>
                </a:lnTo>
                <a:lnTo>
                  <a:pt x="1422" y="1559"/>
                </a:lnTo>
                <a:lnTo>
                  <a:pt x="1422" y="1555"/>
                </a:lnTo>
                <a:lnTo>
                  <a:pt x="1427" y="1559"/>
                </a:lnTo>
                <a:lnTo>
                  <a:pt x="1433" y="1561"/>
                </a:lnTo>
                <a:lnTo>
                  <a:pt x="1449" y="1555"/>
                </a:lnTo>
                <a:lnTo>
                  <a:pt x="1456" y="1549"/>
                </a:lnTo>
                <a:lnTo>
                  <a:pt x="1466" y="1551"/>
                </a:lnTo>
                <a:lnTo>
                  <a:pt x="1464" y="1555"/>
                </a:lnTo>
                <a:lnTo>
                  <a:pt x="1472" y="1555"/>
                </a:lnTo>
                <a:lnTo>
                  <a:pt x="1481" y="1555"/>
                </a:lnTo>
                <a:lnTo>
                  <a:pt x="1487" y="1561"/>
                </a:lnTo>
                <a:lnTo>
                  <a:pt x="1490" y="1563"/>
                </a:lnTo>
                <a:lnTo>
                  <a:pt x="1490" y="1562"/>
                </a:lnTo>
                <a:lnTo>
                  <a:pt x="1494" y="1568"/>
                </a:lnTo>
                <a:lnTo>
                  <a:pt x="1494" y="1570"/>
                </a:lnTo>
                <a:lnTo>
                  <a:pt x="1489" y="1564"/>
                </a:lnTo>
                <a:lnTo>
                  <a:pt x="1488" y="1564"/>
                </a:lnTo>
                <a:lnTo>
                  <a:pt x="1490" y="1571"/>
                </a:lnTo>
                <a:lnTo>
                  <a:pt x="1490" y="1572"/>
                </a:lnTo>
                <a:lnTo>
                  <a:pt x="1490" y="1574"/>
                </a:lnTo>
                <a:lnTo>
                  <a:pt x="1490" y="1575"/>
                </a:lnTo>
                <a:lnTo>
                  <a:pt x="1494" y="1572"/>
                </a:lnTo>
                <a:lnTo>
                  <a:pt x="1498" y="1574"/>
                </a:lnTo>
                <a:lnTo>
                  <a:pt x="1498" y="1564"/>
                </a:lnTo>
                <a:lnTo>
                  <a:pt x="1497" y="1563"/>
                </a:lnTo>
                <a:lnTo>
                  <a:pt x="1506" y="1557"/>
                </a:lnTo>
                <a:lnTo>
                  <a:pt x="1509" y="1552"/>
                </a:lnTo>
                <a:lnTo>
                  <a:pt x="1516" y="1548"/>
                </a:lnTo>
                <a:lnTo>
                  <a:pt x="1516" y="1547"/>
                </a:lnTo>
                <a:lnTo>
                  <a:pt x="1515" y="1545"/>
                </a:lnTo>
                <a:lnTo>
                  <a:pt x="1517" y="1533"/>
                </a:lnTo>
                <a:lnTo>
                  <a:pt x="1518" y="1530"/>
                </a:lnTo>
                <a:lnTo>
                  <a:pt x="1518" y="1529"/>
                </a:lnTo>
                <a:lnTo>
                  <a:pt x="1523" y="1528"/>
                </a:lnTo>
                <a:lnTo>
                  <a:pt x="1527" y="1525"/>
                </a:lnTo>
                <a:lnTo>
                  <a:pt x="1533" y="1527"/>
                </a:lnTo>
                <a:lnTo>
                  <a:pt x="1536" y="1527"/>
                </a:lnTo>
                <a:lnTo>
                  <a:pt x="1539" y="1521"/>
                </a:lnTo>
                <a:lnTo>
                  <a:pt x="1550" y="1522"/>
                </a:lnTo>
                <a:lnTo>
                  <a:pt x="1559" y="1517"/>
                </a:lnTo>
                <a:lnTo>
                  <a:pt x="1565" y="1513"/>
                </a:lnTo>
                <a:lnTo>
                  <a:pt x="1566" y="1509"/>
                </a:lnTo>
                <a:lnTo>
                  <a:pt x="1566" y="1511"/>
                </a:lnTo>
                <a:lnTo>
                  <a:pt x="1568" y="1511"/>
                </a:lnTo>
                <a:lnTo>
                  <a:pt x="1569" y="1511"/>
                </a:lnTo>
                <a:lnTo>
                  <a:pt x="1573" y="1505"/>
                </a:lnTo>
                <a:lnTo>
                  <a:pt x="1578" y="1506"/>
                </a:lnTo>
                <a:lnTo>
                  <a:pt x="1578" y="1511"/>
                </a:lnTo>
                <a:lnTo>
                  <a:pt x="1578" y="1513"/>
                </a:lnTo>
                <a:lnTo>
                  <a:pt x="1569" y="1517"/>
                </a:lnTo>
                <a:lnTo>
                  <a:pt x="1566" y="1522"/>
                </a:lnTo>
                <a:lnTo>
                  <a:pt x="1562" y="1524"/>
                </a:lnTo>
                <a:lnTo>
                  <a:pt x="1555" y="1534"/>
                </a:lnTo>
                <a:lnTo>
                  <a:pt x="1555" y="1535"/>
                </a:lnTo>
                <a:lnTo>
                  <a:pt x="1561" y="1527"/>
                </a:lnTo>
                <a:lnTo>
                  <a:pt x="1565" y="1525"/>
                </a:lnTo>
                <a:lnTo>
                  <a:pt x="1568" y="1521"/>
                </a:lnTo>
                <a:lnTo>
                  <a:pt x="1570" y="1532"/>
                </a:lnTo>
                <a:lnTo>
                  <a:pt x="1570" y="1536"/>
                </a:lnTo>
                <a:lnTo>
                  <a:pt x="1563" y="1546"/>
                </a:lnTo>
                <a:lnTo>
                  <a:pt x="1570" y="1552"/>
                </a:lnTo>
                <a:lnTo>
                  <a:pt x="1570" y="1555"/>
                </a:lnTo>
                <a:lnTo>
                  <a:pt x="1572" y="1557"/>
                </a:lnTo>
                <a:lnTo>
                  <a:pt x="1578" y="1555"/>
                </a:lnTo>
                <a:lnTo>
                  <a:pt x="1582" y="1552"/>
                </a:lnTo>
                <a:lnTo>
                  <a:pt x="1582" y="1546"/>
                </a:lnTo>
                <a:lnTo>
                  <a:pt x="1574" y="1535"/>
                </a:lnTo>
                <a:lnTo>
                  <a:pt x="1574" y="1531"/>
                </a:lnTo>
                <a:lnTo>
                  <a:pt x="1574" y="1530"/>
                </a:lnTo>
                <a:lnTo>
                  <a:pt x="1589" y="1525"/>
                </a:lnTo>
                <a:lnTo>
                  <a:pt x="1591" y="1523"/>
                </a:lnTo>
                <a:lnTo>
                  <a:pt x="1590" y="1523"/>
                </a:lnTo>
                <a:lnTo>
                  <a:pt x="1590" y="1515"/>
                </a:lnTo>
                <a:lnTo>
                  <a:pt x="1592" y="1512"/>
                </a:lnTo>
                <a:lnTo>
                  <a:pt x="1598" y="1509"/>
                </a:lnTo>
                <a:lnTo>
                  <a:pt x="1598" y="1512"/>
                </a:lnTo>
                <a:lnTo>
                  <a:pt x="1602" y="1521"/>
                </a:lnTo>
                <a:lnTo>
                  <a:pt x="1606" y="1520"/>
                </a:lnTo>
                <a:lnTo>
                  <a:pt x="1613" y="1521"/>
                </a:lnTo>
                <a:lnTo>
                  <a:pt x="1619" y="1527"/>
                </a:lnTo>
                <a:lnTo>
                  <a:pt x="1622" y="1530"/>
                </a:lnTo>
                <a:lnTo>
                  <a:pt x="1618" y="1531"/>
                </a:lnTo>
                <a:lnTo>
                  <a:pt x="1618" y="1535"/>
                </a:lnTo>
                <a:lnTo>
                  <a:pt x="1623" y="1538"/>
                </a:lnTo>
                <a:lnTo>
                  <a:pt x="1650" y="1539"/>
                </a:lnTo>
                <a:lnTo>
                  <a:pt x="1650" y="1536"/>
                </a:lnTo>
                <a:lnTo>
                  <a:pt x="1656" y="1539"/>
                </a:lnTo>
                <a:lnTo>
                  <a:pt x="1668" y="1543"/>
                </a:lnTo>
                <a:lnTo>
                  <a:pt x="1673" y="1543"/>
                </a:lnTo>
                <a:lnTo>
                  <a:pt x="1681" y="1539"/>
                </a:lnTo>
                <a:lnTo>
                  <a:pt x="1688" y="1539"/>
                </a:lnTo>
                <a:lnTo>
                  <a:pt x="1683" y="1537"/>
                </a:lnTo>
                <a:lnTo>
                  <a:pt x="1679" y="1536"/>
                </a:lnTo>
                <a:lnTo>
                  <a:pt x="1679" y="1532"/>
                </a:lnTo>
                <a:lnTo>
                  <a:pt x="1689" y="1537"/>
                </a:lnTo>
                <a:lnTo>
                  <a:pt x="1697" y="1535"/>
                </a:lnTo>
                <a:lnTo>
                  <a:pt x="1714" y="1535"/>
                </a:lnTo>
                <a:lnTo>
                  <a:pt x="1709" y="1538"/>
                </a:lnTo>
                <a:lnTo>
                  <a:pt x="1708" y="1539"/>
                </a:lnTo>
                <a:lnTo>
                  <a:pt x="1703" y="1539"/>
                </a:lnTo>
                <a:lnTo>
                  <a:pt x="1706" y="1548"/>
                </a:lnTo>
                <a:lnTo>
                  <a:pt x="1707" y="1544"/>
                </a:lnTo>
                <a:lnTo>
                  <a:pt x="1707" y="1549"/>
                </a:lnTo>
                <a:lnTo>
                  <a:pt x="1710" y="1547"/>
                </a:lnTo>
                <a:lnTo>
                  <a:pt x="1713" y="1547"/>
                </a:lnTo>
                <a:lnTo>
                  <a:pt x="1709" y="1545"/>
                </a:lnTo>
                <a:lnTo>
                  <a:pt x="1710" y="1543"/>
                </a:lnTo>
                <a:lnTo>
                  <a:pt x="1714" y="1544"/>
                </a:lnTo>
                <a:lnTo>
                  <a:pt x="1717" y="1550"/>
                </a:lnTo>
                <a:lnTo>
                  <a:pt x="1716" y="1547"/>
                </a:lnTo>
                <a:lnTo>
                  <a:pt x="1719" y="1547"/>
                </a:lnTo>
                <a:lnTo>
                  <a:pt x="1719" y="1544"/>
                </a:lnTo>
                <a:lnTo>
                  <a:pt x="1723" y="1551"/>
                </a:lnTo>
                <a:lnTo>
                  <a:pt x="1727" y="1551"/>
                </a:lnTo>
                <a:lnTo>
                  <a:pt x="1727" y="1552"/>
                </a:lnTo>
                <a:lnTo>
                  <a:pt x="1727" y="1554"/>
                </a:lnTo>
                <a:lnTo>
                  <a:pt x="1726" y="1557"/>
                </a:lnTo>
                <a:lnTo>
                  <a:pt x="1725" y="1562"/>
                </a:lnTo>
                <a:lnTo>
                  <a:pt x="1727" y="1561"/>
                </a:lnTo>
                <a:lnTo>
                  <a:pt x="1730" y="1558"/>
                </a:lnTo>
                <a:lnTo>
                  <a:pt x="1728" y="1563"/>
                </a:lnTo>
                <a:lnTo>
                  <a:pt x="1728" y="1563"/>
                </a:lnTo>
                <a:lnTo>
                  <a:pt x="1728" y="1562"/>
                </a:lnTo>
                <a:lnTo>
                  <a:pt x="1726" y="1563"/>
                </a:lnTo>
                <a:lnTo>
                  <a:pt x="1725" y="1563"/>
                </a:lnTo>
                <a:lnTo>
                  <a:pt x="1724" y="1563"/>
                </a:lnTo>
                <a:lnTo>
                  <a:pt x="1723" y="1564"/>
                </a:lnTo>
                <a:lnTo>
                  <a:pt x="1723" y="1565"/>
                </a:lnTo>
                <a:lnTo>
                  <a:pt x="1723" y="1567"/>
                </a:lnTo>
                <a:lnTo>
                  <a:pt x="1724" y="1567"/>
                </a:lnTo>
                <a:lnTo>
                  <a:pt x="1725" y="1566"/>
                </a:lnTo>
                <a:lnTo>
                  <a:pt x="1725" y="1566"/>
                </a:lnTo>
                <a:lnTo>
                  <a:pt x="1727" y="1566"/>
                </a:lnTo>
                <a:lnTo>
                  <a:pt x="1727" y="1567"/>
                </a:lnTo>
                <a:lnTo>
                  <a:pt x="1728" y="1565"/>
                </a:lnTo>
                <a:lnTo>
                  <a:pt x="1735" y="1567"/>
                </a:lnTo>
                <a:lnTo>
                  <a:pt x="1736" y="1567"/>
                </a:lnTo>
                <a:lnTo>
                  <a:pt x="1738" y="1567"/>
                </a:lnTo>
                <a:lnTo>
                  <a:pt x="1742" y="1567"/>
                </a:lnTo>
                <a:lnTo>
                  <a:pt x="1742" y="1566"/>
                </a:lnTo>
                <a:lnTo>
                  <a:pt x="1743" y="1567"/>
                </a:lnTo>
                <a:lnTo>
                  <a:pt x="1745" y="1567"/>
                </a:lnTo>
                <a:lnTo>
                  <a:pt x="1755" y="1573"/>
                </a:lnTo>
                <a:lnTo>
                  <a:pt x="1763" y="1585"/>
                </a:lnTo>
                <a:lnTo>
                  <a:pt x="1763" y="1589"/>
                </a:lnTo>
                <a:lnTo>
                  <a:pt x="1763" y="1590"/>
                </a:lnTo>
                <a:lnTo>
                  <a:pt x="1761" y="1598"/>
                </a:lnTo>
                <a:lnTo>
                  <a:pt x="1764" y="1592"/>
                </a:lnTo>
                <a:lnTo>
                  <a:pt x="1765" y="1592"/>
                </a:lnTo>
                <a:lnTo>
                  <a:pt x="1771" y="1593"/>
                </a:lnTo>
                <a:lnTo>
                  <a:pt x="1776" y="1597"/>
                </a:lnTo>
                <a:lnTo>
                  <a:pt x="1777" y="1601"/>
                </a:lnTo>
                <a:lnTo>
                  <a:pt x="1779" y="1600"/>
                </a:lnTo>
                <a:lnTo>
                  <a:pt x="1782" y="1602"/>
                </a:lnTo>
                <a:lnTo>
                  <a:pt x="1783" y="1605"/>
                </a:lnTo>
                <a:lnTo>
                  <a:pt x="1782" y="1613"/>
                </a:lnTo>
                <a:lnTo>
                  <a:pt x="1780" y="1615"/>
                </a:lnTo>
                <a:lnTo>
                  <a:pt x="1782" y="1620"/>
                </a:lnTo>
                <a:lnTo>
                  <a:pt x="1783" y="1620"/>
                </a:lnTo>
                <a:lnTo>
                  <a:pt x="1781" y="1616"/>
                </a:lnTo>
                <a:lnTo>
                  <a:pt x="1783" y="1614"/>
                </a:lnTo>
                <a:lnTo>
                  <a:pt x="1783" y="1612"/>
                </a:lnTo>
                <a:lnTo>
                  <a:pt x="1784" y="1607"/>
                </a:lnTo>
                <a:lnTo>
                  <a:pt x="1787" y="1607"/>
                </a:lnTo>
                <a:lnTo>
                  <a:pt x="1799" y="1612"/>
                </a:lnTo>
                <a:lnTo>
                  <a:pt x="1799" y="1608"/>
                </a:lnTo>
                <a:lnTo>
                  <a:pt x="1809" y="1608"/>
                </a:lnTo>
                <a:lnTo>
                  <a:pt x="1811" y="1606"/>
                </a:lnTo>
                <a:lnTo>
                  <a:pt x="1811" y="1609"/>
                </a:lnTo>
                <a:lnTo>
                  <a:pt x="1813" y="1608"/>
                </a:lnTo>
                <a:lnTo>
                  <a:pt x="1823" y="1609"/>
                </a:lnTo>
                <a:lnTo>
                  <a:pt x="1823" y="1612"/>
                </a:lnTo>
                <a:lnTo>
                  <a:pt x="1824" y="1612"/>
                </a:lnTo>
                <a:lnTo>
                  <a:pt x="1827" y="1611"/>
                </a:lnTo>
                <a:lnTo>
                  <a:pt x="1828" y="1606"/>
                </a:lnTo>
                <a:lnTo>
                  <a:pt x="1830" y="1605"/>
                </a:lnTo>
                <a:lnTo>
                  <a:pt x="1835" y="1609"/>
                </a:lnTo>
                <a:lnTo>
                  <a:pt x="1843" y="1610"/>
                </a:lnTo>
                <a:lnTo>
                  <a:pt x="1855" y="1622"/>
                </a:lnTo>
                <a:lnTo>
                  <a:pt x="1855" y="1622"/>
                </a:lnTo>
                <a:lnTo>
                  <a:pt x="1857" y="1623"/>
                </a:lnTo>
                <a:lnTo>
                  <a:pt x="1859" y="1629"/>
                </a:lnTo>
                <a:lnTo>
                  <a:pt x="1859" y="1633"/>
                </a:lnTo>
                <a:lnTo>
                  <a:pt x="1851" y="1646"/>
                </a:lnTo>
                <a:lnTo>
                  <a:pt x="1848" y="1657"/>
                </a:lnTo>
                <a:lnTo>
                  <a:pt x="1843" y="1664"/>
                </a:lnTo>
                <a:lnTo>
                  <a:pt x="1845" y="1664"/>
                </a:lnTo>
                <a:lnTo>
                  <a:pt x="1851" y="1658"/>
                </a:lnTo>
                <a:lnTo>
                  <a:pt x="1854" y="1647"/>
                </a:lnTo>
                <a:lnTo>
                  <a:pt x="1862" y="1634"/>
                </a:lnTo>
                <a:lnTo>
                  <a:pt x="1865" y="1632"/>
                </a:lnTo>
                <a:lnTo>
                  <a:pt x="1866" y="1634"/>
                </a:lnTo>
                <a:lnTo>
                  <a:pt x="1865" y="1629"/>
                </a:lnTo>
                <a:lnTo>
                  <a:pt x="1870" y="1633"/>
                </a:lnTo>
                <a:lnTo>
                  <a:pt x="1871" y="1636"/>
                </a:lnTo>
                <a:lnTo>
                  <a:pt x="1871" y="1636"/>
                </a:lnTo>
                <a:lnTo>
                  <a:pt x="1871" y="1647"/>
                </a:lnTo>
                <a:lnTo>
                  <a:pt x="1877" y="1662"/>
                </a:lnTo>
                <a:lnTo>
                  <a:pt x="1880" y="1668"/>
                </a:lnTo>
                <a:lnTo>
                  <a:pt x="1881" y="1668"/>
                </a:lnTo>
                <a:lnTo>
                  <a:pt x="1885" y="1668"/>
                </a:lnTo>
                <a:lnTo>
                  <a:pt x="1887" y="1668"/>
                </a:lnTo>
                <a:lnTo>
                  <a:pt x="1887" y="1674"/>
                </a:lnTo>
                <a:lnTo>
                  <a:pt x="1887" y="1676"/>
                </a:lnTo>
                <a:lnTo>
                  <a:pt x="1879" y="1685"/>
                </a:lnTo>
                <a:lnTo>
                  <a:pt x="1877" y="1692"/>
                </a:lnTo>
                <a:lnTo>
                  <a:pt x="1874" y="1692"/>
                </a:lnTo>
                <a:lnTo>
                  <a:pt x="1868" y="1696"/>
                </a:lnTo>
                <a:lnTo>
                  <a:pt x="1859" y="1704"/>
                </a:lnTo>
                <a:lnTo>
                  <a:pt x="1859" y="1708"/>
                </a:lnTo>
                <a:lnTo>
                  <a:pt x="1863" y="1704"/>
                </a:lnTo>
                <a:lnTo>
                  <a:pt x="1865" y="1703"/>
                </a:lnTo>
                <a:lnTo>
                  <a:pt x="1867" y="1701"/>
                </a:lnTo>
                <a:lnTo>
                  <a:pt x="1867" y="1700"/>
                </a:lnTo>
                <a:lnTo>
                  <a:pt x="1869" y="1698"/>
                </a:lnTo>
                <a:lnTo>
                  <a:pt x="1867" y="1701"/>
                </a:lnTo>
                <a:lnTo>
                  <a:pt x="1870" y="1698"/>
                </a:lnTo>
                <a:lnTo>
                  <a:pt x="1872" y="1700"/>
                </a:lnTo>
                <a:lnTo>
                  <a:pt x="1867" y="1703"/>
                </a:lnTo>
                <a:lnTo>
                  <a:pt x="1867" y="1704"/>
                </a:lnTo>
                <a:lnTo>
                  <a:pt x="1868" y="1708"/>
                </a:lnTo>
                <a:lnTo>
                  <a:pt x="1871" y="1706"/>
                </a:lnTo>
                <a:lnTo>
                  <a:pt x="1870" y="1711"/>
                </a:lnTo>
                <a:lnTo>
                  <a:pt x="1873" y="1708"/>
                </a:lnTo>
                <a:lnTo>
                  <a:pt x="1875" y="1708"/>
                </a:lnTo>
                <a:lnTo>
                  <a:pt x="1875" y="1705"/>
                </a:lnTo>
                <a:lnTo>
                  <a:pt x="1875" y="1706"/>
                </a:lnTo>
                <a:lnTo>
                  <a:pt x="1875" y="1706"/>
                </a:lnTo>
                <a:lnTo>
                  <a:pt x="1872" y="1707"/>
                </a:lnTo>
                <a:lnTo>
                  <a:pt x="1873" y="1704"/>
                </a:lnTo>
                <a:lnTo>
                  <a:pt x="1875" y="1703"/>
                </a:lnTo>
                <a:lnTo>
                  <a:pt x="1875" y="1703"/>
                </a:lnTo>
                <a:lnTo>
                  <a:pt x="1875" y="1702"/>
                </a:lnTo>
                <a:lnTo>
                  <a:pt x="1875" y="1703"/>
                </a:lnTo>
                <a:lnTo>
                  <a:pt x="1875" y="1700"/>
                </a:lnTo>
                <a:lnTo>
                  <a:pt x="1875" y="1699"/>
                </a:lnTo>
                <a:lnTo>
                  <a:pt x="1875" y="1700"/>
                </a:lnTo>
                <a:lnTo>
                  <a:pt x="1876" y="1698"/>
                </a:lnTo>
                <a:lnTo>
                  <a:pt x="1880" y="1700"/>
                </a:lnTo>
                <a:lnTo>
                  <a:pt x="1881" y="1700"/>
                </a:lnTo>
                <a:lnTo>
                  <a:pt x="1893" y="1699"/>
                </a:lnTo>
                <a:lnTo>
                  <a:pt x="1899" y="1696"/>
                </a:lnTo>
                <a:lnTo>
                  <a:pt x="1911" y="1697"/>
                </a:lnTo>
                <a:lnTo>
                  <a:pt x="1910" y="1708"/>
                </a:lnTo>
                <a:lnTo>
                  <a:pt x="1903" y="1716"/>
                </a:lnTo>
                <a:lnTo>
                  <a:pt x="1901" y="1719"/>
                </a:lnTo>
                <a:lnTo>
                  <a:pt x="1900" y="1719"/>
                </a:lnTo>
                <a:lnTo>
                  <a:pt x="1900" y="1719"/>
                </a:lnTo>
                <a:lnTo>
                  <a:pt x="1899" y="1720"/>
                </a:lnTo>
                <a:lnTo>
                  <a:pt x="1897" y="1720"/>
                </a:lnTo>
                <a:lnTo>
                  <a:pt x="1891" y="1726"/>
                </a:lnTo>
                <a:lnTo>
                  <a:pt x="1891" y="1731"/>
                </a:lnTo>
                <a:lnTo>
                  <a:pt x="1898" y="1722"/>
                </a:lnTo>
                <a:lnTo>
                  <a:pt x="1900" y="1721"/>
                </a:lnTo>
                <a:lnTo>
                  <a:pt x="1899" y="1722"/>
                </a:lnTo>
                <a:lnTo>
                  <a:pt x="1900" y="1721"/>
                </a:lnTo>
                <a:lnTo>
                  <a:pt x="1903" y="1720"/>
                </a:lnTo>
                <a:lnTo>
                  <a:pt x="1906" y="1716"/>
                </a:lnTo>
                <a:lnTo>
                  <a:pt x="1907" y="1716"/>
                </a:lnTo>
                <a:lnTo>
                  <a:pt x="1907" y="1714"/>
                </a:lnTo>
                <a:lnTo>
                  <a:pt x="1907" y="1712"/>
                </a:lnTo>
                <a:lnTo>
                  <a:pt x="1911" y="1714"/>
                </a:lnTo>
                <a:lnTo>
                  <a:pt x="1911" y="1712"/>
                </a:lnTo>
                <a:lnTo>
                  <a:pt x="1912" y="1708"/>
                </a:lnTo>
                <a:lnTo>
                  <a:pt x="1911" y="1708"/>
                </a:lnTo>
                <a:lnTo>
                  <a:pt x="1911" y="1707"/>
                </a:lnTo>
                <a:lnTo>
                  <a:pt x="1915" y="1704"/>
                </a:lnTo>
                <a:lnTo>
                  <a:pt x="1916" y="1707"/>
                </a:lnTo>
                <a:lnTo>
                  <a:pt x="1919" y="1704"/>
                </a:lnTo>
                <a:lnTo>
                  <a:pt x="1919" y="1704"/>
                </a:lnTo>
                <a:lnTo>
                  <a:pt x="1919" y="1704"/>
                </a:lnTo>
                <a:lnTo>
                  <a:pt x="1920" y="1703"/>
                </a:lnTo>
                <a:lnTo>
                  <a:pt x="1920" y="1706"/>
                </a:lnTo>
                <a:lnTo>
                  <a:pt x="1922" y="1703"/>
                </a:lnTo>
                <a:lnTo>
                  <a:pt x="1924" y="1706"/>
                </a:lnTo>
                <a:lnTo>
                  <a:pt x="1924" y="1703"/>
                </a:lnTo>
                <a:lnTo>
                  <a:pt x="1931" y="1704"/>
                </a:lnTo>
                <a:lnTo>
                  <a:pt x="1932" y="1704"/>
                </a:lnTo>
                <a:lnTo>
                  <a:pt x="1932" y="1707"/>
                </a:lnTo>
                <a:lnTo>
                  <a:pt x="1933" y="1704"/>
                </a:lnTo>
                <a:lnTo>
                  <a:pt x="1936" y="1708"/>
                </a:lnTo>
                <a:lnTo>
                  <a:pt x="1936" y="1708"/>
                </a:lnTo>
                <a:lnTo>
                  <a:pt x="1936" y="1708"/>
                </a:lnTo>
                <a:lnTo>
                  <a:pt x="1938" y="1708"/>
                </a:lnTo>
                <a:lnTo>
                  <a:pt x="1940" y="1707"/>
                </a:lnTo>
                <a:lnTo>
                  <a:pt x="1940" y="1708"/>
                </a:lnTo>
                <a:lnTo>
                  <a:pt x="1944" y="1708"/>
                </a:lnTo>
                <a:lnTo>
                  <a:pt x="1942" y="1712"/>
                </a:lnTo>
                <a:lnTo>
                  <a:pt x="1944" y="1712"/>
                </a:lnTo>
                <a:lnTo>
                  <a:pt x="1944" y="1712"/>
                </a:lnTo>
                <a:lnTo>
                  <a:pt x="1945" y="1708"/>
                </a:lnTo>
                <a:lnTo>
                  <a:pt x="1948" y="1712"/>
                </a:lnTo>
                <a:lnTo>
                  <a:pt x="1948" y="1711"/>
                </a:lnTo>
                <a:lnTo>
                  <a:pt x="1948" y="1714"/>
                </a:lnTo>
                <a:lnTo>
                  <a:pt x="1948" y="1712"/>
                </a:lnTo>
                <a:lnTo>
                  <a:pt x="1952" y="1714"/>
                </a:lnTo>
                <a:lnTo>
                  <a:pt x="1952" y="1718"/>
                </a:lnTo>
                <a:lnTo>
                  <a:pt x="1956" y="1714"/>
                </a:lnTo>
                <a:lnTo>
                  <a:pt x="1956" y="1716"/>
                </a:lnTo>
                <a:lnTo>
                  <a:pt x="1961" y="1716"/>
                </a:lnTo>
                <a:lnTo>
                  <a:pt x="1963" y="1716"/>
                </a:lnTo>
                <a:lnTo>
                  <a:pt x="1961" y="1720"/>
                </a:lnTo>
                <a:lnTo>
                  <a:pt x="1964" y="1720"/>
                </a:lnTo>
                <a:lnTo>
                  <a:pt x="1964" y="1719"/>
                </a:lnTo>
                <a:lnTo>
                  <a:pt x="1966" y="1720"/>
                </a:lnTo>
                <a:lnTo>
                  <a:pt x="1968" y="1720"/>
                </a:lnTo>
                <a:lnTo>
                  <a:pt x="1969" y="1724"/>
                </a:lnTo>
                <a:lnTo>
                  <a:pt x="1966" y="1729"/>
                </a:lnTo>
                <a:lnTo>
                  <a:pt x="1969" y="1726"/>
                </a:lnTo>
                <a:lnTo>
                  <a:pt x="1971" y="1729"/>
                </a:lnTo>
                <a:lnTo>
                  <a:pt x="1968" y="1731"/>
                </a:lnTo>
                <a:lnTo>
                  <a:pt x="1966" y="1738"/>
                </a:lnTo>
                <a:lnTo>
                  <a:pt x="1964" y="1743"/>
                </a:lnTo>
                <a:lnTo>
                  <a:pt x="1969" y="1737"/>
                </a:lnTo>
                <a:lnTo>
                  <a:pt x="1969" y="1736"/>
                </a:lnTo>
                <a:lnTo>
                  <a:pt x="1970" y="1736"/>
                </a:lnTo>
                <a:lnTo>
                  <a:pt x="1969" y="1736"/>
                </a:lnTo>
                <a:lnTo>
                  <a:pt x="1971" y="1731"/>
                </a:lnTo>
                <a:lnTo>
                  <a:pt x="1975" y="1730"/>
                </a:lnTo>
                <a:lnTo>
                  <a:pt x="1976" y="1732"/>
                </a:lnTo>
                <a:lnTo>
                  <a:pt x="1972" y="1735"/>
                </a:lnTo>
                <a:lnTo>
                  <a:pt x="1977" y="1732"/>
                </a:lnTo>
                <a:lnTo>
                  <a:pt x="1982" y="1732"/>
                </a:lnTo>
                <a:lnTo>
                  <a:pt x="1985" y="1732"/>
                </a:lnTo>
                <a:lnTo>
                  <a:pt x="1995" y="1733"/>
                </a:lnTo>
                <a:lnTo>
                  <a:pt x="2001" y="1736"/>
                </a:lnTo>
                <a:lnTo>
                  <a:pt x="2004" y="1736"/>
                </a:lnTo>
                <a:lnTo>
                  <a:pt x="2008" y="1735"/>
                </a:lnTo>
                <a:lnTo>
                  <a:pt x="2009" y="1740"/>
                </a:lnTo>
                <a:lnTo>
                  <a:pt x="2014" y="1740"/>
                </a:lnTo>
                <a:lnTo>
                  <a:pt x="2012" y="1738"/>
                </a:lnTo>
                <a:lnTo>
                  <a:pt x="2012" y="1737"/>
                </a:lnTo>
                <a:lnTo>
                  <a:pt x="2027" y="1736"/>
                </a:lnTo>
                <a:lnTo>
                  <a:pt x="2034" y="1736"/>
                </a:lnTo>
                <a:lnTo>
                  <a:pt x="2055" y="1749"/>
                </a:lnTo>
                <a:lnTo>
                  <a:pt x="2068" y="1761"/>
                </a:lnTo>
                <a:lnTo>
                  <a:pt x="2073" y="1764"/>
                </a:lnTo>
                <a:lnTo>
                  <a:pt x="2074" y="1766"/>
                </a:lnTo>
                <a:lnTo>
                  <a:pt x="2079" y="1770"/>
                </a:lnTo>
                <a:lnTo>
                  <a:pt x="2080" y="1772"/>
                </a:lnTo>
                <a:lnTo>
                  <a:pt x="2092" y="1772"/>
                </a:lnTo>
                <a:lnTo>
                  <a:pt x="2100" y="1773"/>
                </a:lnTo>
                <a:lnTo>
                  <a:pt x="2106" y="1789"/>
                </a:lnTo>
                <a:lnTo>
                  <a:pt x="2109" y="1799"/>
                </a:lnTo>
                <a:close/>
                <a:moveTo>
                  <a:pt x="1412" y="1550"/>
                </a:moveTo>
                <a:lnTo>
                  <a:pt x="1412" y="1550"/>
                </a:lnTo>
                <a:lnTo>
                  <a:pt x="1412" y="1550"/>
                </a:lnTo>
                <a:lnTo>
                  <a:pt x="1412" y="1550"/>
                </a:lnTo>
                <a:close/>
                <a:moveTo>
                  <a:pt x="1490" y="1575"/>
                </a:moveTo>
                <a:lnTo>
                  <a:pt x="1486" y="1577"/>
                </a:lnTo>
                <a:lnTo>
                  <a:pt x="1488" y="1578"/>
                </a:lnTo>
                <a:lnTo>
                  <a:pt x="1490" y="1576"/>
                </a:lnTo>
                <a:lnTo>
                  <a:pt x="1490" y="1575"/>
                </a:lnTo>
                <a:close/>
                <a:moveTo>
                  <a:pt x="1494" y="1630"/>
                </a:moveTo>
                <a:lnTo>
                  <a:pt x="1492" y="1632"/>
                </a:lnTo>
                <a:lnTo>
                  <a:pt x="1494" y="1632"/>
                </a:lnTo>
                <a:lnTo>
                  <a:pt x="1494" y="1630"/>
                </a:lnTo>
                <a:close/>
                <a:moveTo>
                  <a:pt x="1488" y="1644"/>
                </a:moveTo>
                <a:lnTo>
                  <a:pt x="1487" y="1646"/>
                </a:lnTo>
                <a:lnTo>
                  <a:pt x="1488" y="1645"/>
                </a:lnTo>
                <a:lnTo>
                  <a:pt x="1488" y="1644"/>
                </a:lnTo>
                <a:close/>
                <a:moveTo>
                  <a:pt x="1535" y="1527"/>
                </a:moveTo>
                <a:lnTo>
                  <a:pt x="1530" y="1528"/>
                </a:lnTo>
                <a:lnTo>
                  <a:pt x="1530" y="1529"/>
                </a:lnTo>
                <a:lnTo>
                  <a:pt x="1534" y="1530"/>
                </a:lnTo>
                <a:lnTo>
                  <a:pt x="1535" y="1527"/>
                </a:lnTo>
                <a:close/>
                <a:moveTo>
                  <a:pt x="1560" y="2359"/>
                </a:moveTo>
                <a:lnTo>
                  <a:pt x="1560" y="2359"/>
                </a:lnTo>
                <a:lnTo>
                  <a:pt x="1559" y="2361"/>
                </a:lnTo>
                <a:lnTo>
                  <a:pt x="1560" y="2361"/>
                </a:lnTo>
                <a:lnTo>
                  <a:pt x="1560" y="2359"/>
                </a:lnTo>
                <a:close/>
                <a:moveTo>
                  <a:pt x="1549" y="2564"/>
                </a:moveTo>
                <a:lnTo>
                  <a:pt x="1546" y="2564"/>
                </a:lnTo>
                <a:lnTo>
                  <a:pt x="1547" y="2566"/>
                </a:lnTo>
                <a:lnTo>
                  <a:pt x="1549" y="2564"/>
                </a:lnTo>
                <a:close/>
                <a:moveTo>
                  <a:pt x="1548" y="2546"/>
                </a:moveTo>
                <a:lnTo>
                  <a:pt x="1545" y="2540"/>
                </a:lnTo>
                <a:lnTo>
                  <a:pt x="1543" y="2542"/>
                </a:lnTo>
                <a:lnTo>
                  <a:pt x="1548" y="2546"/>
                </a:lnTo>
                <a:close/>
                <a:moveTo>
                  <a:pt x="1558" y="2543"/>
                </a:moveTo>
                <a:lnTo>
                  <a:pt x="1557" y="2543"/>
                </a:lnTo>
                <a:lnTo>
                  <a:pt x="1548" y="2540"/>
                </a:lnTo>
                <a:lnTo>
                  <a:pt x="1548" y="2539"/>
                </a:lnTo>
                <a:lnTo>
                  <a:pt x="1548" y="2540"/>
                </a:lnTo>
                <a:lnTo>
                  <a:pt x="1546" y="2539"/>
                </a:lnTo>
                <a:lnTo>
                  <a:pt x="1546" y="2539"/>
                </a:lnTo>
                <a:lnTo>
                  <a:pt x="1549" y="2542"/>
                </a:lnTo>
                <a:lnTo>
                  <a:pt x="1549" y="2548"/>
                </a:lnTo>
                <a:lnTo>
                  <a:pt x="1550" y="2547"/>
                </a:lnTo>
                <a:lnTo>
                  <a:pt x="1549" y="2546"/>
                </a:lnTo>
                <a:lnTo>
                  <a:pt x="1549" y="2542"/>
                </a:lnTo>
                <a:lnTo>
                  <a:pt x="1551" y="2544"/>
                </a:lnTo>
                <a:lnTo>
                  <a:pt x="1550" y="2546"/>
                </a:lnTo>
                <a:lnTo>
                  <a:pt x="1553" y="2547"/>
                </a:lnTo>
                <a:lnTo>
                  <a:pt x="1553" y="2547"/>
                </a:lnTo>
                <a:lnTo>
                  <a:pt x="1553" y="2547"/>
                </a:lnTo>
                <a:lnTo>
                  <a:pt x="1553" y="2547"/>
                </a:lnTo>
                <a:lnTo>
                  <a:pt x="1550" y="2550"/>
                </a:lnTo>
                <a:lnTo>
                  <a:pt x="1554" y="2551"/>
                </a:lnTo>
                <a:lnTo>
                  <a:pt x="1554" y="2547"/>
                </a:lnTo>
                <a:lnTo>
                  <a:pt x="1556" y="2547"/>
                </a:lnTo>
                <a:lnTo>
                  <a:pt x="1557" y="2547"/>
                </a:lnTo>
                <a:lnTo>
                  <a:pt x="1558" y="2547"/>
                </a:lnTo>
                <a:lnTo>
                  <a:pt x="1558" y="2543"/>
                </a:lnTo>
                <a:close/>
                <a:moveTo>
                  <a:pt x="1558" y="2542"/>
                </a:moveTo>
                <a:lnTo>
                  <a:pt x="1556" y="2538"/>
                </a:lnTo>
                <a:lnTo>
                  <a:pt x="1549" y="2536"/>
                </a:lnTo>
                <a:lnTo>
                  <a:pt x="1558" y="2542"/>
                </a:lnTo>
                <a:lnTo>
                  <a:pt x="1558" y="2542"/>
                </a:lnTo>
                <a:close/>
                <a:moveTo>
                  <a:pt x="1562" y="2557"/>
                </a:moveTo>
                <a:lnTo>
                  <a:pt x="1559" y="2560"/>
                </a:lnTo>
                <a:lnTo>
                  <a:pt x="1562" y="2560"/>
                </a:lnTo>
                <a:lnTo>
                  <a:pt x="1562" y="2557"/>
                </a:lnTo>
                <a:close/>
                <a:moveTo>
                  <a:pt x="1570" y="2360"/>
                </a:moveTo>
                <a:lnTo>
                  <a:pt x="1570" y="2360"/>
                </a:lnTo>
                <a:lnTo>
                  <a:pt x="1570" y="2360"/>
                </a:lnTo>
                <a:lnTo>
                  <a:pt x="1570" y="2360"/>
                </a:lnTo>
                <a:close/>
                <a:moveTo>
                  <a:pt x="1573" y="2560"/>
                </a:moveTo>
                <a:lnTo>
                  <a:pt x="1566" y="2560"/>
                </a:lnTo>
                <a:lnTo>
                  <a:pt x="1570" y="2561"/>
                </a:lnTo>
                <a:lnTo>
                  <a:pt x="1573" y="2560"/>
                </a:lnTo>
                <a:close/>
                <a:moveTo>
                  <a:pt x="1698" y="1539"/>
                </a:moveTo>
                <a:lnTo>
                  <a:pt x="1699" y="1539"/>
                </a:lnTo>
                <a:lnTo>
                  <a:pt x="1699" y="1538"/>
                </a:lnTo>
                <a:lnTo>
                  <a:pt x="1700" y="1539"/>
                </a:lnTo>
                <a:lnTo>
                  <a:pt x="1700" y="1538"/>
                </a:lnTo>
                <a:lnTo>
                  <a:pt x="1699" y="1538"/>
                </a:lnTo>
                <a:lnTo>
                  <a:pt x="1698" y="1538"/>
                </a:lnTo>
                <a:lnTo>
                  <a:pt x="1698" y="1539"/>
                </a:lnTo>
                <a:close/>
                <a:moveTo>
                  <a:pt x="1703" y="1542"/>
                </a:moveTo>
                <a:lnTo>
                  <a:pt x="1698" y="1543"/>
                </a:lnTo>
                <a:lnTo>
                  <a:pt x="1701" y="1543"/>
                </a:lnTo>
                <a:lnTo>
                  <a:pt x="1703" y="1543"/>
                </a:lnTo>
                <a:lnTo>
                  <a:pt x="1703" y="1542"/>
                </a:lnTo>
                <a:close/>
                <a:moveTo>
                  <a:pt x="1703" y="1539"/>
                </a:moveTo>
                <a:lnTo>
                  <a:pt x="1700" y="1539"/>
                </a:lnTo>
                <a:lnTo>
                  <a:pt x="1703" y="1542"/>
                </a:lnTo>
                <a:lnTo>
                  <a:pt x="1703" y="1542"/>
                </a:lnTo>
                <a:lnTo>
                  <a:pt x="1703" y="1539"/>
                </a:lnTo>
                <a:close/>
                <a:moveTo>
                  <a:pt x="1800" y="2168"/>
                </a:moveTo>
                <a:lnTo>
                  <a:pt x="1800" y="2168"/>
                </a:lnTo>
                <a:lnTo>
                  <a:pt x="1800" y="2168"/>
                </a:lnTo>
                <a:lnTo>
                  <a:pt x="1800" y="2168"/>
                </a:lnTo>
                <a:lnTo>
                  <a:pt x="1800" y="2168"/>
                </a:lnTo>
                <a:close/>
                <a:moveTo>
                  <a:pt x="1802" y="2130"/>
                </a:moveTo>
                <a:lnTo>
                  <a:pt x="1800" y="2130"/>
                </a:lnTo>
                <a:lnTo>
                  <a:pt x="1794" y="2135"/>
                </a:lnTo>
                <a:lnTo>
                  <a:pt x="1793" y="2138"/>
                </a:lnTo>
                <a:lnTo>
                  <a:pt x="1790" y="2138"/>
                </a:lnTo>
                <a:lnTo>
                  <a:pt x="1783" y="2148"/>
                </a:lnTo>
                <a:lnTo>
                  <a:pt x="1779" y="2149"/>
                </a:lnTo>
                <a:lnTo>
                  <a:pt x="1779" y="2151"/>
                </a:lnTo>
                <a:lnTo>
                  <a:pt x="1783" y="2151"/>
                </a:lnTo>
                <a:lnTo>
                  <a:pt x="1791" y="2142"/>
                </a:lnTo>
                <a:lnTo>
                  <a:pt x="1795" y="2142"/>
                </a:lnTo>
                <a:lnTo>
                  <a:pt x="1796" y="2137"/>
                </a:lnTo>
                <a:lnTo>
                  <a:pt x="1802" y="2130"/>
                </a:lnTo>
                <a:close/>
                <a:moveTo>
                  <a:pt x="1855" y="2188"/>
                </a:moveTo>
                <a:lnTo>
                  <a:pt x="1855" y="2189"/>
                </a:lnTo>
                <a:lnTo>
                  <a:pt x="1855" y="2187"/>
                </a:lnTo>
                <a:lnTo>
                  <a:pt x="1855" y="2188"/>
                </a:lnTo>
                <a:close/>
                <a:moveTo>
                  <a:pt x="1880" y="2158"/>
                </a:moveTo>
                <a:lnTo>
                  <a:pt x="1878" y="2158"/>
                </a:lnTo>
                <a:lnTo>
                  <a:pt x="1878" y="2162"/>
                </a:lnTo>
                <a:lnTo>
                  <a:pt x="1878" y="2162"/>
                </a:lnTo>
                <a:lnTo>
                  <a:pt x="1880" y="2158"/>
                </a:lnTo>
                <a:close/>
                <a:moveTo>
                  <a:pt x="1890" y="1724"/>
                </a:moveTo>
                <a:lnTo>
                  <a:pt x="1893" y="1724"/>
                </a:lnTo>
                <a:lnTo>
                  <a:pt x="1897" y="1720"/>
                </a:lnTo>
                <a:lnTo>
                  <a:pt x="1895" y="1720"/>
                </a:lnTo>
                <a:lnTo>
                  <a:pt x="1891" y="1720"/>
                </a:lnTo>
                <a:lnTo>
                  <a:pt x="1891" y="1718"/>
                </a:lnTo>
                <a:lnTo>
                  <a:pt x="1890" y="1720"/>
                </a:lnTo>
                <a:lnTo>
                  <a:pt x="1887" y="1719"/>
                </a:lnTo>
                <a:lnTo>
                  <a:pt x="1881" y="1720"/>
                </a:lnTo>
                <a:lnTo>
                  <a:pt x="1880" y="1720"/>
                </a:lnTo>
                <a:lnTo>
                  <a:pt x="1881" y="1722"/>
                </a:lnTo>
                <a:lnTo>
                  <a:pt x="1887" y="1721"/>
                </a:lnTo>
                <a:lnTo>
                  <a:pt x="1890" y="1724"/>
                </a:lnTo>
                <a:close/>
                <a:moveTo>
                  <a:pt x="1923" y="2071"/>
                </a:moveTo>
                <a:lnTo>
                  <a:pt x="1919" y="2074"/>
                </a:lnTo>
                <a:lnTo>
                  <a:pt x="1919" y="2075"/>
                </a:lnTo>
                <a:lnTo>
                  <a:pt x="1923" y="2071"/>
                </a:lnTo>
                <a:close/>
                <a:moveTo>
                  <a:pt x="2048" y="1884"/>
                </a:moveTo>
                <a:lnTo>
                  <a:pt x="2048" y="1886"/>
                </a:lnTo>
                <a:lnTo>
                  <a:pt x="2048" y="1886"/>
                </a:lnTo>
                <a:lnTo>
                  <a:pt x="2048" y="1884"/>
                </a:lnTo>
                <a:close/>
                <a:moveTo>
                  <a:pt x="1530" y="2527"/>
                </a:moveTo>
                <a:lnTo>
                  <a:pt x="1531" y="2531"/>
                </a:lnTo>
                <a:lnTo>
                  <a:pt x="1533" y="2528"/>
                </a:lnTo>
                <a:lnTo>
                  <a:pt x="1531" y="2527"/>
                </a:lnTo>
                <a:lnTo>
                  <a:pt x="1530" y="2527"/>
                </a:lnTo>
                <a:close/>
                <a:moveTo>
                  <a:pt x="1548" y="2540"/>
                </a:moveTo>
                <a:lnTo>
                  <a:pt x="1549" y="2542"/>
                </a:lnTo>
                <a:lnTo>
                  <a:pt x="1549" y="2542"/>
                </a:lnTo>
                <a:lnTo>
                  <a:pt x="1548" y="2540"/>
                </a:lnTo>
                <a:lnTo>
                  <a:pt x="1548" y="2540"/>
                </a:lnTo>
                <a:close/>
                <a:moveTo>
                  <a:pt x="1540" y="2531"/>
                </a:moveTo>
                <a:lnTo>
                  <a:pt x="1540" y="2531"/>
                </a:lnTo>
                <a:lnTo>
                  <a:pt x="1541" y="2531"/>
                </a:lnTo>
                <a:lnTo>
                  <a:pt x="1540" y="2531"/>
                </a:lnTo>
                <a:close/>
                <a:moveTo>
                  <a:pt x="1534" y="2359"/>
                </a:moveTo>
                <a:lnTo>
                  <a:pt x="1534" y="2359"/>
                </a:lnTo>
                <a:lnTo>
                  <a:pt x="1534" y="2359"/>
                </a:lnTo>
                <a:lnTo>
                  <a:pt x="1534" y="2359"/>
                </a:lnTo>
                <a:close/>
                <a:moveTo>
                  <a:pt x="1537" y="2532"/>
                </a:moveTo>
                <a:lnTo>
                  <a:pt x="1535" y="2532"/>
                </a:lnTo>
                <a:lnTo>
                  <a:pt x="1535" y="2534"/>
                </a:lnTo>
                <a:lnTo>
                  <a:pt x="1537" y="2536"/>
                </a:lnTo>
                <a:lnTo>
                  <a:pt x="1537" y="2532"/>
                </a:lnTo>
                <a:close/>
                <a:moveTo>
                  <a:pt x="2217" y="391"/>
                </a:moveTo>
                <a:lnTo>
                  <a:pt x="2217" y="391"/>
                </a:lnTo>
                <a:lnTo>
                  <a:pt x="2220" y="391"/>
                </a:lnTo>
                <a:lnTo>
                  <a:pt x="2221" y="391"/>
                </a:lnTo>
                <a:lnTo>
                  <a:pt x="2217" y="389"/>
                </a:lnTo>
                <a:lnTo>
                  <a:pt x="2217" y="391"/>
                </a:lnTo>
                <a:close/>
                <a:moveTo>
                  <a:pt x="1541" y="2531"/>
                </a:moveTo>
                <a:lnTo>
                  <a:pt x="1541" y="2531"/>
                </a:lnTo>
                <a:lnTo>
                  <a:pt x="1541" y="2531"/>
                </a:lnTo>
                <a:lnTo>
                  <a:pt x="1541" y="2531"/>
                </a:lnTo>
                <a:close/>
                <a:moveTo>
                  <a:pt x="1531" y="2408"/>
                </a:moveTo>
                <a:lnTo>
                  <a:pt x="1530" y="2408"/>
                </a:lnTo>
                <a:lnTo>
                  <a:pt x="1533" y="2409"/>
                </a:lnTo>
                <a:lnTo>
                  <a:pt x="1531" y="2408"/>
                </a:lnTo>
                <a:close/>
                <a:moveTo>
                  <a:pt x="1530" y="2405"/>
                </a:moveTo>
                <a:lnTo>
                  <a:pt x="1527" y="2406"/>
                </a:lnTo>
                <a:lnTo>
                  <a:pt x="1531" y="2406"/>
                </a:lnTo>
                <a:lnTo>
                  <a:pt x="1530" y="2405"/>
                </a:lnTo>
                <a:close/>
                <a:moveTo>
                  <a:pt x="1526" y="2405"/>
                </a:moveTo>
                <a:lnTo>
                  <a:pt x="1526" y="2406"/>
                </a:lnTo>
                <a:lnTo>
                  <a:pt x="1527" y="2405"/>
                </a:lnTo>
                <a:lnTo>
                  <a:pt x="1526" y="2405"/>
                </a:lnTo>
                <a:close/>
                <a:moveTo>
                  <a:pt x="1530" y="2423"/>
                </a:moveTo>
                <a:lnTo>
                  <a:pt x="1531" y="2423"/>
                </a:lnTo>
                <a:lnTo>
                  <a:pt x="1531" y="2420"/>
                </a:lnTo>
                <a:lnTo>
                  <a:pt x="1530" y="2423"/>
                </a:lnTo>
                <a:close/>
                <a:moveTo>
                  <a:pt x="1535" y="2408"/>
                </a:moveTo>
                <a:lnTo>
                  <a:pt x="1539" y="2406"/>
                </a:lnTo>
                <a:lnTo>
                  <a:pt x="1538" y="2405"/>
                </a:lnTo>
                <a:lnTo>
                  <a:pt x="1533" y="2406"/>
                </a:lnTo>
                <a:lnTo>
                  <a:pt x="1535" y="2408"/>
                </a:lnTo>
                <a:close/>
                <a:moveTo>
                  <a:pt x="2039" y="548"/>
                </a:moveTo>
                <a:lnTo>
                  <a:pt x="2042" y="548"/>
                </a:lnTo>
                <a:lnTo>
                  <a:pt x="2036" y="548"/>
                </a:lnTo>
                <a:lnTo>
                  <a:pt x="2039" y="548"/>
                </a:lnTo>
                <a:close/>
                <a:moveTo>
                  <a:pt x="1538" y="2405"/>
                </a:moveTo>
                <a:lnTo>
                  <a:pt x="1539" y="2405"/>
                </a:lnTo>
                <a:lnTo>
                  <a:pt x="1539" y="2402"/>
                </a:lnTo>
                <a:lnTo>
                  <a:pt x="1537" y="2401"/>
                </a:lnTo>
                <a:lnTo>
                  <a:pt x="1538" y="2405"/>
                </a:lnTo>
                <a:close/>
                <a:moveTo>
                  <a:pt x="1527" y="2425"/>
                </a:moveTo>
                <a:lnTo>
                  <a:pt x="1530" y="2425"/>
                </a:lnTo>
                <a:lnTo>
                  <a:pt x="1530" y="2423"/>
                </a:lnTo>
                <a:lnTo>
                  <a:pt x="1527" y="2424"/>
                </a:lnTo>
                <a:lnTo>
                  <a:pt x="1527" y="2425"/>
                </a:lnTo>
                <a:close/>
                <a:moveTo>
                  <a:pt x="1535" y="2413"/>
                </a:moveTo>
                <a:lnTo>
                  <a:pt x="1539" y="2412"/>
                </a:lnTo>
                <a:lnTo>
                  <a:pt x="1537" y="2409"/>
                </a:lnTo>
                <a:lnTo>
                  <a:pt x="1533" y="2413"/>
                </a:lnTo>
                <a:lnTo>
                  <a:pt x="1535" y="2413"/>
                </a:lnTo>
                <a:close/>
                <a:moveTo>
                  <a:pt x="1543" y="2405"/>
                </a:moveTo>
                <a:lnTo>
                  <a:pt x="1541" y="2405"/>
                </a:lnTo>
                <a:lnTo>
                  <a:pt x="1543" y="2408"/>
                </a:lnTo>
                <a:lnTo>
                  <a:pt x="1545" y="2406"/>
                </a:lnTo>
                <a:lnTo>
                  <a:pt x="1543" y="2405"/>
                </a:lnTo>
                <a:close/>
                <a:moveTo>
                  <a:pt x="1535" y="2424"/>
                </a:moveTo>
                <a:lnTo>
                  <a:pt x="1533" y="2421"/>
                </a:lnTo>
                <a:lnTo>
                  <a:pt x="1531" y="2423"/>
                </a:lnTo>
                <a:lnTo>
                  <a:pt x="1531" y="2425"/>
                </a:lnTo>
                <a:lnTo>
                  <a:pt x="1535" y="2424"/>
                </a:lnTo>
                <a:close/>
                <a:moveTo>
                  <a:pt x="1538" y="2355"/>
                </a:moveTo>
                <a:lnTo>
                  <a:pt x="1538" y="2356"/>
                </a:lnTo>
                <a:lnTo>
                  <a:pt x="1539" y="2355"/>
                </a:lnTo>
                <a:lnTo>
                  <a:pt x="1538" y="2355"/>
                </a:lnTo>
                <a:close/>
                <a:moveTo>
                  <a:pt x="1545" y="2408"/>
                </a:moveTo>
                <a:lnTo>
                  <a:pt x="1544" y="2408"/>
                </a:lnTo>
                <a:lnTo>
                  <a:pt x="1543" y="2408"/>
                </a:lnTo>
                <a:lnTo>
                  <a:pt x="1543" y="2409"/>
                </a:lnTo>
                <a:lnTo>
                  <a:pt x="1545" y="2408"/>
                </a:lnTo>
                <a:close/>
                <a:moveTo>
                  <a:pt x="1541" y="2412"/>
                </a:moveTo>
                <a:lnTo>
                  <a:pt x="1539" y="2408"/>
                </a:lnTo>
                <a:lnTo>
                  <a:pt x="1539" y="2409"/>
                </a:lnTo>
                <a:lnTo>
                  <a:pt x="1541" y="2412"/>
                </a:lnTo>
                <a:close/>
                <a:moveTo>
                  <a:pt x="1538" y="2409"/>
                </a:moveTo>
                <a:lnTo>
                  <a:pt x="1539" y="2408"/>
                </a:lnTo>
                <a:lnTo>
                  <a:pt x="1537" y="2409"/>
                </a:lnTo>
                <a:lnTo>
                  <a:pt x="1538" y="2409"/>
                </a:lnTo>
                <a:close/>
                <a:moveTo>
                  <a:pt x="1532" y="2380"/>
                </a:moveTo>
                <a:lnTo>
                  <a:pt x="1542" y="2384"/>
                </a:lnTo>
                <a:lnTo>
                  <a:pt x="1541" y="2379"/>
                </a:lnTo>
                <a:lnTo>
                  <a:pt x="1546" y="2379"/>
                </a:lnTo>
                <a:lnTo>
                  <a:pt x="1545" y="2376"/>
                </a:lnTo>
                <a:lnTo>
                  <a:pt x="1543" y="2375"/>
                </a:lnTo>
                <a:lnTo>
                  <a:pt x="1542" y="2375"/>
                </a:lnTo>
                <a:lnTo>
                  <a:pt x="1542" y="2372"/>
                </a:lnTo>
                <a:lnTo>
                  <a:pt x="1538" y="2368"/>
                </a:lnTo>
                <a:lnTo>
                  <a:pt x="1538" y="2367"/>
                </a:lnTo>
                <a:lnTo>
                  <a:pt x="1538" y="2366"/>
                </a:lnTo>
                <a:lnTo>
                  <a:pt x="1543" y="2371"/>
                </a:lnTo>
                <a:lnTo>
                  <a:pt x="1544" y="2371"/>
                </a:lnTo>
                <a:lnTo>
                  <a:pt x="1542" y="2368"/>
                </a:lnTo>
                <a:lnTo>
                  <a:pt x="1542" y="2367"/>
                </a:lnTo>
                <a:lnTo>
                  <a:pt x="1543" y="2367"/>
                </a:lnTo>
                <a:lnTo>
                  <a:pt x="1544" y="2367"/>
                </a:lnTo>
                <a:lnTo>
                  <a:pt x="1546" y="2367"/>
                </a:lnTo>
                <a:lnTo>
                  <a:pt x="1546" y="2362"/>
                </a:lnTo>
                <a:lnTo>
                  <a:pt x="1542" y="2361"/>
                </a:lnTo>
                <a:lnTo>
                  <a:pt x="1542" y="2359"/>
                </a:lnTo>
                <a:lnTo>
                  <a:pt x="1542" y="2357"/>
                </a:lnTo>
                <a:lnTo>
                  <a:pt x="1542" y="2356"/>
                </a:lnTo>
                <a:lnTo>
                  <a:pt x="1541" y="2356"/>
                </a:lnTo>
                <a:lnTo>
                  <a:pt x="1539" y="2359"/>
                </a:lnTo>
                <a:lnTo>
                  <a:pt x="1534" y="2359"/>
                </a:lnTo>
                <a:lnTo>
                  <a:pt x="1535" y="2362"/>
                </a:lnTo>
                <a:lnTo>
                  <a:pt x="1533" y="2367"/>
                </a:lnTo>
                <a:lnTo>
                  <a:pt x="1534" y="2368"/>
                </a:lnTo>
                <a:lnTo>
                  <a:pt x="1534" y="2374"/>
                </a:lnTo>
                <a:lnTo>
                  <a:pt x="1532" y="2380"/>
                </a:lnTo>
                <a:close/>
                <a:moveTo>
                  <a:pt x="1533" y="2543"/>
                </a:moveTo>
                <a:lnTo>
                  <a:pt x="1537" y="2545"/>
                </a:lnTo>
                <a:lnTo>
                  <a:pt x="1543" y="2550"/>
                </a:lnTo>
                <a:lnTo>
                  <a:pt x="1541" y="2546"/>
                </a:lnTo>
                <a:lnTo>
                  <a:pt x="1537" y="2543"/>
                </a:lnTo>
                <a:lnTo>
                  <a:pt x="1531" y="2539"/>
                </a:lnTo>
                <a:lnTo>
                  <a:pt x="1533" y="2543"/>
                </a:lnTo>
                <a:close/>
                <a:moveTo>
                  <a:pt x="1960" y="25"/>
                </a:moveTo>
                <a:lnTo>
                  <a:pt x="1960" y="25"/>
                </a:lnTo>
                <a:lnTo>
                  <a:pt x="1947" y="19"/>
                </a:lnTo>
                <a:lnTo>
                  <a:pt x="1935" y="23"/>
                </a:lnTo>
                <a:lnTo>
                  <a:pt x="1947" y="25"/>
                </a:lnTo>
                <a:lnTo>
                  <a:pt x="1935" y="24"/>
                </a:lnTo>
                <a:lnTo>
                  <a:pt x="1947" y="29"/>
                </a:lnTo>
                <a:lnTo>
                  <a:pt x="1964" y="28"/>
                </a:lnTo>
                <a:lnTo>
                  <a:pt x="1960" y="25"/>
                </a:lnTo>
                <a:lnTo>
                  <a:pt x="1960" y="25"/>
                </a:lnTo>
                <a:lnTo>
                  <a:pt x="1960" y="25"/>
                </a:lnTo>
                <a:close/>
                <a:moveTo>
                  <a:pt x="1796" y="327"/>
                </a:moveTo>
                <a:lnTo>
                  <a:pt x="1794" y="330"/>
                </a:lnTo>
                <a:lnTo>
                  <a:pt x="1796" y="330"/>
                </a:lnTo>
                <a:lnTo>
                  <a:pt x="1799" y="330"/>
                </a:lnTo>
                <a:lnTo>
                  <a:pt x="1799" y="329"/>
                </a:lnTo>
                <a:lnTo>
                  <a:pt x="1796" y="327"/>
                </a:lnTo>
                <a:close/>
                <a:moveTo>
                  <a:pt x="1979" y="49"/>
                </a:moveTo>
                <a:lnTo>
                  <a:pt x="1979" y="49"/>
                </a:lnTo>
                <a:lnTo>
                  <a:pt x="1978" y="49"/>
                </a:lnTo>
                <a:lnTo>
                  <a:pt x="1979" y="49"/>
                </a:lnTo>
                <a:close/>
                <a:moveTo>
                  <a:pt x="1788" y="302"/>
                </a:moveTo>
                <a:lnTo>
                  <a:pt x="1787" y="301"/>
                </a:lnTo>
                <a:lnTo>
                  <a:pt x="1786" y="302"/>
                </a:lnTo>
                <a:lnTo>
                  <a:pt x="1788" y="302"/>
                </a:lnTo>
                <a:close/>
                <a:moveTo>
                  <a:pt x="1650" y="214"/>
                </a:moveTo>
                <a:lnTo>
                  <a:pt x="1650" y="214"/>
                </a:lnTo>
                <a:lnTo>
                  <a:pt x="1644" y="214"/>
                </a:lnTo>
                <a:lnTo>
                  <a:pt x="1650" y="214"/>
                </a:lnTo>
                <a:close/>
                <a:moveTo>
                  <a:pt x="2333" y="158"/>
                </a:moveTo>
                <a:lnTo>
                  <a:pt x="2333" y="158"/>
                </a:lnTo>
                <a:lnTo>
                  <a:pt x="2332" y="158"/>
                </a:lnTo>
                <a:lnTo>
                  <a:pt x="2333" y="159"/>
                </a:lnTo>
                <a:lnTo>
                  <a:pt x="2333" y="158"/>
                </a:lnTo>
                <a:lnTo>
                  <a:pt x="2333" y="158"/>
                </a:lnTo>
                <a:lnTo>
                  <a:pt x="2333" y="158"/>
                </a:lnTo>
                <a:lnTo>
                  <a:pt x="2333" y="158"/>
                </a:lnTo>
                <a:close/>
                <a:moveTo>
                  <a:pt x="2046" y="8"/>
                </a:moveTo>
                <a:lnTo>
                  <a:pt x="2039" y="10"/>
                </a:lnTo>
                <a:lnTo>
                  <a:pt x="2048" y="11"/>
                </a:lnTo>
                <a:lnTo>
                  <a:pt x="2048" y="10"/>
                </a:lnTo>
                <a:lnTo>
                  <a:pt x="2046" y="8"/>
                </a:lnTo>
                <a:close/>
                <a:moveTo>
                  <a:pt x="1843" y="539"/>
                </a:moveTo>
                <a:lnTo>
                  <a:pt x="1843" y="539"/>
                </a:lnTo>
                <a:lnTo>
                  <a:pt x="1843" y="539"/>
                </a:lnTo>
                <a:lnTo>
                  <a:pt x="1843" y="539"/>
                </a:lnTo>
                <a:close/>
                <a:moveTo>
                  <a:pt x="1835" y="531"/>
                </a:moveTo>
                <a:lnTo>
                  <a:pt x="1837" y="530"/>
                </a:lnTo>
                <a:lnTo>
                  <a:pt x="1835" y="529"/>
                </a:lnTo>
                <a:lnTo>
                  <a:pt x="1835" y="531"/>
                </a:lnTo>
                <a:close/>
                <a:moveTo>
                  <a:pt x="2260" y="346"/>
                </a:moveTo>
                <a:lnTo>
                  <a:pt x="2281" y="342"/>
                </a:lnTo>
                <a:lnTo>
                  <a:pt x="2251" y="337"/>
                </a:lnTo>
                <a:lnTo>
                  <a:pt x="2277" y="341"/>
                </a:lnTo>
                <a:lnTo>
                  <a:pt x="2260" y="334"/>
                </a:lnTo>
                <a:lnTo>
                  <a:pt x="2249" y="336"/>
                </a:lnTo>
                <a:lnTo>
                  <a:pt x="2244" y="339"/>
                </a:lnTo>
                <a:lnTo>
                  <a:pt x="2242" y="341"/>
                </a:lnTo>
                <a:lnTo>
                  <a:pt x="2260" y="346"/>
                </a:lnTo>
                <a:close/>
                <a:moveTo>
                  <a:pt x="1808" y="377"/>
                </a:moveTo>
                <a:lnTo>
                  <a:pt x="1808" y="377"/>
                </a:lnTo>
                <a:lnTo>
                  <a:pt x="1804" y="380"/>
                </a:lnTo>
                <a:lnTo>
                  <a:pt x="1808" y="381"/>
                </a:lnTo>
                <a:lnTo>
                  <a:pt x="1810" y="380"/>
                </a:lnTo>
                <a:lnTo>
                  <a:pt x="1808" y="378"/>
                </a:lnTo>
                <a:lnTo>
                  <a:pt x="1808" y="377"/>
                </a:lnTo>
                <a:lnTo>
                  <a:pt x="1808" y="377"/>
                </a:lnTo>
                <a:close/>
                <a:moveTo>
                  <a:pt x="1848" y="479"/>
                </a:moveTo>
                <a:lnTo>
                  <a:pt x="1854" y="480"/>
                </a:lnTo>
                <a:lnTo>
                  <a:pt x="1855" y="480"/>
                </a:lnTo>
                <a:lnTo>
                  <a:pt x="1848" y="479"/>
                </a:lnTo>
                <a:close/>
                <a:moveTo>
                  <a:pt x="1843" y="539"/>
                </a:moveTo>
                <a:lnTo>
                  <a:pt x="1843" y="538"/>
                </a:lnTo>
                <a:lnTo>
                  <a:pt x="1841" y="539"/>
                </a:lnTo>
                <a:lnTo>
                  <a:pt x="1843" y="539"/>
                </a:lnTo>
                <a:close/>
                <a:moveTo>
                  <a:pt x="1838" y="480"/>
                </a:moveTo>
                <a:lnTo>
                  <a:pt x="1839" y="481"/>
                </a:lnTo>
                <a:lnTo>
                  <a:pt x="1839" y="480"/>
                </a:lnTo>
                <a:lnTo>
                  <a:pt x="1838" y="480"/>
                </a:lnTo>
                <a:close/>
                <a:moveTo>
                  <a:pt x="1845" y="395"/>
                </a:moveTo>
                <a:lnTo>
                  <a:pt x="1843" y="395"/>
                </a:lnTo>
                <a:lnTo>
                  <a:pt x="1843" y="398"/>
                </a:lnTo>
                <a:lnTo>
                  <a:pt x="1846" y="399"/>
                </a:lnTo>
                <a:lnTo>
                  <a:pt x="1855" y="396"/>
                </a:lnTo>
                <a:lnTo>
                  <a:pt x="1853" y="395"/>
                </a:lnTo>
                <a:lnTo>
                  <a:pt x="1862" y="391"/>
                </a:lnTo>
                <a:lnTo>
                  <a:pt x="1853" y="391"/>
                </a:lnTo>
                <a:lnTo>
                  <a:pt x="1845" y="395"/>
                </a:lnTo>
                <a:close/>
                <a:moveTo>
                  <a:pt x="1862" y="391"/>
                </a:moveTo>
                <a:lnTo>
                  <a:pt x="1862" y="391"/>
                </a:lnTo>
                <a:lnTo>
                  <a:pt x="1862" y="391"/>
                </a:lnTo>
                <a:lnTo>
                  <a:pt x="1862" y="391"/>
                </a:lnTo>
                <a:close/>
                <a:moveTo>
                  <a:pt x="1859" y="479"/>
                </a:moveTo>
                <a:lnTo>
                  <a:pt x="1867" y="476"/>
                </a:lnTo>
                <a:lnTo>
                  <a:pt x="1864" y="477"/>
                </a:lnTo>
                <a:lnTo>
                  <a:pt x="1857" y="478"/>
                </a:lnTo>
                <a:lnTo>
                  <a:pt x="1859" y="479"/>
                </a:lnTo>
                <a:close/>
                <a:moveTo>
                  <a:pt x="2357" y="69"/>
                </a:moveTo>
                <a:lnTo>
                  <a:pt x="2358" y="69"/>
                </a:lnTo>
                <a:lnTo>
                  <a:pt x="2357" y="69"/>
                </a:lnTo>
                <a:lnTo>
                  <a:pt x="2357" y="69"/>
                </a:lnTo>
                <a:close/>
                <a:moveTo>
                  <a:pt x="1840" y="480"/>
                </a:moveTo>
                <a:lnTo>
                  <a:pt x="1841" y="480"/>
                </a:lnTo>
                <a:lnTo>
                  <a:pt x="1841" y="480"/>
                </a:lnTo>
                <a:lnTo>
                  <a:pt x="1839" y="480"/>
                </a:lnTo>
                <a:lnTo>
                  <a:pt x="1840" y="481"/>
                </a:lnTo>
                <a:lnTo>
                  <a:pt x="1840" y="480"/>
                </a:lnTo>
                <a:close/>
                <a:moveTo>
                  <a:pt x="1886" y="571"/>
                </a:moveTo>
                <a:lnTo>
                  <a:pt x="1886" y="571"/>
                </a:lnTo>
                <a:lnTo>
                  <a:pt x="1886" y="571"/>
                </a:lnTo>
                <a:lnTo>
                  <a:pt x="1886" y="571"/>
                </a:lnTo>
                <a:close/>
                <a:moveTo>
                  <a:pt x="2281" y="437"/>
                </a:moveTo>
                <a:lnTo>
                  <a:pt x="2283" y="434"/>
                </a:lnTo>
                <a:lnTo>
                  <a:pt x="2278" y="434"/>
                </a:lnTo>
                <a:lnTo>
                  <a:pt x="2277" y="434"/>
                </a:lnTo>
                <a:lnTo>
                  <a:pt x="2281" y="437"/>
                </a:lnTo>
                <a:close/>
                <a:moveTo>
                  <a:pt x="1899" y="624"/>
                </a:moveTo>
                <a:lnTo>
                  <a:pt x="1899" y="625"/>
                </a:lnTo>
                <a:lnTo>
                  <a:pt x="1899" y="625"/>
                </a:lnTo>
                <a:lnTo>
                  <a:pt x="1899" y="624"/>
                </a:lnTo>
                <a:lnTo>
                  <a:pt x="1899" y="624"/>
                </a:lnTo>
                <a:close/>
                <a:moveTo>
                  <a:pt x="2000" y="610"/>
                </a:moveTo>
                <a:lnTo>
                  <a:pt x="1998" y="610"/>
                </a:lnTo>
                <a:lnTo>
                  <a:pt x="2000" y="612"/>
                </a:lnTo>
                <a:lnTo>
                  <a:pt x="2001" y="612"/>
                </a:lnTo>
                <a:lnTo>
                  <a:pt x="2000" y="612"/>
                </a:lnTo>
                <a:lnTo>
                  <a:pt x="2000" y="610"/>
                </a:lnTo>
                <a:close/>
                <a:moveTo>
                  <a:pt x="2098" y="526"/>
                </a:moveTo>
                <a:lnTo>
                  <a:pt x="2098" y="527"/>
                </a:lnTo>
                <a:lnTo>
                  <a:pt x="2098" y="529"/>
                </a:lnTo>
                <a:lnTo>
                  <a:pt x="2100" y="527"/>
                </a:lnTo>
                <a:lnTo>
                  <a:pt x="2100" y="527"/>
                </a:lnTo>
                <a:lnTo>
                  <a:pt x="2098" y="526"/>
                </a:lnTo>
                <a:close/>
                <a:moveTo>
                  <a:pt x="1873" y="484"/>
                </a:moveTo>
                <a:lnTo>
                  <a:pt x="1874" y="484"/>
                </a:lnTo>
                <a:lnTo>
                  <a:pt x="1874" y="483"/>
                </a:lnTo>
                <a:lnTo>
                  <a:pt x="1873" y="484"/>
                </a:lnTo>
                <a:close/>
                <a:moveTo>
                  <a:pt x="1906" y="640"/>
                </a:moveTo>
                <a:lnTo>
                  <a:pt x="1905" y="640"/>
                </a:lnTo>
                <a:lnTo>
                  <a:pt x="1908" y="640"/>
                </a:lnTo>
                <a:lnTo>
                  <a:pt x="1906" y="640"/>
                </a:lnTo>
                <a:close/>
                <a:moveTo>
                  <a:pt x="1875" y="484"/>
                </a:moveTo>
                <a:lnTo>
                  <a:pt x="1875" y="485"/>
                </a:lnTo>
                <a:lnTo>
                  <a:pt x="1879" y="487"/>
                </a:lnTo>
                <a:lnTo>
                  <a:pt x="1881" y="486"/>
                </a:lnTo>
                <a:lnTo>
                  <a:pt x="1875" y="484"/>
                </a:lnTo>
                <a:close/>
                <a:moveTo>
                  <a:pt x="2277" y="439"/>
                </a:moveTo>
                <a:lnTo>
                  <a:pt x="2277" y="438"/>
                </a:lnTo>
                <a:lnTo>
                  <a:pt x="2277" y="439"/>
                </a:lnTo>
                <a:lnTo>
                  <a:pt x="2277" y="439"/>
                </a:lnTo>
                <a:close/>
                <a:moveTo>
                  <a:pt x="2219" y="81"/>
                </a:moveTo>
                <a:lnTo>
                  <a:pt x="2221" y="80"/>
                </a:lnTo>
                <a:lnTo>
                  <a:pt x="2218" y="81"/>
                </a:lnTo>
                <a:lnTo>
                  <a:pt x="2219" y="81"/>
                </a:lnTo>
                <a:lnTo>
                  <a:pt x="2219" y="81"/>
                </a:lnTo>
                <a:lnTo>
                  <a:pt x="2219" y="81"/>
                </a:lnTo>
                <a:close/>
                <a:moveTo>
                  <a:pt x="2043" y="545"/>
                </a:moveTo>
                <a:lnTo>
                  <a:pt x="2045" y="547"/>
                </a:lnTo>
                <a:lnTo>
                  <a:pt x="2045" y="545"/>
                </a:lnTo>
                <a:lnTo>
                  <a:pt x="2043" y="545"/>
                </a:lnTo>
                <a:close/>
                <a:moveTo>
                  <a:pt x="2277" y="438"/>
                </a:moveTo>
                <a:lnTo>
                  <a:pt x="2277" y="437"/>
                </a:lnTo>
                <a:lnTo>
                  <a:pt x="2277" y="437"/>
                </a:lnTo>
                <a:lnTo>
                  <a:pt x="2277" y="438"/>
                </a:lnTo>
                <a:lnTo>
                  <a:pt x="2277" y="438"/>
                </a:lnTo>
                <a:close/>
                <a:moveTo>
                  <a:pt x="2328" y="122"/>
                </a:moveTo>
                <a:lnTo>
                  <a:pt x="2325" y="127"/>
                </a:lnTo>
                <a:lnTo>
                  <a:pt x="2339" y="125"/>
                </a:lnTo>
                <a:lnTo>
                  <a:pt x="2330" y="122"/>
                </a:lnTo>
                <a:lnTo>
                  <a:pt x="2329" y="122"/>
                </a:lnTo>
                <a:lnTo>
                  <a:pt x="2328" y="122"/>
                </a:lnTo>
                <a:close/>
                <a:moveTo>
                  <a:pt x="2240" y="401"/>
                </a:moveTo>
                <a:lnTo>
                  <a:pt x="2240" y="401"/>
                </a:lnTo>
                <a:lnTo>
                  <a:pt x="2232" y="406"/>
                </a:lnTo>
                <a:lnTo>
                  <a:pt x="2221" y="407"/>
                </a:lnTo>
                <a:lnTo>
                  <a:pt x="2213" y="411"/>
                </a:lnTo>
                <a:lnTo>
                  <a:pt x="2208" y="414"/>
                </a:lnTo>
                <a:lnTo>
                  <a:pt x="2206" y="418"/>
                </a:lnTo>
                <a:lnTo>
                  <a:pt x="2235" y="415"/>
                </a:lnTo>
                <a:lnTo>
                  <a:pt x="2248" y="411"/>
                </a:lnTo>
                <a:lnTo>
                  <a:pt x="2247" y="406"/>
                </a:lnTo>
                <a:lnTo>
                  <a:pt x="2241" y="404"/>
                </a:lnTo>
                <a:lnTo>
                  <a:pt x="2241" y="400"/>
                </a:lnTo>
                <a:lnTo>
                  <a:pt x="2240" y="400"/>
                </a:lnTo>
                <a:lnTo>
                  <a:pt x="2240" y="401"/>
                </a:lnTo>
                <a:close/>
                <a:moveTo>
                  <a:pt x="2304" y="306"/>
                </a:moveTo>
                <a:lnTo>
                  <a:pt x="2302" y="307"/>
                </a:lnTo>
                <a:lnTo>
                  <a:pt x="2295" y="311"/>
                </a:lnTo>
                <a:lnTo>
                  <a:pt x="2307" y="315"/>
                </a:lnTo>
                <a:lnTo>
                  <a:pt x="2322" y="313"/>
                </a:lnTo>
                <a:lnTo>
                  <a:pt x="2317" y="310"/>
                </a:lnTo>
                <a:lnTo>
                  <a:pt x="2316" y="307"/>
                </a:lnTo>
                <a:lnTo>
                  <a:pt x="2315" y="306"/>
                </a:lnTo>
                <a:lnTo>
                  <a:pt x="2310" y="306"/>
                </a:lnTo>
                <a:lnTo>
                  <a:pt x="2304" y="306"/>
                </a:lnTo>
                <a:close/>
                <a:moveTo>
                  <a:pt x="2276" y="440"/>
                </a:moveTo>
                <a:lnTo>
                  <a:pt x="2277" y="439"/>
                </a:lnTo>
                <a:lnTo>
                  <a:pt x="2275" y="439"/>
                </a:lnTo>
                <a:lnTo>
                  <a:pt x="2276" y="440"/>
                </a:lnTo>
                <a:close/>
                <a:moveTo>
                  <a:pt x="2245" y="1101"/>
                </a:moveTo>
                <a:lnTo>
                  <a:pt x="2244" y="1102"/>
                </a:lnTo>
                <a:lnTo>
                  <a:pt x="2245" y="1102"/>
                </a:lnTo>
                <a:lnTo>
                  <a:pt x="2245" y="1101"/>
                </a:lnTo>
                <a:close/>
                <a:moveTo>
                  <a:pt x="2220" y="2644"/>
                </a:moveTo>
                <a:lnTo>
                  <a:pt x="2221" y="2643"/>
                </a:lnTo>
                <a:lnTo>
                  <a:pt x="2220" y="2643"/>
                </a:lnTo>
                <a:lnTo>
                  <a:pt x="2220" y="2644"/>
                </a:lnTo>
                <a:close/>
                <a:moveTo>
                  <a:pt x="2229" y="2666"/>
                </a:moveTo>
                <a:lnTo>
                  <a:pt x="2231" y="2668"/>
                </a:lnTo>
                <a:lnTo>
                  <a:pt x="2231" y="2666"/>
                </a:lnTo>
                <a:lnTo>
                  <a:pt x="2229" y="2666"/>
                </a:lnTo>
                <a:close/>
                <a:moveTo>
                  <a:pt x="2233" y="2681"/>
                </a:moveTo>
                <a:lnTo>
                  <a:pt x="2233" y="2680"/>
                </a:lnTo>
                <a:lnTo>
                  <a:pt x="2229" y="2681"/>
                </a:lnTo>
                <a:lnTo>
                  <a:pt x="2233" y="2681"/>
                </a:lnTo>
                <a:close/>
                <a:moveTo>
                  <a:pt x="2244" y="1102"/>
                </a:moveTo>
                <a:lnTo>
                  <a:pt x="2238" y="1102"/>
                </a:lnTo>
                <a:lnTo>
                  <a:pt x="2240" y="1103"/>
                </a:lnTo>
                <a:lnTo>
                  <a:pt x="2243" y="1103"/>
                </a:lnTo>
                <a:lnTo>
                  <a:pt x="2244" y="1102"/>
                </a:lnTo>
                <a:close/>
                <a:moveTo>
                  <a:pt x="2179" y="478"/>
                </a:moveTo>
                <a:lnTo>
                  <a:pt x="2182" y="479"/>
                </a:lnTo>
                <a:lnTo>
                  <a:pt x="2184" y="477"/>
                </a:lnTo>
                <a:lnTo>
                  <a:pt x="2183" y="476"/>
                </a:lnTo>
                <a:lnTo>
                  <a:pt x="2179" y="478"/>
                </a:lnTo>
                <a:close/>
                <a:moveTo>
                  <a:pt x="2248" y="1115"/>
                </a:moveTo>
                <a:lnTo>
                  <a:pt x="2250" y="1116"/>
                </a:lnTo>
                <a:lnTo>
                  <a:pt x="2250" y="1115"/>
                </a:lnTo>
                <a:lnTo>
                  <a:pt x="2248" y="1115"/>
                </a:lnTo>
                <a:close/>
                <a:moveTo>
                  <a:pt x="2247" y="1437"/>
                </a:moveTo>
                <a:lnTo>
                  <a:pt x="2248" y="1439"/>
                </a:lnTo>
                <a:lnTo>
                  <a:pt x="2250" y="1437"/>
                </a:lnTo>
                <a:lnTo>
                  <a:pt x="2248" y="1436"/>
                </a:lnTo>
                <a:lnTo>
                  <a:pt x="2247" y="1437"/>
                </a:lnTo>
                <a:close/>
                <a:moveTo>
                  <a:pt x="2247" y="1433"/>
                </a:moveTo>
                <a:lnTo>
                  <a:pt x="2243" y="1434"/>
                </a:lnTo>
                <a:lnTo>
                  <a:pt x="2243" y="1436"/>
                </a:lnTo>
                <a:lnTo>
                  <a:pt x="2248" y="1434"/>
                </a:lnTo>
                <a:lnTo>
                  <a:pt x="2247" y="1433"/>
                </a:lnTo>
                <a:close/>
                <a:moveTo>
                  <a:pt x="2123" y="512"/>
                </a:moveTo>
                <a:lnTo>
                  <a:pt x="2123" y="510"/>
                </a:lnTo>
                <a:lnTo>
                  <a:pt x="2121" y="513"/>
                </a:lnTo>
                <a:lnTo>
                  <a:pt x="2123" y="512"/>
                </a:lnTo>
                <a:close/>
                <a:moveTo>
                  <a:pt x="2051" y="1889"/>
                </a:moveTo>
                <a:lnTo>
                  <a:pt x="2051" y="1889"/>
                </a:lnTo>
                <a:lnTo>
                  <a:pt x="2051" y="1888"/>
                </a:lnTo>
                <a:lnTo>
                  <a:pt x="2051" y="1889"/>
                </a:lnTo>
                <a:close/>
                <a:moveTo>
                  <a:pt x="2084" y="533"/>
                </a:moveTo>
                <a:lnTo>
                  <a:pt x="2080" y="535"/>
                </a:lnTo>
                <a:lnTo>
                  <a:pt x="2080" y="536"/>
                </a:lnTo>
                <a:lnTo>
                  <a:pt x="2080" y="537"/>
                </a:lnTo>
                <a:lnTo>
                  <a:pt x="2084" y="533"/>
                </a:lnTo>
                <a:close/>
                <a:moveTo>
                  <a:pt x="2076" y="540"/>
                </a:moveTo>
                <a:lnTo>
                  <a:pt x="2075" y="540"/>
                </a:lnTo>
                <a:lnTo>
                  <a:pt x="2076" y="543"/>
                </a:lnTo>
                <a:lnTo>
                  <a:pt x="2078" y="541"/>
                </a:lnTo>
                <a:lnTo>
                  <a:pt x="2076" y="540"/>
                </a:lnTo>
                <a:close/>
                <a:moveTo>
                  <a:pt x="2079" y="540"/>
                </a:moveTo>
                <a:lnTo>
                  <a:pt x="2080" y="536"/>
                </a:lnTo>
                <a:lnTo>
                  <a:pt x="2078" y="536"/>
                </a:lnTo>
                <a:lnTo>
                  <a:pt x="2079" y="540"/>
                </a:lnTo>
                <a:close/>
                <a:moveTo>
                  <a:pt x="2198" y="1087"/>
                </a:moveTo>
                <a:lnTo>
                  <a:pt x="2200" y="1089"/>
                </a:lnTo>
                <a:lnTo>
                  <a:pt x="2203" y="1091"/>
                </a:lnTo>
                <a:lnTo>
                  <a:pt x="2206" y="1089"/>
                </a:lnTo>
                <a:lnTo>
                  <a:pt x="2202" y="1087"/>
                </a:lnTo>
                <a:lnTo>
                  <a:pt x="2198" y="1087"/>
                </a:lnTo>
                <a:close/>
                <a:moveTo>
                  <a:pt x="2159" y="1072"/>
                </a:moveTo>
                <a:lnTo>
                  <a:pt x="2160" y="1070"/>
                </a:lnTo>
                <a:lnTo>
                  <a:pt x="2159" y="1070"/>
                </a:lnTo>
                <a:lnTo>
                  <a:pt x="2159" y="1072"/>
                </a:lnTo>
                <a:close/>
                <a:moveTo>
                  <a:pt x="2132" y="501"/>
                </a:moveTo>
                <a:lnTo>
                  <a:pt x="2132" y="498"/>
                </a:lnTo>
                <a:lnTo>
                  <a:pt x="2131" y="498"/>
                </a:lnTo>
                <a:lnTo>
                  <a:pt x="2132" y="501"/>
                </a:lnTo>
                <a:close/>
                <a:moveTo>
                  <a:pt x="2216" y="1083"/>
                </a:moveTo>
                <a:lnTo>
                  <a:pt x="2216" y="1085"/>
                </a:lnTo>
                <a:lnTo>
                  <a:pt x="2219" y="1085"/>
                </a:lnTo>
                <a:lnTo>
                  <a:pt x="2221" y="1083"/>
                </a:lnTo>
                <a:lnTo>
                  <a:pt x="2216" y="1083"/>
                </a:lnTo>
                <a:close/>
                <a:moveTo>
                  <a:pt x="1875" y="579"/>
                </a:moveTo>
                <a:lnTo>
                  <a:pt x="1875" y="578"/>
                </a:lnTo>
                <a:lnTo>
                  <a:pt x="1871" y="579"/>
                </a:lnTo>
                <a:lnTo>
                  <a:pt x="1875" y="579"/>
                </a:lnTo>
                <a:close/>
                <a:moveTo>
                  <a:pt x="1864" y="583"/>
                </a:moveTo>
                <a:lnTo>
                  <a:pt x="1867" y="582"/>
                </a:lnTo>
                <a:lnTo>
                  <a:pt x="1867" y="582"/>
                </a:lnTo>
                <a:lnTo>
                  <a:pt x="1864" y="583"/>
                </a:lnTo>
                <a:close/>
                <a:moveTo>
                  <a:pt x="1875" y="603"/>
                </a:moveTo>
                <a:lnTo>
                  <a:pt x="1876" y="600"/>
                </a:lnTo>
                <a:lnTo>
                  <a:pt x="1875" y="602"/>
                </a:lnTo>
                <a:lnTo>
                  <a:pt x="1875" y="603"/>
                </a:lnTo>
                <a:close/>
                <a:moveTo>
                  <a:pt x="1864" y="579"/>
                </a:moveTo>
                <a:lnTo>
                  <a:pt x="1867" y="580"/>
                </a:lnTo>
                <a:lnTo>
                  <a:pt x="1871" y="579"/>
                </a:lnTo>
                <a:lnTo>
                  <a:pt x="1868" y="579"/>
                </a:lnTo>
                <a:lnTo>
                  <a:pt x="1864" y="579"/>
                </a:lnTo>
                <a:close/>
                <a:moveTo>
                  <a:pt x="1875" y="604"/>
                </a:moveTo>
                <a:lnTo>
                  <a:pt x="1875" y="603"/>
                </a:lnTo>
                <a:lnTo>
                  <a:pt x="1875" y="604"/>
                </a:lnTo>
                <a:lnTo>
                  <a:pt x="1875" y="604"/>
                </a:lnTo>
                <a:close/>
                <a:moveTo>
                  <a:pt x="1849" y="545"/>
                </a:moveTo>
                <a:lnTo>
                  <a:pt x="1851" y="543"/>
                </a:lnTo>
                <a:lnTo>
                  <a:pt x="1848" y="544"/>
                </a:lnTo>
                <a:lnTo>
                  <a:pt x="1849" y="545"/>
                </a:lnTo>
                <a:close/>
                <a:moveTo>
                  <a:pt x="1852" y="543"/>
                </a:moveTo>
                <a:lnTo>
                  <a:pt x="1851" y="543"/>
                </a:lnTo>
                <a:lnTo>
                  <a:pt x="1851" y="543"/>
                </a:lnTo>
                <a:lnTo>
                  <a:pt x="1852" y="543"/>
                </a:lnTo>
                <a:close/>
                <a:moveTo>
                  <a:pt x="1881" y="567"/>
                </a:moveTo>
                <a:lnTo>
                  <a:pt x="1875" y="567"/>
                </a:lnTo>
                <a:lnTo>
                  <a:pt x="1881" y="568"/>
                </a:lnTo>
                <a:lnTo>
                  <a:pt x="1879" y="569"/>
                </a:lnTo>
                <a:lnTo>
                  <a:pt x="1879" y="571"/>
                </a:lnTo>
                <a:lnTo>
                  <a:pt x="1886" y="571"/>
                </a:lnTo>
                <a:lnTo>
                  <a:pt x="1885" y="567"/>
                </a:lnTo>
                <a:lnTo>
                  <a:pt x="1881" y="567"/>
                </a:lnTo>
                <a:close/>
                <a:moveTo>
                  <a:pt x="1934" y="656"/>
                </a:moveTo>
                <a:lnTo>
                  <a:pt x="1935" y="656"/>
                </a:lnTo>
                <a:lnTo>
                  <a:pt x="1934" y="656"/>
                </a:lnTo>
                <a:lnTo>
                  <a:pt x="1934" y="656"/>
                </a:lnTo>
                <a:close/>
                <a:moveTo>
                  <a:pt x="1891" y="629"/>
                </a:moveTo>
                <a:lnTo>
                  <a:pt x="1895" y="628"/>
                </a:lnTo>
                <a:lnTo>
                  <a:pt x="1891" y="628"/>
                </a:lnTo>
                <a:lnTo>
                  <a:pt x="1891" y="629"/>
                </a:lnTo>
                <a:close/>
                <a:moveTo>
                  <a:pt x="2003" y="620"/>
                </a:moveTo>
                <a:lnTo>
                  <a:pt x="2000" y="619"/>
                </a:lnTo>
                <a:lnTo>
                  <a:pt x="2000" y="620"/>
                </a:lnTo>
                <a:lnTo>
                  <a:pt x="2003" y="620"/>
                </a:lnTo>
                <a:close/>
                <a:moveTo>
                  <a:pt x="1935" y="656"/>
                </a:moveTo>
                <a:lnTo>
                  <a:pt x="1935" y="656"/>
                </a:lnTo>
                <a:lnTo>
                  <a:pt x="1935" y="656"/>
                </a:lnTo>
                <a:lnTo>
                  <a:pt x="1935" y="656"/>
                </a:lnTo>
                <a:close/>
                <a:moveTo>
                  <a:pt x="2000" y="620"/>
                </a:moveTo>
                <a:lnTo>
                  <a:pt x="2000" y="620"/>
                </a:lnTo>
                <a:lnTo>
                  <a:pt x="1997" y="620"/>
                </a:lnTo>
                <a:lnTo>
                  <a:pt x="2000" y="620"/>
                </a:lnTo>
                <a:close/>
                <a:moveTo>
                  <a:pt x="1897" y="628"/>
                </a:moveTo>
                <a:lnTo>
                  <a:pt x="1898" y="628"/>
                </a:lnTo>
                <a:lnTo>
                  <a:pt x="1895" y="628"/>
                </a:lnTo>
                <a:lnTo>
                  <a:pt x="1897" y="628"/>
                </a:lnTo>
                <a:close/>
                <a:moveTo>
                  <a:pt x="1898" y="628"/>
                </a:moveTo>
                <a:lnTo>
                  <a:pt x="1899" y="625"/>
                </a:lnTo>
                <a:lnTo>
                  <a:pt x="1898" y="628"/>
                </a:lnTo>
                <a:lnTo>
                  <a:pt x="1898" y="628"/>
                </a:lnTo>
                <a:close/>
                <a:moveTo>
                  <a:pt x="2087" y="536"/>
                </a:moveTo>
                <a:lnTo>
                  <a:pt x="2086" y="536"/>
                </a:lnTo>
                <a:lnTo>
                  <a:pt x="2090" y="535"/>
                </a:lnTo>
                <a:lnTo>
                  <a:pt x="2088" y="535"/>
                </a:lnTo>
                <a:lnTo>
                  <a:pt x="2087" y="535"/>
                </a:lnTo>
                <a:lnTo>
                  <a:pt x="2087" y="536"/>
                </a:lnTo>
                <a:lnTo>
                  <a:pt x="2087" y="536"/>
                </a:lnTo>
                <a:close/>
                <a:moveTo>
                  <a:pt x="4639" y="1940"/>
                </a:moveTo>
                <a:lnTo>
                  <a:pt x="4636" y="1940"/>
                </a:lnTo>
                <a:lnTo>
                  <a:pt x="4634" y="1941"/>
                </a:lnTo>
                <a:lnTo>
                  <a:pt x="4633" y="1942"/>
                </a:lnTo>
                <a:lnTo>
                  <a:pt x="4632" y="1944"/>
                </a:lnTo>
                <a:lnTo>
                  <a:pt x="4632" y="1945"/>
                </a:lnTo>
                <a:lnTo>
                  <a:pt x="4637" y="1945"/>
                </a:lnTo>
                <a:lnTo>
                  <a:pt x="4637" y="1941"/>
                </a:lnTo>
                <a:lnTo>
                  <a:pt x="4639" y="1941"/>
                </a:lnTo>
                <a:lnTo>
                  <a:pt x="4639" y="1940"/>
                </a:lnTo>
                <a:close/>
                <a:moveTo>
                  <a:pt x="4395" y="1820"/>
                </a:moveTo>
                <a:lnTo>
                  <a:pt x="4393" y="1820"/>
                </a:lnTo>
                <a:lnTo>
                  <a:pt x="4393" y="1820"/>
                </a:lnTo>
                <a:lnTo>
                  <a:pt x="4395" y="1820"/>
                </a:lnTo>
                <a:lnTo>
                  <a:pt x="4392" y="1817"/>
                </a:lnTo>
                <a:lnTo>
                  <a:pt x="4389" y="1820"/>
                </a:lnTo>
                <a:lnTo>
                  <a:pt x="4388" y="1820"/>
                </a:lnTo>
                <a:lnTo>
                  <a:pt x="4382" y="1820"/>
                </a:lnTo>
                <a:lnTo>
                  <a:pt x="4379" y="1820"/>
                </a:lnTo>
                <a:lnTo>
                  <a:pt x="4377" y="1820"/>
                </a:lnTo>
                <a:lnTo>
                  <a:pt x="4367" y="1816"/>
                </a:lnTo>
                <a:lnTo>
                  <a:pt x="4363" y="1816"/>
                </a:lnTo>
                <a:lnTo>
                  <a:pt x="4359" y="1815"/>
                </a:lnTo>
                <a:lnTo>
                  <a:pt x="4354" y="1818"/>
                </a:lnTo>
                <a:lnTo>
                  <a:pt x="4349" y="1820"/>
                </a:lnTo>
                <a:lnTo>
                  <a:pt x="4349" y="1820"/>
                </a:lnTo>
                <a:lnTo>
                  <a:pt x="4349" y="1822"/>
                </a:lnTo>
                <a:lnTo>
                  <a:pt x="4348" y="1824"/>
                </a:lnTo>
                <a:lnTo>
                  <a:pt x="4349" y="1824"/>
                </a:lnTo>
                <a:lnTo>
                  <a:pt x="4349" y="1821"/>
                </a:lnTo>
                <a:lnTo>
                  <a:pt x="4351" y="1822"/>
                </a:lnTo>
                <a:lnTo>
                  <a:pt x="4353" y="1824"/>
                </a:lnTo>
                <a:lnTo>
                  <a:pt x="4362" y="1824"/>
                </a:lnTo>
                <a:lnTo>
                  <a:pt x="4366" y="1827"/>
                </a:lnTo>
                <a:lnTo>
                  <a:pt x="4369" y="1829"/>
                </a:lnTo>
                <a:lnTo>
                  <a:pt x="4374" y="1829"/>
                </a:lnTo>
                <a:lnTo>
                  <a:pt x="4374" y="1826"/>
                </a:lnTo>
                <a:lnTo>
                  <a:pt x="4375" y="1824"/>
                </a:lnTo>
                <a:lnTo>
                  <a:pt x="4380" y="1826"/>
                </a:lnTo>
                <a:lnTo>
                  <a:pt x="4388" y="1823"/>
                </a:lnTo>
                <a:lnTo>
                  <a:pt x="4395" y="1820"/>
                </a:lnTo>
                <a:close/>
                <a:moveTo>
                  <a:pt x="4321" y="1816"/>
                </a:moveTo>
                <a:lnTo>
                  <a:pt x="4320" y="1816"/>
                </a:lnTo>
                <a:lnTo>
                  <a:pt x="4321" y="1816"/>
                </a:lnTo>
                <a:lnTo>
                  <a:pt x="4321" y="1816"/>
                </a:lnTo>
                <a:close/>
                <a:moveTo>
                  <a:pt x="4401" y="1819"/>
                </a:moveTo>
                <a:lnTo>
                  <a:pt x="4401" y="1816"/>
                </a:lnTo>
                <a:lnTo>
                  <a:pt x="4399" y="1816"/>
                </a:lnTo>
                <a:lnTo>
                  <a:pt x="4397" y="1819"/>
                </a:lnTo>
                <a:lnTo>
                  <a:pt x="4400" y="1819"/>
                </a:lnTo>
                <a:lnTo>
                  <a:pt x="4401" y="1819"/>
                </a:lnTo>
                <a:close/>
                <a:moveTo>
                  <a:pt x="4395" y="1820"/>
                </a:moveTo>
                <a:lnTo>
                  <a:pt x="4397" y="1820"/>
                </a:lnTo>
                <a:lnTo>
                  <a:pt x="4397" y="1819"/>
                </a:lnTo>
                <a:lnTo>
                  <a:pt x="4397" y="1819"/>
                </a:lnTo>
                <a:lnTo>
                  <a:pt x="4395" y="1820"/>
                </a:lnTo>
                <a:lnTo>
                  <a:pt x="4396" y="1820"/>
                </a:lnTo>
                <a:lnTo>
                  <a:pt x="4395" y="1820"/>
                </a:lnTo>
                <a:close/>
                <a:moveTo>
                  <a:pt x="4380" y="1850"/>
                </a:moveTo>
                <a:lnTo>
                  <a:pt x="4381" y="1850"/>
                </a:lnTo>
                <a:lnTo>
                  <a:pt x="4382" y="1849"/>
                </a:lnTo>
                <a:lnTo>
                  <a:pt x="4382" y="1849"/>
                </a:lnTo>
                <a:lnTo>
                  <a:pt x="4381" y="1849"/>
                </a:lnTo>
                <a:lnTo>
                  <a:pt x="4381" y="1849"/>
                </a:lnTo>
                <a:lnTo>
                  <a:pt x="4380" y="1850"/>
                </a:lnTo>
                <a:close/>
                <a:moveTo>
                  <a:pt x="4320" y="1816"/>
                </a:moveTo>
                <a:lnTo>
                  <a:pt x="4320" y="1816"/>
                </a:lnTo>
                <a:lnTo>
                  <a:pt x="4320" y="1816"/>
                </a:lnTo>
                <a:lnTo>
                  <a:pt x="4320" y="1816"/>
                </a:lnTo>
                <a:close/>
                <a:moveTo>
                  <a:pt x="4319" y="1817"/>
                </a:moveTo>
                <a:lnTo>
                  <a:pt x="4319" y="1816"/>
                </a:lnTo>
                <a:lnTo>
                  <a:pt x="4319" y="1816"/>
                </a:lnTo>
                <a:lnTo>
                  <a:pt x="4317" y="1816"/>
                </a:lnTo>
                <a:lnTo>
                  <a:pt x="4317" y="1818"/>
                </a:lnTo>
                <a:lnTo>
                  <a:pt x="4319" y="1819"/>
                </a:lnTo>
                <a:lnTo>
                  <a:pt x="4319" y="1817"/>
                </a:lnTo>
                <a:close/>
                <a:moveTo>
                  <a:pt x="4320" y="1816"/>
                </a:moveTo>
                <a:lnTo>
                  <a:pt x="4320" y="1816"/>
                </a:lnTo>
                <a:lnTo>
                  <a:pt x="4319" y="1816"/>
                </a:lnTo>
                <a:lnTo>
                  <a:pt x="4319" y="1816"/>
                </a:lnTo>
                <a:lnTo>
                  <a:pt x="4320" y="1816"/>
                </a:lnTo>
                <a:lnTo>
                  <a:pt x="4320" y="1816"/>
                </a:lnTo>
                <a:close/>
                <a:moveTo>
                  <a:pt x="4401" y="1819"/>
                </a:moveTo>
                <a:lnTo>
                  <a:pt x="4401" y="1819"/>
                </a:lnTo>
                <a:lnTo>
                  <a:pt x="4401" y="1819"/>
                </a:lnTo>
                <a:lnTo>
                  <a:pt x="4401" y="1819"/>
                </a:lnTo>
                <a:close/>
                <a:moveTo>
                  <a:pt x="4405" y="1937"/>
                </a:moveTo>
                <a:lnTo>
                  <a:pt x="4405" y="1938"/>
                </a:lnTo>
                <a:lnTo>
                  <a:pt x="4408" y="1938"/>
                </a:lnTo>
                <a:lnTo>
                  <a:pt x="4411" y="1937"/>
                </a:lnTo>
                <a:lnTo>
                  <a:pt x="4408" y="1937"/>
                </a:lnTo>
                <a:lnTo>
                  <a:pt x="4405" y="1937"/>
                </a:lnTo>
                <a:close/>
                <a:moveTo>
                  <a:pt x="4393" y="1816"/>
                </a:moveTo>
                <a:lnTo>
                  <a:pt x="4394" y="1816"/>
                </a:lnTo>
                <a:lnTo>
                  <a:pt x="4394" y="1816"/>
                </a:lnTo>
                <a:lnTo>
                  <a:pt x="4395" y="1815"/>
                </a:lnTo>
                <a:lnTo>
                  <a:pt x="4396" y="1813"/>
                </a:lnTo>
                <a:lnTo>
                  <a:pt x="4394" y="1815"/>
                </a:lnTo>
                <a:lnTo>
                  <a:pt x="4396" y="1812"/>
                </a:lnTo>
                <a:lnTo>
                  <a:pt x="4396" y="1812"/>
                </a:lnTo>
                <a:lnTo>
                  <a:pt x="4396" y="1812"/>
                </a:lnTo>
                <a:lnTo>
                  <a:pt x="4393" y="1812"/>
                </a:lnTo>
                <a:lnTo>
                  <a:pt x="4393" y="1815"/>
                </a:lnTo>
                <a:lnTo>
                  <a:pt x="4392" y="1816"/>
                </a:lnTo>
                <a:lnTo>
                  <a:pt x="4392" y="1817"/>
                </a:lnTo>
                <a:lnTo>
                  <a:pt x="4393" y="1816"/>
                </a:lnTo>
                <a:lnTo>
                  <a:pt x="4393" y="1816"/>
                </a:lnTo>
                <a:close/>
                <a:moveTo>
                  <a:pt x="4427" y="1912"/>
                </a:moveTo>
                <a:lnTo>
                  <a:pt x="4428" y="1913"/>
                </a:lnTo>
                <a:lnTo>
                  <a:pt x="4430" y="1914"/>
                </a:lnTo>
                <a:lnTo>
                  <a:pt x="4430" y="1914"/>
                </a:lnTo>
                <a:lnTo>
                  <a:pt x="4430" y="1910"/>
                </a:lnTo>
                <a:lnTo>
                  <a:pt x="4430" y="1910"/>
                </a:lnTo>
                <a:lnTo>
                  <a:pt x="4428" y="1911"/>
                </a:lnTo>
                <a:lnTo>
                  <a:pt x="4427" y="1912"/>
                </a:lnTo>
                <a:close/>
                <a:moveTo>
                  <a:pt x="4409" y="1812"/>
                </a:moveTo>
                <a:lnTo>
                  <a:pt x="4408" y="1812"/>
                </a:lnTo>
                <a:lnTo>
                  <a:pt x="4409" y="1813"/>
                </a:lnTo>
                <a:lnTo>
                  <a:pt x="4409" y="1813"/>
                </a:lnTo>
                <a:lnTo>
                  <a:pt x="4409" y="1812"/>
                </a:lnTo>
                <a:close/>
                <a:moveTo>
                  <a:pt x="4317" y="1818"/>
                </a:moveTo>
                <a:lnTo>
                  <a:pt x="4316" y="1818"/>
                </a:lnTo>
                <a:lnTo>
                  <a:pt x="4314" y="1816"/>
                </a:lnTo>
                <a:lnTo>
                  <a:pt x="4308" y="1820"/>
                </a:lnTo>
                <a:lnTo>
                  <a:pt x="4308" y="1822"/>
                </a:lnTo>
                <a:lnTo>
                  <a:pt x="4307" y="1826"/>
                </a:lnTo>
                <a:lnTo>
                  <a:pt x="4310" y="1827"/>
                </a:lnTo>
                <a:lnTo>
                  <a:pt x="4312" y="1829"/>
                </a:lnTo>
                <a:lnTo>
                  <a:pt x="4313" y="1829"/>
                </a:lnTo>
                <a:lnTo>
                  <a:pt x="4315" y="1829"/>
                </a:lnTo>
                <a:lnTo>
                  <a:pt x="4316" y="1829"/>
                </a:lnTo>
                <a:lnTo>
                  <a:pt x="4321" y="1826"/>
                </a:lnTo>
                <a:lnTo>
                  <a:pt x="4325" y="1824"/>
                </a:lnTo>
                <a:lnTo>
                  <a:pt x="4317" y="1819"/>
                </a:lnTo>
                <a:lnTo>
                  <a:pt x="4317" y="1818"/>
                </a:lnTo>
                <a:close/>
                <a:moveTo>
                  <a:pt x="4401" y="1819"/>
                </a:moveTo>
                <a:lnTo>
                  <a:pt x="4401" y="1819"/>
                </a:lnTo>
                <a:lnTo>
                  <a:pt x="4403" y="1820"/>
                </a:lnTo>
                <a:lnTo>
                  <a:pt x="4411" y="1815"/>
                </a:lnTo>
                <a:lnTo>
                  <a:pt x="4409" y="1814"/>
                </a:lnTo>
                <a:lnTo>
                  <a:pt x="4409" y="1813"/>
                </a:lnTo>
                <a:lnTo>
                  <a:pt x="4408" y="1814"/>
                </a:lnTo>
                <a:lnTo>
                  <a:pt x="4407" y="1816"/>
                </a:lnTo>
                <a:lnTo>
                  <a:pt x="4406" y="1816"/>
                </a:lnTo>
                <a:lnTo>
                  <a:pt x="4404" y="1816"/>
                </a:lnTo>
                <a:lnTo>
                  <a:pt x="4404" y="1816"/>
                </a:lnTo>
                <a:lnTo>
                  <a:pt x="4403" y="1816"/>
                </a:lnTo>
                <a:lnTo>
                  <a:pt x="4402" y="1816"/>
                </a:lnTo>
                <a:lnTo>
                  <a:pt x="4404" y="1817"/>
                </a:lnTo>
                <a:lnTo>
                  <a:pt x="4401" y="1819"/>
                </a:lnTo>
                <a:close/>
                <a:moveTo>
                  <a:pt x="4402" y="1816"/>
                </a:moveTo>
                <a:lnTo>
                  <a:pt x="4401" y="1815"/>
                </a:lnTo>
                <a:lnTo>
                  <a:pt x="4401" y="1816"/>
                </a:lnTo>
                <a:lnTo>
                  <a:pt x="4402" y="1816"/>
                </a:lnTo>
                <a:lnTo>
                  <a:pt x="4402" y="1816"/>
                </a:lnTo>
                <a:close/>
                <a:moveTo>
                  <a:pt x="4401" y="1820"/>
                </a:moveTo>
                <a:lnTo>
                  <a:pt x="4401" y="1819"/>
                </a:lnTo>
                <a:lnTo>
                  <a:pt x="4400" y="1820"/>
                </a:lnTo>
                <a:lnTo>
                  <a:pt x="4401" y="1820"/>
                </a:lnTo>
                <a:close/>
                <a:moveTo>
                  <a:pt x="4393" y="1762"/>
                </a:moveTo>
                <a:lnTo>
                  <a:pt x="4393" y="1765"/>
                </a:lnTo>
                <a:lnTo>
                  <a:pt x="4395" y="1760"/>
                </a:lnTo>
                <a:lnTo>
                  <a:pt x="4399" y="1758"/>
                </a:lnTo>
                <a:lnTo>
                  <a:pt x="4398" y="1759"/>
                </a:lnTo>
                <a:lnTo>
                  <a:pt x="4397" y="1760"/>
                </a:lnTo>
                <a:lnTo>
                  <a:pt x="4397" y="1762"/>
                </a:lnTo>
                <a:lnTo>
                  <a:pt x="4399" y="1763"/>
                </a:lnTo>
                <a:lnTo>
                  <a:pt x="4400" y="1764"/>
                </a:lnTo>
                <a:lnTo>
                  <a:pt x="4400" y="1764"/>
                </a:lnTo>
                <a:lnTo>
                  <a:pt x="4397" y="1764"/>
                </a:lnTo>
                <a:lnTo>
                  <a:pt x="4397" y="1763"/>
                </a:lnTo>
                <a:lnTo>
                  <a:pt x="4395" y="1768"/>
                </a:lnTo>
                <a:lnTo>
                  <a:pt x="4398" y="1770"/>
                </a:lnTo>
                <a:lnTo>
                  <a:pt x="4400" y="1771"/>
                </a:lnTo>
                <a:lnTo>
                  <a:pt x="4397" y="1772"/>
                </a:lnTo>
                <a:lnTo>
                  <a:pt x="4393" y="1773"/>
                </a:lnTo>
                <a:lnTo>
                  <a:pt x="4393" y="1776"/>
                </a:lnTo>
                <a:lnTo>
                  <a:pt x="4393" y="1776"/>
                </a:lnTo>
                <a:lnTo>
                  <a:pt x="4391" y="1775"/>
                </a:lnTo>
                <a:lnTo>
                  <a:pt x="4391" y="1776"/>
                </a:lnTo>
                <a:lnTo>
                  <a:pt x="4388" y="1776"/>
                </a:lnTo>
                <a:lnTo>
                  <a:pt x="4389" y="1772"/>
                </a:lnTo>
                <a:lnTo>
                  <a:pt x="4389" y="1768"/>
                </a:lnTo>
                <a:lnTo>
                  <a:pt x="4388" y="1766"/>
                </a:lnTo>
                <a:lnTo>
                  <a:pt x="4388" y="1764"/>
                </a:lnTo>
                <a:lnTo>
                  <a:pt x="4391" y="1763"/>
                </a:lnTo>
                <a:lnTo>
                  <a:pt x="4393" y="1762"/>
                </a:lnTo>
                <a:close/>
                <a:moveTo>
                  <a:pt x="4392" y="1768"/>
                </a:moveTo>
                <a:lnTo>
                  <a:pt x="4389" y="1770"/>
                </a:lnTo>
                <a:lnTo>
                  <a:pt x="4389" y="1770"/>
                </a:lnTo>
                <a:lnTo>
                  <a:pt x="4392" y="1768"/>
                </a:lnTo>
                <a:close/>
                <a:moveTo>
                  <a:pt x="4401" y="1845"/>
                </a:moveTo>
                <a:lnTo>
                  <a:pt x="4402" y="1845"/>
                </a:lnTo>
                <a:lnTo>
                  <a:pt x="4401" y="1845"/>
                </a:lnTo>
                <a:lnTo>
                  <a:pt x="4401" y="1845"/>
                </a:lnTo>
                <a:close/>
                <a:moveTo>
                  <a:pt x="4399" y="1745"/>
                </a:moveTo>
                <a:lnTo>
                  <a:pt x="4399" y="1747"/>
                </a:lnTo>
                <a:lnTo>
                  <a:pt x="4399" y="1747"/>
                </a:lnTo>
                <a:lnTo>
                  <a:pt x="4400" y="1746"/>
                </a:lnTo>
                <a:lnTo>
                  <a:pt x="4400" y="1745"/>
                </a:lnTo>
                <a:lnTo>
                  <a:pt x="4399" y="1745"/>
                </a:lnTo>
                <a:close/>
                <a:moveTo>
                  <a:pt x="4396" y="1712"/>
                </a:moveTo>
                <a:lnTo>
                  <a:pt x="4394" y="1716"/>
                </a:lnTo>
                <a:lnTo>
                  <a:pt x="4396" y="1717"/>
                </a:lnTo>
                <a:lnTo>
                  <a:pt x="4399" y="1714"/>
                </a:lnTo>
                <a:lnTo>
                  <a:pt x="4400" y="1714"/>
                </a:lnTo>
                <a:lnTo>
                  <a:pt x="4400" y="1714"/>
                </a:lnTo>
                <a:lnTo>
                  <a:pt x="4400" y="1718"/>
                </a:lnTo>
                <a:lnTo>
                  <a:pt x="4400" y="1720"/>
                </a:lnTo>
                <a:lnTo>
                  <a:pt x="4400" y="1720"/>
                </a:lnTo>
                <a:lnTo>
                  <a:pt x="4400" y="1720"/>
                </a:lnTo>
                <a:lnTo>
                  <a:pt x="4400" y="1720"/>
                </a:lnTo>
                <a:lnTo>
                  <a:pt x="4402" y="1716"/>
                </a:lnTo>
                <a:lnTo>
                  <a:pt x="4403" y="1716"/>
                </a:lnTo>
                <a:lnTo>
                  <a:pt x="4404" y="1714"/>
                </a:lnTo>
                <a:lnTo>
                  <a:pt x="4404" y="1712"/>
                </a:lnTo>
                <a:lnTo>
                  <a:pt x="4403" y="1712"/>
                </a:lnTo>
                <a:lnTo>
                  <a:pt x="4400" y="1713"/>
                </a:lnTo>
                <a:lnTo>
                  <a:pt x="4397" y="1713"/>
                </a:lnTo>
                <a:lnTo>
                  <a:pt x="4397" y="1712"/>
                </a:lnTo>
                <a:lnTo>
                  <a:pt x="4396" y="1712"/>
                </a:lnTo>
                <a:close/>
                <a:moveTo>
                  <a:pt x="4397" y="1752"/>
                </a:moveTo>
                <a:lnTo>
                  <a:pt x="4399" y="1754"/>
                </a:lnTo>
                <a:lnTo>
                  <a:pt x="4400" y="1755"/>
                </a:lnTo>
                <a:lnTo>
                  <a:pt x="4402" y="1752"/>
                </a:lnTo>
                <a:lnTo>
                  <a:pt x="4401" y="1752"/>
                </a:lnTo>
                <a:lnTo>
                  <a:pt x="4399" y="1751"/>
                </a:lnTo>
                <a:lnTo>
                  <a:pt x="4397" y="1752"/>
                </a:lnTo>
                <a:close/>
                <a:moveTo>
                  <a:pt x="4410" y="1721"/>
                </a:moveTo>
                <a:lnTo>
                  <a:pt x="4408" y="1721"/>
                </a:lnTo>
                <a:lnTo>
                  <a:pt x="4410" y="1722"/>
                </a:lnTo>
                <a:lnTo>
                  <a:pt x="4410" y="1721"/>
                </a:lnTo>
                <a:close/>
                <a:moveTo>
                  <a:pt x="4440" y="1641"/>
                </a:moveTo>
                <a:lnTo>
                  <a:pt x="4439" y="1640"/>
                </a:lnTo>
                <a:lnTo>
                  <a:pt x="4438" y="1638"/>
                </a:lnTo>
                <a:lnTo>
                  <a:pt x="4436" y="1638"/>
                </a:lnTo>
                <a:lnTo>
                  <a:pt x="4438" y="1643"/>
                </a:lnTo>
                <a:lnTo>
                  <a:pt x="4439" y="1642"/>
                </a:lnTo>
                <a:lnTo>
                  <a:pt x="4440" y="1641"/>
                </a:lnTo>
                <a:close/>
                <a:moveTo>
                  <a:pt x="4416" y="1813"/>
                </a:moveTo>
                <a:lnTo>
                  <a:pt x="4414" y="1816"/>
                </a:lnTo>
                <a:lnTo>
                  <a:pt x="4411" y="1816"/>
                </a:lnTo>
                <a:lnTo>
                  <a:pt x="4412" y="1818"/>
                </a:lnTo>
                <a:lnTo>
                  <a:pt x="4414" y="1820"/>
                </a:lnTo>
                <a:lnTo>
                  <a:pt x="4416" y="1813"/>
                </a:lnTo>
                <a:close/>
                <a:moveTo>
                  <a:pt x="4429" y="1720"/>
                </a:moveTo>
                <a:lnTo>
                  <a:pt x="4418" y="1720"/>
                </a:lnTo>
                <a:lnTo>
                  <a:pt x="4416" y="1721"/>
                </a:lnTo>
                <a:lnTo>
                  <a:pt x="4418" y="1723"/>
                </a:lnTo>
                <a:lnTo>
                  <a:pt x="4421" y="1723"/>
                </a:lnTo>
                <a:lnTo>
                  <a:pt x="4424" y="1724"/>
                </a:lnTo>
                <a:lnTo>
                  <a:pt x="4430" y="1724"/>
                </a:lnTo>
                <a:lnTo>
                  <a:pt x="4434" y="1724"/>
                </a:lnTo>
                <a:lnTo>
                  <a:pt x="4440" y="1722"/>
                </a:lnTo>
                <a:lnTo>
                  <a:pt x="4439" y="1723"/>
                </a:lnTo>
                <a:lnTo>
                  <a:pt x="4438" y="1725"/>
                </a:lnTo>
                <a:lnTo>
                  <a:pt x="4441" y="1729"/>
                </a:lnTo>
                <a:lnTo>
                  <a:pt x="4441" y="1725"/>
                </a:lnTo>
                <a:lnTo>
                  <a:pt x="4440" y="1722"/>
                </a:lnTo>
                <a:lnTo>
                  <a:pt x="4447" y="1720"/>
                </a:lnTo>
                <a:lnTo>
                  <a:pt x="4432" y="1720"/>
                </a:lnTo>
                <a:lnTo>
                  <a:pt x="4429" y="1721"/>
                </a:lnTo>
                <a:lnTo>
                  <a:pt x="4429" y="1720"/>
                </a:lnTo>
                <a:lnTo>
                  <a:pt x="4429" y="1720"/>
                </a:lnTo>
                <a:close/>
                <a:moveTo>
                  <a:pt x="4385" y="1773"/>
                </a:moveTo>
                <a:lnTo>
                  <a:pt x="4384" y="1770"/>
                </a:lnTo>
                <a:lnTo>
                  <a:pt x="4382" y="1768"/>
                </a:lnTo>
                <a:lnTo>
                  <a:pt x="4381" y="1768"/>
                </a:lnTo>
                <a:lnTo>
                  <a:pt x="4381" y="1770"/>
                </a:lnTo>
                <a:lnTo>
                  <a:pt x="4380" y="1771"/>
                </a:lnTo>
                <a:lnTo>
                  <a:pt x="4382" y="1773"/>
                </a:lnTo>
                <a:lnTo>
                  <a:pt x="4385" y="1773"/>
                </a:lnTo>
                <a:close/>
                <a:moveTo>
                  <a:pt x="4349" y="1841"/>
                </a:moveTo>
                <a:lnTo>
                  <a:pt x="4359" y="1845"/>
                </a:lnTo>
                <a:lnTo>
                  <a:pt x="4363" y="1845"/>
                </a:lnTo>
                <a:lnTo>
                  <a:pt x="4367" y="1844"/>
                </a:lnTo>
                <a:lnTo>
                  <a:pt x="4365" y="1840"/>
                </a:lnTo>
                <a:lnTo>
                  <a:pt x="4362" y="1837"/>
                </a:lnTo>
                <a:lnTo>
                  <a:pt x="4360" y="1835"/>
                </a:lnTo>
                <a:lnTo>
                  <a:pt x="4357" y="1837"/>
                </a:lnTo>
                <a:lnTo>
                  <a:pt x="4357" y="1833"/>
                </a:lnTo>
                <a:lnTo>
                  <a:pt x="4352" y="1831"/>
                </a:lnTo>
                <a:lnTo>
                  <a:pt x="4352" y="1832"/>
                </a:lnTo>
                <a:lnTo>
                  <a:pt x="4352" y="1833"/>
                </a:lnTo>
                <a:lnTo>
                  <a:pt x="4344" y="1833"/>
                </a:lnTo>
                <a:lnTo>
                  <a:pt x="4340" y="1834"/>
                </a:lnTo>
                <a:lnTo>
                  <a:pt x="4339" y="1836"/>
                </a:lnTo>
                <a:lnTo>
                  <a:pt x="4344" y="1841"/>
                </a:lnTo>
                <a:lnTo>
                  <a:pt x="4349" y="1841"/>
                </a:lnTo>
                <a:close/>
                <a:moveTo>
                  <a:pt x="4443" y="1828"/>
                </a:moveTo>
                <a:lnTo>
                  <a:pt x="4446" y="1827"/>
                </a:lnTo>
                <a:lnTo>
                  <a:pt x="4448" y="1826"/>
                </a:lnTo>
                <a:lnTo>
                  <a:pt x="4449" y="1824"/>
                </a:lnTo>
                <a:lnTo>
                  <a:pt x="4449" y="1823"/>
                </a:lnTo>
                <a:lnTo>
                  <a:pt x="4452" y="1822"/>
                </a:lnTo>
                <a:lnTo>
                  <a:pt x="4456" y="1821"/>
                </a:lnTo>
                <a:lnTo>
                  <a:pt x="4457" y="1819"/>
                </a:lnTo>
                <a:lnTo>
                  <a:pt x="4458" y="1816"/>
                </a:lnTo>
                <a:lnTo>
                  <a:pt x="4457" y="1816"/>
                </a:lnTo>
                <a:lnTo>
                  <a:pt x="4456" y="1815"/>
                </a:lnTo>
                <a:lnTo>
                  <a:pt x="4452" y="1817"/>
                </a:lnTo>
                <a:lnTo>
                  <a:pt x="4449" y="1819"/>
                </a:lnTo>
                <a:lnTo>
                  <a:pt x="4447" y="1816"/>
                </a:lnTo>
                <a:lnTo>
                  <a:pt x="4438" y="1818"/>
                </a:lnTo>
                <a:lnTo>
                  <a:pt x="4429" y="1820"/>
                </a:lnTo>
                <a:lnTo>
                  <a:pt x="4425" y="1826"/>
                </a:lnTo>
                <a:lnTo>
                  <a:pt x="4421" y="1829"/>
                </a:lnTo>
                <a:lnTo>
                  <a:pt x="4414" y="1832"/>
                </a:lnTo>
                <a:lnTo>
                  <a:pt x="4410" y="1835"/>
                </a:lnTo>
                <a:lnTo>
                  <a:pt x="4407" y="1837"/>
                </a:lnTo>
                <a:lnTo>
                  <a:pt x="4406" y="1840"/>
                </a:lnTo>
                <a:lnTo>
                  <a:pt x="4404" y="1843"/>
                </a:lnTo>
                <a:lnTo>
                  <a:pt x="4408" y="1844"/>
                </a:lnTo>
                <a:lnTo>
                  <a:pt x="4404" y="1845"/>
                </a:lnTo>
                <a:lnTo>
                  <a:pt x="4404" y="1844"/>
                </a:lnTo>
                <a:lnTo>
                  <a:pt x="4403" y="1844"/>
                </a:lnTo>
                <a:lnTo>
                  <a:pt x="4402" y="1845"/>
                </a:lnTo>
                <a:lnTo>
                  <a:pt x="4401" y="1846"/>
                </a:lnTo>
                <a:lnTo>
                  <a:pt x="4401" y="1849"/>
                </a:lnTo>
                <a:lnTo>
                  <a:pt x="4403" y="1849"/>
                </a:lnTo>
                <a:lnTo>
                  <a:pt x="4397" y="1854"/>
                </a:lnTo>
                <a:lnTo>
                  <a:pt x="4397" y="1855"/>
                </a:lnTo>
                <a:lnTo>
                  <a:pt x="4399" y="1855"/>
                </a:lnTo>
                <a:lnTo>
                  <a:pt x="4401" y="1854"/>
                </a:lnTo>
                <a:lnTo>
                  <a:pt x="4403" y="1853"/>
                </a:lnTo>
                <a:lnTo>
                  <a:pt x="4405" y="1851"/>
                </a:lnTo>
                <a:lnTo>
                  <a:pt x="4405" y="1849"/>
                </a:lnTo>
                <a:lnTo>
                  <a:pt x="4410" y="1849"/>
                </a:lnTo>
                <a:lnTo>
                  <a:pt x="4414" y="1845"/>
                </a:lnTo>
                <a:lnTo>
                  <a:pt x="4418" y="1845"/>
                </a:lnTo>
                <a:lnTo>
                  <a:pt x="4425" y="1838"/>
                </a:lnTo>
                <a:lnTo>
                  <a:pt x="4427" y="1834"/>
                </a:lnTo>
                <a:lnTo>
                  <a:pt x="4429" y="1832"/>
                </a:lnTo>
                <a:lnTo>
                  <a:pt x="4432" y="1831"/>
                </a:lnTo>
                <a:lnTo>
                  <a:pt x="4443" y="1828"/>
                </a:lnTo>
                <a:close/>
                <a:moveTo>
                  <a:pt x="4320" y="1816"/>
                </a:moveTo>
                <a:lnTo>
                  <a:pt x="4321" y="1816"/>
                </a:lnTo>
                <a:lnTo>
                  <a:pt x="4322" y="1816"/>
                </a:lnTo>
                <a:lnTo>
                  <a:pt x="4321" y="1815"/>
                </a:lnTo>
                <a:lnTo>
                  <a:pt x="4321" y="1813"/>
                </a:lnTo>
                <a:lnTo>
                  <a:pt x="4320" y="1816"/>
                </a:lnTo>
                <a:close/>
                <a:moveTo>
                  <a:pt x="4360" y="1788"/>
                </a:moveTo>
                <a:lnTo>
                  <a:pt x="4362" y="1782"/>
                </a:lnTo>
                <a:lnTo>
                  <a:pt x="4360" y="1780"/>
                </a:lnTo>
                <a:lnTo>
                  <a:pt x="4360" y="1780"/>
                </a:lnTo>
                <a:lnTo>
                  <a:pt x="4357" y="1780"/>
                </a:lnTo>
                <a:lnTo>
                  <a:pt x="4357" y="1788"/>
                </a:lnTo>
                <a:lnTo>
                  <a:pt x="4360" y="1788"/>
                </a:lnTo>
                <a:lnTo>
                  <a:pt x="4360" y="1788"/>
                </a:lnTo>
                <a:close/>
                <a:moveTo>
                  <a:pt x="4348" y="1820"/>
                </a:moveTo>
                <a:lnTo>
                  <a:pt x="4348" y="1818"/>
                </a:lnTo>
                <a:lnTo>
                  <a:pt x="4347" y="1816"/>
                </a:lnTo>
                <a:lnTo>
                  <a:pt x="4345" y="1821"/>
                </a:lnTo>
                <a:lnTo>
                  <a:pt x="4347" y="1821"/>
                </a:lnTo>
                <a:lnTo>
                  <a:pt x="4347" y="1820"/>
                </a:lnTo>
                <a:lnTo>
                  <a:pt x="4348" y="1820"/>
                </a:lnTo>
                <a:close/>
                <a:moveTo>
                  <a:pt x="4326" y="1819"/>
                </a:moveTo>
                <a:lnTo>
                  <a:pt x="4328" y="1819"/>
                </a:lnTo>
                <a:lnTo>
                  <a:pt x="4329" y="1820"/>
                </a:lnTo>
                <a:lnTo>
                  <a:pt x="4329" y="1820"/>
                </a:lnTo>
                <a:lnTo>
                  <a:pt x="4326" y="1823"/>
                </a:lnTo>
                <a:lnTo>
                  <a:pt x="4325" y="1824"/>
                </a:lnTo>
                <a:lnTo>
                  <a:pt x="4325" y="1824"/>
                </a:lnTo>
                <a:lnTo>
                  <a:pt x="4326" y="1824"/>
                </a:lnTo>
                <a:lnTo>
                  <a:pt x="4329" y="1824"/>
                </a:lnTo>
                <a:lnTo>
                  <a:pt x="4333" y="1824"/>
                </a:lnTo>
                <a:lnTo>
                  <a:pt x="4336" y="1824"/>
                </a:lnTo>
                <a:lnTo>
                  <a:pt x="4337" y="1824"/>
                </a:lnTo>
                <a:lnTo>
                  <a:pt x="4337" y="1824"/>
                </a:lnTo>
                <a:lnTo>
                  <a:pt x="4339" y="1824"/>
                </a:lnTo>
                <a:lnTo>
                  <a:pt x="4340" y="1824"/>
                </a:lnTo>
                <a:lnTo>
                  <a:pt x="4343" y="1822"/>
                </a:lnTo>
                <a:lnTo>
                  <a:pt x="4337" y="1820"/>
                </a:lnTo>
                <a:lnTo>
                  <a:pt x="4337" y="1816"/>
                </a:lnTo>
                <a:lnTo>
                  <a:pt x="4337" y="1816"/>
                </a:lnTo>
                <a:lnTo>
                  <a:pt x="4335" y="1818"/>
                </a:lnTo>
                <a:lnTo>
                  <a:pt x="4333" y="1820"/>
                </a:lnTo>
                <a:lnTo>
                  <a:pt x="4333" y="1816"/>
                </a:lnTo>
                <a:lnTo>
                  <a:pt x="4333" y="1816"/>
                </a:lnTo>
                <a:lnTo>
                  <a:pt x="4331" y="1817"/>
                </a:lnTo>
                <a:lnTo>
                  <a:pt x="4327" y="1813"/>
                </a:lnTo>
                <a:lnTo>
                  <a:pt x="4325" y="1814"/>
                </a:lnTo>
                <a:lnTo>
                  <a:pt x="4322" y="1816"/>
                </a:lnTo>
                <a:lnTo>
                  <a:pt x="4324" y="1817"/>
                </a:lnTo>
                <a:lnTo>
                  <a:pt x="4326" y="1819"/>
                </a:lnTo>
                <a:close/>
                <a:moveTo>
                  <a:pt x="4370" y="1801"/>
                </a:moveTo>
                <a:lnTo>
                  <a:pt x="4370" y="1801"/>
                </a:lnTo>
                <a:lnTo>
                  <a:pt x="4370" y="1802"/>
                </a:lnTo>
                <a:lnTo>
                  <a:pt x="4371" y="1802"/>
                </a:lnTo>
                <a:lnTo>
                  <a:pt x="4370" y="1801"/>
                </a:lnTo>
                <a:lnTo>
                  <a:pt x="4370" y="1801"/>
                </a:lnTo>
                <a:close/>
                <a:moveTo>
                  <a:pt x="4366" y="1797"/>
                </a:moveTo>
                <a:lnTo>
                  <a:pt x="4363" y="1797"/>
                </a:lnTo>
                <a:lnTo>
                  <a:pt x="4365" y="1798"/>
                </a:lnTo>
                <a:lnTo>
                  <a:pt x="4366" y="1798"/>
                </a:lnTo>
                <a:lnTo>
                  <a:pt x="4366" y="1797"/>
                </a:lnTo>
                <a:close/>
                <a:moveTo>
                  <a:pt x="4569" y="1576"/>
                </a:moveTo>
                <a:lnTo>
                  <a:pt x="4569" y="1576"/>
                </a:lnTo>
                <a:lnTo>
                  <a:pt x="4567" y="1581"/>
                </a:lnTo>
                <a:lnTo>
                  <a:pt x="4567" y="1582"/>
                </a:lnTo>
                <a:lnTo>
                  <a:pt x="4567" y="1582"/>
                </a:lnTo>
                <a:lnTo>
                  <a:pt x="4569" y="1579"/>
                </a:lnTo>
                <a:lnTo>
                  <a:pt x="4569" y="1576"/>
                </a:lnTo>
                <a:close/>
                <a:moveTo>
                  <a:pt x="4735" y="983"/>
                </a:moveTo>
                <a:lnTo>
                  <a:pt x="4728" y="991"/>
                </a:lnTo>
                <a:lnTo>
                  <a:pt x="4725" y="994"/>
                </a:lnTo>
                <a:lnTo>
                  <a:pt x="4722" y="997"/>
                </a:lnTo>
                <a:lnTo>
                  <a:pt x="4722" y="998"/>
                </a:lnTo>
                <a:lnTo>
                  <a:pt x="4725" y="997"/>
                </a:lnTo>
                <a:lnTo>
                  <a:pt x="4726" y="997"/>
                </a:lnTo>
                <a:lnTo>
                  <a:pt x="4727" y="997"/>
                </a:lnTo>
                <a:lnTo>
                  <a:pt x="4728" y="997"/>
                </a:lnTo>
                <a:lnTo>
                  <a:pt x="4729" y="994"/>
                </a:lnTo>
                <a:lnTo>
                  <a:pt x="4731" y="991"/>
                </a:lnTo>
                <a:lnTo>
                  <a:pt x="4740" y="986"/>
                </a:lnTo>
                <a:lnTo>
                  <a:pt x="4738" y="984"/>
                </a:lnTo>
                <a:lnTo>
                  <a:pt x="4735" y="983"/>
                </a:lnTo>
                <a:close/>
                <a:moveTo>
                  <a:pt x="4583" y="1722"/>
                </a:moveTo>
                <a:lnTo>
                  <a:pt x="4588" y="1724"/>
                </a:lnTo>
                <a:lnTo>
                  <a:pt x="4593" y="1724"/>
                </a:lnTo>
                <a:lnTo>
                  <a:pt x="4596" y="1722"/>
                </a:lnTo>
                <a:lnTo>
                  <a:pt x="4599" y="1722"/>
                </a:lnTo>
                <a:lnTo>
                  <a:pt x="4578" y="1720"/>
                </a:lnTo>
                <a:lnTo>
                  <a:pt x="4578" y="1720"/>
                </a:lnTo>
                <a:lnTo>
                  <a:pt x="4583" y="1722"/>
                </a:lnTo>
                <a:close/>
                <a:moveTo>
                  <a:pt x="4580" y="1706"/>
                </a:moveTo>
                <a:lnTo>
                  <a:pt x="4581" y="1705"/>
                </a:lnTo>
                <a:lnTo>
                  <a:pt x="4581" y="1705"/>
                </a:lnTo>
                <a:lnTo>
                  <a:pt x="4582" y="1707"/>
                </a:lnTo>
                <a:lnTo>
                  <a:pt x="4582" y="1710"/>
                </a:lnTo>
                <a:lnTo>
                  <a:pt x="4588" y="1711"/>
                </a:lnTo>
                <a:lnTo>
                  <a:pt x="4592" y="1710"/>
                </a:lnTo>
                <a:lnTo>
                  <a:pt x="4588" y="1708"/>
                </a:lnTo>
                <a:lnTo>
                  <a:pt x="4582" y="1704"/>
                </a:lnTo>
                <a:lnTo>
                  <a:pt x="4581" y="1704"/>
                </a:lnTo>
                <a:lnTo>
                  <a:pt x="4578" y="1704"/>
                </a:lnTo>
                <a:lnTo>
                  <a:pt x="4578" y="1704"/>
                </a:lnTo>
                <a:lnTo>
                  <a:pt x="4578" y="1705"/>
                </a:lnTo>
                <a:lnTo>
                  <a:pt x="4580" y="1706"/>
                </a:lnTo>
                <a:close/>
                <a:moveTo>
                  <a:pt x="4506" y="1694"/>
                </a:moveTo>
                <a:lnTo>
                  <a:pt x="4507" y="1694"/>
                </a:lnTo>
                <a:lnTo>
                  <a:pt x="4507" y="1694"/>
                </a:lnTo>
                <a:lnTo>
                  <a:pt x="4507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lnTo>
                  <a:pt x="4506" y="1694"/>
                </a:lnTo>
                <a:close/>
                <a:moveTo>
                  <a:pt x="4637" y="1153"/>
                </a:moveTo>
                <a:lnTo>
                  <a:pt x="4637" y="1154"/>
                </a:lnTo>
                <a:lnTo>
                  <a:pt x="4639" y="1154"/>
                </a:lnTo>
                <a:lnTo>
                  <a:pt x="4638" y="1153"/>
                </a:lnTo>
                <a:lnTo>
                  <a:pt x="4637" y="1153"/>
                </a:lnTo>
                <a:close/>
                <a:moveTo>
                  <a:pt x="4728" y="1471"/>
                </a:moveTo>
                <a:lnTo>
                  <a:pt x="4728" y="1468"/>
                </a:lnTo>
                <a:lnTo>
                  <a:pt x="4725" y="1469"/>
                </a:lnTo>
                <a:lnTo>
                  <a:pt x="4728" y="1471"/>
                </a:lnTo>
                <a:lnTo>
                  <a:pt x="4728" y="1471"/>
                </a:lnTo>
                <a:close/>
                <a:moveTo>
                  <a:pt x="4736" y="1002"/>
                </a:moveTo>
                <a:lnTo>
                  <a:pt x="4734" y="1002"/>
                </a:lnTo>
                <a:lnTo>
                  <a:pt x="4736" y="1003"/>
                </a:lnTo>
                <a:lnTo>
                  <a:pt x="4736" y="1003"/>
                </a:lnTo>
                <a:lnTo>
                  <a:pt x="4736" y="1002"/>
                </a:lnTo>
                <a:close/>
                <a:moveTo>
                  <a:pt x="4731" y="1764"/>
                </a:moveTo>
                <a:lnTo>
                  <a:pt x="4733" y="1764"/>
                </a:lnTo>
                <a:lnTo>
                  <a:pt x="4731" y="1763"/>
                </a:lnTo>
                <a:lnTo>
                  <a:pt x="4731" y="1761"/>
                </a:lnTo>
                <a:lnTo>
                  <a:pt x="4730" y="1763"/>
                </a:lnTo>
                <a:lnTo>
                  <a:pt x="4729" y="1764"/>
                </a:lnTo>
                <a:lnTo>
                  <a:pt x="4730" y="1764"/>
                </a:lnTo>
                <a:lnTo>
                  <a:pt x="4731" y="1765"/>
                </a:lnTo>
                <a:lnTo>
                  <a:pt x="4731" y="1764"/>
                </a:lnTo>
                <a:close/>
                <a:moveTo>
                  <a:pt x="4717" y="1488"/>
                </a:moveTo>
                <a:lnTo>
                  <a:pt x="4714" y="1491"/>
                </a:lnTo>
                <a:lnTo>
                  <a:pt x="4715" y="1494"/>
                </a:lnTo>
                <a:lnTo>
                  <a:pt x="4718" y="1488"/>
                </a:lnTo>
                <a:lnTo>
                  <a:pt x="4717" y="1488"/>
                </a:lnTo>
                <a:close/>
                <a:moveTo>
                  <a:pt x="4451" y="1634"/>
                </a:moveTo>
                <a:lnTo>
                  <a:pt x="4455" y="1630"/>
                </a:lnTo>
                <a:lnTo>
                  <a:pt x="4453" y="1628"/>
                </a:lnTo>
                <a:lnTo>
                  <a:pt x="4452" y="1627"/>
                </a:lnTo>
                <a:lnTo>
                  <a:pt x="4451" y="1625"/>
                </a:lnTo>
                <a:lnTo>
                  <a:pt x="4451" y="1624"/>
                </a:lnTo>
                <a:lnTo>
                  <a:pt x="4449" y="1624"/>
                </a:lnTo>
                <a:lnTo>
                  <a:pt x="4449" y="1628"/>
                </a:lnTo>
                <a:lnTo>
                  <a:pt x="4450" y="1629"/>
                </a:lnTo>
                <a:lnTo>
                  <a:pt x="4451" y="1630"/>
                </a:lnTo>
                <a:lnTo>
                  <a:pt x="4451" y="1632"/>
                </a:lnTo>
                <a:lnTo>
                  <a:pt x="4451" y="1634"/>
                </a:lnTo>
                <a:close/>
                <a:moveTo>
                  <a:pt x="4517" y="1220"/>
                </a:moveTo>
                <a:lnTo>
                  <a:pt x="4515" y="1221"/>
                </a:lnTo>
                <a:lnTo>
                  <a:pt x="4514" y="1222"/>
                </a:lnTo>
                <a:lnTo>
                  <a:pt x="4514" y="1227"/>
                </a:lnTo>
                <a:lnTo>
                  <a:pt x="4516" y="1227"/>
                </a:lnTo>
                <a:lnTo>
                  <a:pt x="4517" y="1220"/>
                </a:lnTo>
                <a:close/>
                <a:moveTo>
                  <a:pt x="4494" y="1721"/>
                </a:moveTo>
                <a:lnTo>
                  <a:pt x="4497" y="1723"/>
                </a:lnTo>
                <a:lnTo>
                  <a:pt x="4500" y="1724"/>
                </a:lnTo>
                <a:lnTo>
                  <a:pt x="4504" y="1724"/>
                </a:lnTo>
                <a:lnTo>
                  <a:pt x="4505" y="1722"/>
                </a:lnTo>
                <a:lnTo>
                  <a:pt x="4505" y="1720"/>
                </a:lnTo>
                <a:lnTo>
                  <a:pt x="4505" y="1718"/>
                </a:lnTo>
                <a:lnTo>
                  <a:pt x="4504" y="1717"/>
                </a:lnTo>
                <a:lnTo>
                  <a:pt x="4499" y="1719"/>
                </a:lnTo>
                <a:lnTo>
                  <a:pt x="4494" y="1721"/>
                </a:lnTo>
                <a:close/>
                <a:moveTo>
                  <a:pt x="4503" y="1700"/>
                </a:moveTo>
                <a:lnTo>
                  <a:pt x="4505" y="1696"/>
                </a:lnTo>
                <a:lnTo>
                  <a:pt x="4504" y="1696"/>
                </a:lnTo>
                <a:lnTo>
                  <a:pt x="4503" y="1696"/>
                </a:lnTo>
                <a:lnTo>
                  <a:pt x="4505" y="1695"/>
                </a:lnTo>
                <a:lnTo>
                  <a:pt x="4506" y="1694"/>
                </a:lnTo>
                <a:lnTo>
                  <a:pt x="4507" y="1695"/>
                </a:lnTo>
                <a:lnTo>
                  <a:pt x="4508" y="1696"/>
                </a:lnTo>
                <a:lnTo>
                  <a:pt x="4509" y="1696"/>
                </a:lnTo>
                <a:lnTo>
                  <a:pt x="4506" y="1694"/>
                </a:lnTo>
                <a:lnTo>
                  <a:pt x="4507" y="1694"/>
                </a:lnTo>
                <a:lnTo>
                  <a:pt x="4509" y="1696"/>
                </a:lnTo>
                <a:lnTo>
                  <a:pt x="4515" y="1696"/>
                </a:lnTo>
                <a:lnTo>
                  <a:pt x="4516" y="1696"/>
                </a:lnTo>
                <a:lnTo>
                  <a:pt x="4518" y="1695"/>
                </a:lnTo>
                <a:lnTo>
                  <a:pt x="4518" y="1696"/>
                </a:lnTo>
                <a:lnTo>
                  <a:pt x="4517" y="1698"/>
                </a:lnTo>
                <a:lnTo>
                  <a:pt x="4517" y="1700"/>
                </a:lnTo>
                <a:lnTo>
                  <a:pt x="4514" y="1700"/>
                </a:lnTo>
                <a:lnTo>
                  <a:pt x="4512" y="1698"/>
                </a:lnTo>
                <a:lnTo>
                  <a:pt x="4511" y="1700"/>
                </a:lnTo>
                <a:lnTo>
                  <a:pt x="4510" y="1698"/>
                </a:lnTo>
                <a:lnTo>
                  <a:pt x="4510" y="1700"/>
                </a:lnTo>
                <a:lnTo>
                  <a:pt x="4508" y="1700"/>
                </a:lnTo>
                <a:lnTo>
                  <a:pt x="4507" y="1700"/>
                </a:lnTo>
                <a:lnTo>
                  <a:pt x="4506" y="1700"/>
                </a:lnTo>
                <a:lnTo>
                  <a:pt x="4503" y="1700"/>
                </a:lnTo>
                <a:close/>
                <a:moveTo>
                  <a:pt x="4509" y="1697"/>
                </a:moveTo>
                <a:lnTo>
                  <a:pt x="4509" y="1698"/>
                </a:lnTo>
                <a:lnTo>
                  <a:pt x="4510" y="1698"/>
                </a:lnTo>
                <a:lnTo>
                  <a:pt x="4509" y="1697"/>
                </a:lnTo>
                <a:close/>
                <a:moveTo>
                  <a:pt x="4509" y="1229"/>
                </a:moveTo>
                <a:lnTo>
                  <a:pt x="4510" y="1227"/>
                </a:lnTo>
                <a:lnTo>
                  <a:pt x="4509" y="1226"/>
                </a:lnTo>
                <a:lnTo>
                  <a:pt x="4506" y="1227"/>
                </a:lnTo>
                <a:lnTo>
                  <a:pt x="4507" y="1228"/>
                </a:lnTo>
                <a:lnTo>
                  <a:pt x="4507" y="1229"/>
                </a:lnTo>
                <a:lnTo>
                  <a:pt x="4509" y="1229"/>
                </a:lnTo>
                <a:close/>
                <a:moveTo>
                  <a:pt x="4569" y="1710"/>
                </a:moveTo>
                <a:lnTo>
                  <a:pt x="4571" y="1708"/>
                </a:lnTo>
                <a:lnTo>
                  <a:pt x="4569" y="1706"/>
                </a:lnTo>
                <a:lnTo>
                  <a:pt x="4567" y="1708"/>
                </a:lnTo>
                <a:lnTo>
                  <a:pt x="4569" y="1710"/>
                </a:lnTo>
                <a:close/>
                <a:moveTo>
                  <a:pt x="4566" y="1582"/>
                </a:moveTo>
                <a:lnTo>
                  <a:pt x="4564" y="1582"/>
                </a:lnTo>
                <a:lnTo>
                  <a:pt x="4566" y="1583"/>
                </a:lnTo>
                <a:lnTo>
                  <a:pt x="4566" y="1582"/>
                </a:lnTo>
                <a:close/>
                <a:moveTo>
                  <a:pt x="4511" y="1705"/>
                </a:moveTo>
                <a:lnTo>
                  <a:pt x="4505" y="1705"/>
                </a:lnTo>
                <a:lnTo>
                  <a:pt x="4505" y="1705"/>
                </a:lnTo>
                <a:lnTo>
                  <a:pt x="4504" y="1706"/>
                </a:lnTo>
                <a:lnTo>
                  <a:pt x="4508" y="1705"/>
                </a:lnTo>
                <a:lnTo>
                  <a:pt x="4511" y="1705"/>
                </a:lnTo>
                <a:close/>
                <a:moveTo>
                  <a:pt x="4466" y="1741"/>
                </a:moveTo>
                <a:lnTo>
                  <a:pt x="4466" y="1740"/>
                </a:lnTo>
                <a:lnTo>
                  <a:pt x="4465" y="1741"/>
                </a:lnTo>
                <a:lnTo>
                  <a:pt x="4463" y="1744"/>
                </a:lnTo>
                <a:lnTo>
                  <a:pt x="4466" y="1744"/>
                </a:lnTo>
                <a:lnTo>
                  <a:pt x="4468" y="1744"/>
                </a:lnTo>
                <a:lnTo>
                  <a:pt x="4469" y="1745"/>
                </a:lnTo>
                <a:lnTo>
                  <a:pt x="4469" y="1745"/>
                </a:lnTo>
                <a:lnTo>
                  <a:pt x="4469" y="1745"/>
                </a:lnTo>
                <a:lnTo>
                  <a:pt x="4471" y="1740"/>
                </a:lnTo>
                <a:lnTo>
                  <a:pt x="4468" y="1740"/>
                </a:lnTo>
                <a:lnTo>
                  <a:pt x="4466" y="1741"/>
                </a:lnTo>
                <a:close/>
                <a:moveTo>
                  <a:pt x="4478" y="1798"/>
                </a:moveTo>
                <a:lnTo>
                  <a:pt x="4478" y="1798"/>
                </a:lnTo>
                <a:lnTo>
                  <a:pt x="4479" y="1798"/>
                </a:lnTo>
                <a:lnTo>
                  <a:pt x="4480" y="1798"/>
                </a:lnTo>
                <a:lnTo>
                  <a:pt x="4481" y="1797"/>
                </a:lnTo>
                <a:lnTo>
                  <a:pt x="4479" y="1797"/>
                </a:lnTo>
                <a:lnTo>
                  <a:pt x="4478" y="1798"/>
                </a:lnTo>
                <a:close/>
                <a:moveTo>
                  <a:pt x="4497" y="1812"/>
                </a:moveTo>
                <a:lnTo>
                  <a:pt x="4497" y="1812"/>
                </a:lnTo>
                <a:lnTo>
                  <a:pt x="4497" y="1809"/>
                </a:lnTo>
                <a:lnTo>
                  <a:pt x="4493" y="1809"/>
                </a:lnTo>
                <a:lnTo>
                  <a:pt x="4493" y="1809"/>
                </a:lnTo>
                <a:lnTo>
                  <a:pt x="4497" y="1812"/>
                </a:lnTo>
                <a:close/>
                <a:moveTo>
                  <a:pt x="4473" y="1816"/>
                </a:moveTo>
                <a:lnTo>
                  <a:pt x="4469" y="1813"/>
                </a:lnTo>
                <a:lnTo>
                  <a:pt x="4469" y="1813"/>
                </a:lnTo>
                <a:lnTo>
                  <a:pt x="4469" y="1813"/>
                </a:lnTo>
                <a:lnTo>
                  <a:pt x="4467" y="1813"/>
                </a:lnTo>
                <a:lnTo>
                  <a:pt x="4465" y="1812"/>
                </a:lnTo>
                <a:lnTo>
                  <a:pt x="4465" y="1815"/>
                </a:lnTo>
                <a:lnTo>
                  <a:pt x="4466" y="1814"/>
                </a:lnTo>
                <a:lnTo>
                  <a:pt x="4467" y="1813"/>
                </a:lnTo>
                <a:lnTo>
                  <a:pt x="4469" y="1815"/>
                </a:lnTo>
                <a:lnTo>
                  <a:pt x="4469" y="1816"/>
                </a:lnTo>
                <a:lnTo>
                  <a:pt x="4473" y="1816"/>
                </a:lnTo>
                <a:close/>
                <a:moveTo>
                  <a:pt x="4485" y="1739"/>
                </a:moveTo>
                <a:lnTo>
                  <a:pt x="4483" y="1740"/>
                </a:lnTo>
                <a:lnTo>
                  <a:pt x="4472" y="1740"/>
                </a:lnTo>
                <a:lnTo>
                  <a:pt x="4477" y="1745"/>
                </a:lnTo>
                <a:lnTo>
                  <a:pt x="4475" y="1747"/>
                </a:lnTo>
                <a:lnTo>
                  <a:pt x="4477" y="1746"/>
                </a:lnTo>
                <a:lnTo>
                  <a:pt x="4477" y="1746"/>
                </a:lnTo>
                <a:lnTo>
                  <a:pt x="4477" y="1746"/>
                </a:lnTo>
                <a:lnTo>
                  <a:pt x="4478" y="1746"/>
                </a:lnTo>
                <a:lnTo>
                  <a:pt x="4478" y="1748"/>
                </a:lnTo>
                <a:lnTo>
                  <a:pt x="4478" y="1748"/>
                </a:lnTo>
                <a:lnTo>
                  <a:pt x="4480" y="1746"/>
                </a:lnTo>
                <a:lnTo>
                  <a:pt x="4482" y="1745"/>
                </a:lnTo>
                <a:lnTo>
                  <a:pt x="4482" y="1745"/>
                </a:lnTo>
                <a:lnTo>
                  <a:pt x="4483" y="1744"/>
                </a:lnTo>
                <a:lnTo>
                  <a:pt x="4485" y="1744"/>
                </a:lnTo>
                <a:lnTo>
                  <a:pt x="4483" y="1743"/>
                </a:lnTo>
                <a:lnTo>
                  <a:pt x="4487" y="1743"/>
                </a:lnTo>
                <a:lnTo>
                  <a:pt x="4490" y="1744"/>
                </a:lnTo>
                <a:lnTo>
                  <a:pt x="4490" y="1744"/>
                </a:lnTo>
                <a:lnTo>
                  <a:pt x="4498" y="1744"/>
                </a:lnTo>
                <a:lnTo>
                  <a:pt x="4499" y="1745"/>
                </a:lnTo>
                <a:lnTo>
                  <a:pt x="4510" y="1751"/>
                </a:lnTo>
                <a:lnTo>
                  <a:pt x="4510" y="1751"/>
                </a:lnTo>
                <a:lnTo>
                  <a:pt x="4510" y="1751"/>
                </a:lnTo>
                <a:lnTo>
                  <a:pt x="4511" y="1745"/>
                </a:lnTo>
                <a:lnTo>
                  <a:pt x="4511" y="1744"/>
                </a:lnTo>
                <a:lnTo>
                  <a:pt x="4508" y="1741"/>
                </a:lnTo>
                <a:lnTo>
                  <a:pt x="4507" y="1739"/>
                </a:lnTo>
                <a:lnTo>
                  <a:pt x="4506" y="1740"/>
                </a:lnTo>
                <a:lnTo>
                  <a:pt x="4504" y="1740"/>
                </a:lnTo>
                <a:lnTo>
                  <a:pt x="4499" y="1740"/>
                </a:lnTo>
                <a:lnTo>
                  <a:pt x="4496" y="1737"/>
                </a:lnTo>
                <a:lnTo>
                  <a:pt x="4493" y="1734"/>
                </a:lnTo>
                <a:lnTo>
                  <a:pt x="4489" y="1736"/>
                </a:lnTo>
                <a:lnTo>
                  <a:pt x="4486" y="1737"/>
                </a:lnTo>
                <a:lnTo>
                  <a:pt x="4485" y="1739"/>
                </a:lnTo>
                <a:close/>
                <a:moveTo>
                  <a:pt x="4562" y="1160"/>
                </a:moveTo>
                <a:lnTo>
                  <a:pt x="4565" y="1158"/>
                </a:lnTo>
                <a:lnTo>
                  <a:pt x="4562" y="1158"/>
                </a:lnTo>
                <a:lnTo>
                  <a:pt x="4562" y="1159"/>
                </a:lnTo>
                <a:lnTo>
                  <a:pt x="4562" y="1160"/>
                </a:lnTo>
                <a:close/>
                <a:moveTo>
                  <a:pt x="4470" y="1720"/>
                </a:moveTo>
                <a:lnTo>
                  <a:pt x="4471" y="1720"/>
                </a:lnTo>
                <a:lnTo>
                  <a:pt x="4463" y="1715"/>
                </a:lnTo>
                <a:lnTo>
                  <a:pt x="4463" y="1715"/>
                </a:lnTo>
                <a:lnTo>
                  <a:pt x="4461" y="1715"/>
                </a:lnTo>
                <a:lnTo>
                  <a:pt x="4457" y="1716"/>
                </a:lnTo>
                <a:lnTo>
                  <a:pt x="4457" y="1720"/>
                </a:lnTo>
                <a:lnTo>
                  <a:pt x="4463" y="1720"/>
                </a:lnTo>
                <a:lnTo>
                  <a:pt x="4470" y="1720"/>
                </a:lnTo>
                <a:close/>
                <a:moveTo>
                  <a:pt x="4465" y="1816"/>
                </a:moveTo>
                <a:lnTo>
                  <a:pt x="4465" y="1816"/>
                </a:lnTo>
                <a:lnTo>
                  <a:pt x="4465" y="1816"/>
                </a:lnTo>
                <a:lnTo>
                  <a:pt x="4465" y="1816"/>
                </a:lnTo>
                <a:close/>
                <a:moveTo>
                  <a:pt x="4471" y="1740"/>
                </a:moveTo>
                <a:lnTo>
                  <a:pt x="4471" y="1740"/>
                </a:lnTo>
                <a:lnTo>
                  <a:pt x="4472" y="1740"/>
                </a:lnTo>
                <a:lnTo>
                  <a:pt x="4471" y="1739"/>
                </a:lnTo>
                <a:lnTo>
                  <a:pt x="4471" y="1740"/>
                </a:lnTo>
                <a:close/>
                <a:moveTo>
                  <a:pt x="4475" y="1745"/>
                </a:moveTo>
                <a:lnTo>
                  <a:pt x="4470" y="1745"/>
                </a:lnTo>
                <a:lnTo>
                  <a:pt x="4469" y="1746"/>
                </a:lnTo>
                <a:lnTo>
                  <a:pt x="4469" y="1747"/>
                </a:lnTo>
                <a:lnTo>
                  <a:pt x="4469" y="1749"/>
                </a:lnTo>
                <a:lnTo>
                  <a:pt x="4469" y="1749"/>
                </a:lnTo>
                <a:lnTo>
                  <a:pt x="4471" y="1747"/>
                </a:lnTo>
                <a:lnTo>
                  <a:pt x="4471" y="1749"/>
                </a:lnTo>
                <a:lnTo>
                  <a:pt x="4473" y="1749"/>
                </a:lnTo>
                <a:lnTo>
                  <a:pt x="4475" y="1745"/>
                </a:lnTo>
                <a:close/>
                <a:moveTo>
                  <a:pt x="4488" y="1164"/>
                </a:moveTo>
                <a:lnTo>
                  <a:pt x="4492" y="1162"/>
                </a:lnTo>
                <a:lnTo>
                  <a:pt x="4491" y="1162"/>
                </a:lnTo>
                <a:lnTo>
                  <a:pt x="4490" y="1162"/>
                </a:lnTo>
                <a:lnTo>
                  <a:pt x="4489" y="1163"/>
                </a:lnTo>
                <a:lnTo>
                  <a:pt x="4488" y="1164"/>
                </a:lnTo>
                <a:close/>
                <a:moveTo>
                  <a:pt x="4490" y="1162"/>
                </a:moveTo>
                <a:lnTo>
                  <a:pt x="4492" y="1162"/>
                </a:lnTo>
                <a:lnTo>
                  <a:pt x="4493" y="1158"/>
                </a:lnTo>
                <a:lnTo>
                  <a:pt x="4494" y="1154"/>
                </a:lnTo>
                <a:lnTo>
                  <a:pt x="4490" y="1157"/>
                </a:lnTo>
                <a:lnTo>
                  <a:pt x="4490" y="1162"/>
                </a:lnTo>
                <a:close/>
                <a:moveTo>
                  <a:pt x="4510" y="1214"/>
                </a:moveTo>
                <a:lnTo>
                  <a:pt x="4510" y="1214"/>
                </a:lnTo>
                <a:lnTo>
                  <a:pt x="4510" y="1214"/>
                </a:lnTo>
                <a:lnTo>
                  <a:pt x="4510" y="1214"/>
                </a:lnTo>
                <a:lnTo>
                  <a:pt x="4510" y="1214"/>
                </a:lnTo>
                <a:close/>
                <a:moveTo>
                  <a:pt x="4493" y="1696"/>
                </a:moveTo>
                <a:lnTo>
                  <a:pt x="4493" y="1696"/>
                </a:lnTo>
                <a:lnTo>
                  <a:pt x="4493" y="1695"/>
                </a:lnTo>
                <a:lnTo>
                  <a:pt x="4489" y="1692"/>
                </a:lnTo>
                <a:lnTo>
                  <a:pt x="4493" y="1696"/>
                </a:lnTo>
                <a:close/>
                <a:moveTo>
                  <a:pt x="4489" y="1263"/>
                </a:moveTo>
                <a:lnTo>
                  <a:pt x="4490" y="1263"/>
                </a:lnTo>
                <a:lnTo>
                  <a:pt x="4490" y="1264"/>
                </a:lnTo>
                <a:lnTo>
                  <a:pt x="4492" y="1264"/>
                </a:lnTo>
                <a:lnTo>
                  <a:pt x="4494" y="1261"/>
                </a:lnTo>
                <a:lnTo>
                  <a:pt x="4496" y="1259"/>
                </a:lnTo>
                <a:lnTo>
                  <a:pt x="4496" y="1258"/>
                </a:lnTo>
                <a:lnTo>
                  <a:pt x="4496" y="1258"/>
                </a:lnTo>
                <a:lnTo>
                  <a:pt x="4492" y="1260"/>
                </a:lnTo>
                <a:lnTo>
                  <a:pt x="4488" y="1262"/>
                </a:lnTo>
                <a:lnTo>
                  <a:pt x="4489" y="1263"/>
                </a:lnTo>
                <a:close/>
                <a:moveTo>
                  <a:pt x="4487" y="1184"/>
                </a:moveTo>
                <a:lnTo>
                  <a:pt x="4487" y="1185"/>
                </a:lnTo>
                <a:lnTo>
                  <a:pt x="4487" y="1185"/>
                </a:lnTo>
                <a:lnTo>
                  <a:pt x="4488" y="1185"/>
                </a:lnTo>
                <a:lnTo>
                  <a:pt x="4488" y="1184"/>
                </a:lnTo>
                <a:lnTo>
                  <a:pt x="4488" y="1183"/>
                </a:lnTo>
                <a:lnTo>
                  <a:pt x="4488" y="1181"/>
                </a:lnTo>
                <a:lnTo>
                  <a:pt x="4488" y="1181"/>
                </a:lnTo>
                <a:lnTo>
                  <a:pt x="4488" y="1182"/>
                </a:lnTo>
                <a:lnTo>
                  <a:pt x="4487" y="1184"/>
                </a:lnTo>
                <a:close/>
                <a:moveTo>
                  <a:pt x="4462" y="1805"/>
                </a:moveTo>
                <a:lnTo>
                  <a:pt x="4460" y="1804"/>
                </a:lnTo>
                <a:lnTo>
                  <a:pt x="4460" y="1805"/>
                </a:lnTo>
                <a:lnTo>
                  <a:pt x="4462" y="1805"/>
                </a:lnTo>
                <a:close/>
                <a:moveTo>
                  <a:pt x="4722" y="1481"/>
                </a:moveTo>
                <a:lnTo>
                  <a:pt x="4718" y="1481"/>
                </a:lnTo>
                <a:lnTo>
                  <a:pt x="4721" y="1482"/>
                </a:lnTo>
                <a:lnTo>
                  <a:pt x="4722" y="1481"/>
                </a:lnTo>
                <a:close/>
                <a:moveTo>
                  <a:pt x="4421" y="1533"/>
                </a:moveTo>
                <a:lnTo>
                  <a:pt x="4421" y="1533"/>
                </a:lnTo>
                <a:lnTo>
                  <a:pt x="4421" y="1533"/>
                </a:lnTo>
                <a:lnTo>
                  <a:pt x="4421" y="1535"/>
                </a:lnTo>
                <a:lnTo>
                  <a:pt x="4421" y="1535"/>
                </a:lnTo>
                <a:lnTo>
                  <a:pt x="4421" y="1535"/>
                </a:lnTo>
                <a:lnTo>
                  <a:pt x="4421" y="1540"/>
                </a:lnTo>
                <a:lnTo>
                  <a:pt x="4427" y="1541"/>
                </a:lnTo>
                <a:lnTo>
                  <a:pt x="4427" y="1536"/>
                </a:lnTo>
                <a:lnTo>
                  <a:pt x="4429" y="1539"/>
                </a:lnTo>
                <a:lnTo>
                  <a:pt x="4429" y="1539"/>
                </a:lnTo>
                <a:lnTo>
                  <a:pt x="4429" y="1539"/>
                </a:lnTo>
                <a:lnTo>
                  <a:pt x="4431" y="1537"/>
                </a:lnTo>
                <a:lnTo>
                  <a:pt x="4426" y="1531"/>
                </a:lnTo>
                <a:lnTo>
                  <a:pt x="4424" y="1532"/>
                </a:lnTo>
                <a:lnTo>
                  <a:pt x="4421" y="1533"/>
                </a:lnTo>
                <a:close/>
                <a:moveTo>
                  <a:pt x="4423" y="1528"/>
                </a:moveTo>
                <a:lnTo>
                  <a:pt x="4425" y="1529"/>
                </a:lnTo>
                <a:lnTo>
                  <a:pt x="4425" y="1522"/>
                </a:lnTo>
                <a:lnTo>
                  <a:pt x="4426" y="1521"/>
                </a:lnTo>
                <a:lnTo>
                  <a:pt x="4427" y="1520"/>
                </a:lnTo>
                <a:lnTo>
                  <a:pt x="4423" y="1522"/>
                </a:lnTo>
                <a:lnTo>
                  <a:pt x="4418" y="1518"/>
                </a:lnTo>
                <a:lnTo>
                  <a:pt x="4419" y="1525"/>
                </a:lnTo>
                <a:lnTo>
                  <a:pt x="4421" y="1531"/>
                </a:lnTo>
                <a:lnTo>
                  <a:pt x="4421" y="1527"/>
                </a:lnTo>
                <a:lnTo>
                  <a:pt x="4423" y="1528"/>
                </a:lnTo>
                <a:close/>
                <a:moveTo>
                  <a:pt x="4421" y="1517"/>
                </a:moveTo>
                <a:lnTo>
                  <a:pt x="4418" y="1517"/>
                </a:lnTo>
                <a:lnTo>
                  <a:pt x="4421" y="1520"/>
                </a:lnTo>
                <a:lnTo>
                  <a:pt x="4423" y="1518"/>
                </a:lnTo>
                <a:lnTo>
                  <a:pt x="4421" y="1517"/>
                </a:lnTo>
                <a:close/>
                <a:moveTo>
                  <a:pt x="4426" y="1531"/>
                </a:moveTo>
                <a:lnTo>
                  <a:pt x="4427" y="1530"/>
                </a:lnTo>
                <a:lnTo>
                  <a:pt x="4425" y="1529"/>
                </a:lnTo>
                <a:lnTo>
                  <a:pt x="4425" y="1530"/>
                </a:lnTo>
                <a:lnTo>
                  <a:pt x="4426" y="1531"/>
                </a:lnTo>
                <a:close/>
                <a:moveTo>
                  <a:pt x="4421" y="1531"/>
                </a:moveTo>
                <a:lnTo>
                  <a:pt x="4421" y="1531"/>
                </a:lnTo>
                <a:lnTo>
                  <a:pt x="4421" y="1533"/>
                </a:lnTo>
                <a:lnTo>
                  <a:pt x="4421" y="1531"/>
                </a:lnTo>
                <a:close/>
                <a:moveTo>
                  <a:pt x="4423" y="1552"/>
                </a:moveTo>
                <a:lnTo>
                  <a:pt x="4423" y="1553"/>
                </a:lnTo>
                <a:lnTo>
                  <a:pt x="4424" y="1554"/>
                </a:lnTo>
                <a:lnTo>
                  <a:pt x="4424" y="1555"/>
                </a:lnTo>
                <a:lnTo>
                  <a:pt x="4424" y="1555"/>
                </a:lnTo>
                <a:lnTo>
                  <a:pt x="4424" y="1553"/>
                </a:lnTo>
                <a:lnTo>
                  <a:pt x="4424" y="1553"/>
                </a:lnTo>
                <a:lnTo>
                  <a:pt x="4423" y="1552"/>
                </a:lnTo>
                <a:lnTo>
                  <a:pt x="4423" y="1552"/>
                </a:lnTo>
                <a:close/>
                <a:moveTo>
                  <a:pt x="4389" y="1545"/>
                </a:moveTo>
                <a:lnTo>
                  <a:pt x="4391" y="1547"/>
                </a:lnTo>
                <a:lnTo>
                  <a:pt x="4393" y="1548"/>
                </a:lnTo>
                <a:lnTo>
                  <a:pt x="4395" y="1550"/>
                </a:lnTo>
                <a:lnTo>
                  <a:pt x="4397" y="1554"/>
                </a:lnTo>
                <a:lnTo>
                  <a:pt x="4399" y="1559"/>
                </a:lnTo>
                <a:lnTo>
                  <a:pt x="4401" y="1559"/>
                </a:lnTo>
                <a:lnTo>
                  <a:pt x="4403" y="1556"/>
                </a:lnTo>
                <a:lnTo>
                  <a:pt x="4404" y="1553"/>
                </a:lnTo>
                <a:lnTo>
                  <a:pt x="4400" y="1548"/>
                </a:lnTo>
                <a:lnTo>
                  <a:pt x="4404" y="1536"/>
                </a:lnTo>
                <a:lnTo>
                  <a:pt x="4405" y="1529"/>
                </a:lnTo>
                <a:lnTo>
                  <a:pt x="4405" y="1528"/>
                </a:lnTo>
                <a:lnTo>
                  <a:pt x="4403" y="1528"/>
                </a:lnTo>
                <a:lnTo>
                  <a:pt x="4401" y="1527"/>
                </a:lnTo>
                <a:lnTo>
                  <a:pt x="4399" y="1528"/>
                </a:lnTo>
                <a:lnTo>
                  <a:pt x="4397" y="1528"/>
                </a:lnTo>
                <a:lnTo>
                  <a:pt x="4397" y="1530"/>
                </a:lnTo>
                <a:lnTo>
                  <a:pt x="4394" y="1532"/>
                </a:lnTo>
                <a:lnTo>
                  <a:pt x="4394" y="1532"/>
                </a:lnTo>
                <a:lnTo>
                  <a:pt x="4394" y="1530"/>
                </a:lnTo>
                <a:lnTo>
                  <a:pt x="4390" y="1534"/>
                </a:lnTo>
                <a:lnTo>
                  <a:pt x="4391" y="1535"/>
                </a:lnTo>
                <a:lnTo>
                  <a:pt x="4393" y="1536"/>
                </a:lnTo>
                <a:lnTo>
                  <a:pt x="4393" y="1536"/>
                </a:lnTo>
                <a:lnTo>
                  <a:pt x="4393" y="1541"/>
                </a:lnTo>
                <a:lnTo>
                  <a:pt x="4394" y="1543"/>
                </a:lnTo>
                <a:lnTo>
                  <a:pt x="4389" y="1543"/>
                </a:lnTo>
                <a:lnTo>
                  <a:pt x="4389" y="1545"/>
                </a:lnTo>
                <a:close/>
                <a:moveTo>
                  <a:pt x="4409" y="1545"/>
                </a:moveTo>
                <a:lnTo>
                  <a:pt x="4409" y="1546"/>
                </a:lnTo>
                <a:lnTo>
                  <a:pt x="4413" y="1551"/>
                </a:lnTo>
                <a:lnTo>
                  <a:pt x="4420" y="1551"/>
                </a:lnTo>
                <a:lnTo>
                  <a:pt x="4422" y="1548"/>
                </a:lnTo>
                <a:lnTo>
                  <a:pt x="4423" y="1546"/>
                </a:lnTo>
                <a:lnTo>
                  <a:pt x="4421" y="1545"/>
                </a:lnTo>
                <a:lnTo>
                  <a:pt x="4421" y="1541"/>
                </a:lnTo>
                <a:lnTo>
                  <a:pt x="4419" y="1540"/>
                </a:lnTo>
                <a:lnTo>
                  <a:pt x="4416" y="1540"/>
                </a:lnTo>
                <a:lnTo>
                  <a:pt x="4409" y="1545"/>
                </a:lnTo>
                <a:close/>
                <a:moveTo>
                  <a:pt x="4394" y="1509"/>
                </a:moveTo>
                <a:lnTo>
                  <a:pt x="4394" y="1506"/>
                </a:lnTo>
                <a:lnTo>
                  <a:pt x="4390" y="1506"/>
                </a:lnTo>
                <a:lnTo>
                  <a:pt x="4394" y="1509"/>
                </a:lnTo>
                <a:lnTo>
                  <a:pt x="4394" y="1509"/>
                </a:lnTo>
                <a:close/>
                <a:moveTo>
                  <a:pt x="4417" y="1531"/>
                </a:moveTo>
                <a:lnTo>
                  <a:pt x="4417" y="1531"/>
                </a:lnTo>
                <a:lnTo>
                  <a:pt x="4417" y="1535"/>
                </a:lnTo>
                <a:lnTo>
                  <a:pt x="4420" y="1535"/>
                </a:lnTo>
                <a:lnTo>
                  <a:pt x="4421" y="1535"/>
                </a:lnTo>
                <a:lnTo>
                  <a:pt x="4419" y="1533"/>
                </a:lnTo>
                <a:lnTo>
                  <a:pt x="4417" y="1531"/>
                </a:lnTo>
                <a:close/>
                <a:moveTo>
                  <a:pt x="4383" y="1535"/>
                </a:moveTo>
                <a:lnTo>
                  <a:pt x="4383" y="1535"/>
                </a:lnTo>
                <a:lnTo>
                  <a:pt x="4383" y="1535"/>
                </a:lnTo>
                <a:lnTo>
                  <a:pt x="4383" y="1535"/>
                </a:lnTo>
                <a:lnTo>
                  <a:pt x="4383" y="1535"/>
                </a:lnTo>
                <a:close/>
                <a:moveTo>
                  <a:pt x="4408" y="1503"/>
                </a:moveTo>
                <a:lnTo>
                  <a:pt x="4409" y="1506"/>
                </a:lnTo>
                <a:lnTo>
                  <a:pt x="4409" y="1503"/>
                </a:lnTo>
                <a:lnTo>
                  <a:pt x="4408" y="1503"/>
                </a:lnTo>
                <a:close/>
                <a:moveTo>
                  <a:pt x="4381" y="1519"/>
                </a:moveTo>
                <a:lnTo>
                  <a:pt x="4385" y="1519"/>
                </a:lnTo>
                <a:lnTo>
                  <a:pt x="4384" y="1526"/>
                </a:lnTo>
                <a:lnTo>
                  <a:pt x="4382" y="1534"/>
                </a:lnTo>
                <a:lnTo>
                  <a:pt x="4383" y="1535"/>
                </a:lnTo>
                <a:lnTo>
                  <a:pt x="4383" y="1535"/>
                </a:lnTo>
                <a:lnTo>
                  <a:pt x="4385" y="1534"/>
                </a:lnTo>
                <a:lnTo>
                  <a:pt x="4386" y="1533"/>
                </a:lnTo>
                <a:lnTo>
                  <a:pt x="4390" y="1531"/>
                </a:lnTo>
                <a:lnTo>
                  <a:pt x="4393" y="1529"/>
                </a:lnTo>
                <a:lnTo>
                  <a:pt x="4393" y="1528"/>
                </a:lnTo>
                <a:lnTo>
                  <a:pt x="4395" y="1527"/>
                </a:lnTo>
                <a:lnTo>
                  <a:pt x="4397" y="1526"/>
                </a:lnTo>
                <a:lnTo>
                  <a:pt x="4397" y="1523"/>
                </a:lnTo>
                <a:lnTo>
                  <a:pt x="4399" y="1520"/>
                </a:lnTo>
                <a:lnTo>
                  <a:pt x="4401" y="1518"/>
                </a:lnTo>
                <a:lnTo>
                  <a:pt x="4397" y="1519"/>
                </a:lnTo>
                <a:lnTo>
                  <a:pt x="4393" y="1520"/>
                </a:lnTo>
                <a:lnTo>
                  <a:pt x="4393" y="1519"/>
                </a:lnTo>
                <a:lnTo>
                  <a:pt x="4393" y="1519"/>
                </a:lnTo>
                <a:lnTo>
                  <a:pt x="4389" y="1517"/>
                </a:lnTo>
                <a:lnTo>
                  <a:pt x="4385" y="1515"/>
                </a:lnTo>
                <a:lnTo>
                  <a:pt x="4381" y="1514"/>
                </a:lnTo>
                <a:lnTo>
                  <a:pt x="4381" y="1519"/>
                </a:lnTo>
                <a:close/>
                <a:moveTo>
                  <a:pt x="4415" y="1519"/>
                </a:moveTo>
                <a:lnTo>
                  <a:pt x="4416" y="1519"/>
                </a:lnTo>
                <a:lnTo>
                  <a:pt x="4413" y="1516"/>
                </a:lnTo>
                <a:lnTo>
                  <a:pt x="4413" y="1519"/>
                </a:lnTo>
                <a:lnTo>
                  <a:pt x="4415" y="1519"/>
                </a:lnTo>
                <a:close/>
                <a:moveTo>
                  <a:pt x="4401" y="1515"/>
                </a:moveTo>
                <a:lnTo>
                  <a:pt x="4401" y="1515"/>
                </a:lnTo>
                <a:lnTo>
                  <a:pt x="4402" y="1513"/>
                </a:lnTo>
                <a:lnTo>
                  <a:pt x="4401" y="1515"/>
                </a:lnTo>
                <a:lnTo>
                  <a:pt x="4401" y="1515"/>
                </a:lnTo>
                <a:close/>
                <a:moveTo>
                  <a:pt x="4409" y="1507"/>
                </a:moveTo>
                <a:lnTo>
                  <a:pt x="4410" y="1507"/>
                </a:lnTo>
                <a:lnTo>
                  <a:pt x="4409" y="1506"/>
                </a:lnTo>
                <a:lnTo>
                  <a:pt x="4409" y="1507"/>
                </a:lnTo>
                <a:lnTo>
                  <a:pt x="4409" y="1507"/>
                </a:lnTo>
                <a:close/>
                <a:moveTo>
                  <a:pt x="4409" y="1507"/>
                </a:moveTo>
                <a:lnTo>
                  <a:pt x="4409" y="1507"/>
                </a:lnTo>
                <a:lnTo>
                  <a:pt x="4409" y="1507"/>
                </a:lnTo>
                <a:lnTo>
                  <a:pt x="4401" y="1502"/>
                </a:lnTo>
                <a:lnTo>
                  <a:pt x="4401" y="1503"/>
                </a:lnTo>
                <a:lnTo>
                  <a:pt x="4401" y="1503"/>
                </a:lnTo>
                <a:lnTo>
                  <a:pt x="4403" y="1506"/>
                </a:lnTo>
                <a:lnTo>
                  <a:pt x="4404" y="1509"/>
                </a:lnTo>
                <a:lnTo>
                  <a:pt x="4403" y="1512"/>
                </a:lnTo>
                <a:lnTo>
                  <a:pt x="4402" y="1513"/>
                </a:lnTo>
                <a:lnTo>
                  <a:pt x="4404" y="1512"/>
                </a:lnTo>
                <a:lnTo>
                  <a:pt x="4406" y="1509"/>
                </a:lnTo>
                <a:lnTo>
                  <a:pt x="4411" y="1514"/>
                </a:lnTo>
                <a:lnTo>
                  <a:pt x="4413" y="1516"/>
                </a:lnTo>
                <a:lnTo>
                  <a:pt x="4413" y="1511"/>
                </a:lnTo>
                <a:lnTo>
                  <a:pt x="4413" y="1510"/>
                </a:lnTo>
                <a:lnTo>
                  <a:pt x="4412" y="1508"/>
                </a:lnTo>
                <a:lnTo>
                  <a:pt x="4410" y="1507"/>
                </a:lnTo>
                <a:lnTo>
                  <a:pt x="4410" y="1507"/>
                </a:lnTo>
                <a:lnTo>
                  <a:pt x="4410" y="1507"/>
                </a:lnTo>
                <a:lnTo>
                  <a:pt x="4409" y="1507"/>
                </a:lnTo>
                <a:close/>
                <a:moveTo>
                  <a:pt x="4416" y="1523"/>
                </a:moveTo>
                <a:lnTo>
                  <a:pt x="4415" y="1523"/>
                </a:lnTo>
                <a:lnTo>
                  <a:pt x="4413" y="1523"/>
                </a:lnTo>
                <a:lnTo>
                  <a:pt x="4413" y="1526"/>
                </a:lnTo>
                <a:lnTo>
                  <a:pt x="4414" y="1524"/>
                </a:lnTo>
                <a:lnTo>
                  <a:pt x="4416" y="1523"/>
                </a:lnTo>
                <a:close/>
                <a:moveTo>
                  <a:pt x="4351" y="1534"/>
                </a:moveTo>
                <a:lnTo>
                  <a:pt x="4355" y="1533"/>
                </a:lnTo>
                <a:lnTo>
                  <a:pt x="4351" y="1533"/>
                </a:lnTo>
                <a:lnTo>
                  <a:pt x="4351" y="1534"/>
                </a:lnTo>
                <a:close/>
                <a:moveTo>
                  <a:pt x="4369" y="1507"/>
                </a:moveTo>
                <a:lnTo>
                  <a:pt x="4369" y="1507"/>
                </a:lnTo>
                <a:lnTo>
                  <a:pt x="4369" y="1507"/>
                </a:lnTo>
                <a:lnTo>
                  <a:pt x="4369" y="1507"/>
                </a:lnTo>
                <a:close/>
                <a:moveTo>
                  <a:pt x="4362" y="1598"/>
                </a:moveTo>
                <a:lnTo>
                  <a:pt x="4362" y="1594"/>
                </a:lnTo>
                <a:lnTo>
                  <a:pt x="4362" y="1594"/>
                </a:lnTo>
                <a:lnTo>
                  <a:pt x="4360" y="1598"/>
                </a:lnTo>
                <a:lnTo>
                  <a:pt x="4362" y="1598"/>
                </a:lnTo>
                <a:close/>
                <a:moveTo>
                  <a:pt x="4367" y="1603"/>
                </a:moveTo>
                <a:lnTo>
                  <a:pt x="4372" y="1603"/>
                </a:lnTo>
                <a:lnTo>
                  <a:pt x="4374" y="1603"/>
                </a:lnTo>
                <a:lnTo>
                  <a:pt x="4374" y="1602"/>
                </a:lnTo>
                <a:lnTo>
                  <a:pt x="4375" y="1602"/>
                </a:lnTo>
                <a:lnTo>
                  <a:pt x="4371" y="1599"/>
                </a:lnTo>
                <a:lnTo>
                  <a:pt x="4367" y="1602"/>
                </a:lnTo>
                <a:lnTo>
                  <a:pt x="4367" y="1603"/>
                </a:lnTo>
                <a:close/>
                <a:moveTo>
                  <a:pt x="4352" y="1511"/>
                </a:moveTo>
                <a:lnTo>
                  <a:pt x="4352" y="1511"/>
                </a:lnTo>
                <a:lnTo>
                  <a:pt x="4352" y="1517"/>
                </a:lnTo>
                <a:lnTo>
                  <a:pt x="4352" y="1517"/>
                </a:lnTo>
                <a:lnTo>
                  <a:pt x="4356" y="1514"/>
                </a:lnTo>
                <a:lnTo>
                  <a:pt x="4352" y="1511"/>
                </a:lnTo>
                <a:close/>
                <a:moveTo>
                  <a:pt x="4358" y="1485"/>
                </a:moveTo>
                <a:lnTo>
                  <a:pt x="4356" y="1485"/>
                </a:lnTo>
                <a:lnTo>
                  <a:pt x="4358" y="1488"/>
                </a:lnTo>
                <a:lnTo>
                  <a:pt x="4358" y="1488"/>
                </a:lnTo>
                <a:lnTo>
                  <a:pt x="4358" y="1485"/>
                </a:lnTo>
                <a:close/>
                <a:moveTo>
                  <a:pt x="4359" y="1511"/>
                </a:moveTo>
                <a:lnTo>
                  <a:pt x="4359" y="1510"/>
                </a:lnTo>
                <a:lnTo>
                  <a:pt x="4355" y="1509"/>
                </a:lnTo>
                <a:lnTo>
                  <a:pt x="4352" y="1508"/>
                </a:lnTo>
                <a:lnTo>
                  <a:pt x="4353" y="1509"/>
                </a:lnTo>
                <a:lnTo>
                  <a:pt x="4355" y="1511"/>
                </a:lnTo>
                <a:lnTo>
                  <a:pt x="4358" y="1511"/>
                </a:lnTo>
                <a:lnTo>
                  <a:pt x="4359" y="1511"/>
                </a:lnTo>
                <a:close/>
                <a:moveTo>
                  <a:pt x="4351" y="1615"/>
                </a:moveTo>
                <a:lnTo>
                  <a:pt x="4352" y="1616"/>
                </a:lnTo>
                <a:lnTo>
                  <a:pt x="4353" y="1614"/>
                </a:lnTo>
                <a:lnTo>
                  <a:pt x="4355" y="1612"/>
                </a:lnTo>
                <a:lnTo>
                  <a:pt x="4356" y="1613"/>
                </a:lnTo>
                <a:lnTo>
                  <a:pt x="4358" y="1613"/>
                </a:lnTo>
                <a:lnTo>
                  <a:pt x="4358" y="1610"/>
                </a:lnTo>
                <a:lnTo>
                  <a:pt x="4354" y="1612"/>
                </a:lnTo>
                <a:lnTo>
                  <a:pt x="4351" y="1613"/>
                </a:lnTo>
                <a:lnTo>
                  <a:pt x="4351" y="1615"/>
                </a:lnTo>
                <a:close/>
                <a:moveTo>
                  <a:pt x="4437" y="1534"/>
                </a:moveTo>
                <a:lnTo>
                  <a:pt x="4437" y="1534"/>
                </a:lnTo>
                <a:lnTo>
                  <a:pt x="4437" y="1534"/>
                </a:lnTo>
                <a:lnTo>
                  <a:pt x="4435" y="1540"/>
                </a:lnTo>
                <a:lnTo>
                  <a:pt x="4437" y="1542"/>
                </a:lnTo>
                <a:lnTo>
                  <a:pt x="4437" y="1543"/>
                </a:lnTo>
                <a:lnTo>
                  <a:pt x="4439" y="1543"/>
                </a:lnTo>
                <a:lnTo>
                  <a:pt x="4439" y="1542"/>
                </a:lnTo>
                <a:lnTo>
                  <a:pt x="4440" y="1541"/>
                </a:lnTo>
                <a:lnTo>
                  <a:pt x="4438" y="1538"/>
                </a:lnTo>
                <a:lnTo>
                  <a:pt x="4437" y="1534"/>
                </a:lnTo>
                <a:close/>
                <a:moveTo>
                  <a:pt x="4400" y="1496"/>
                </a:moveTo>
                <a:lnTo>
                  <a:pt x="4399" y="1496"/>
                </a:lnTo>
                <a:lnTo>
                  <a:pt x="4402" y="1499"/>
                </a:lnTo>
                <a:lnTo>
                  <a:pt x="4405" y="1503"/>
                </a:lnTo>
                <a:lnTo>
                  <a:pt x="4403" y="1499"/>
                </a:lnTo>
                <a:lnTo>
                  <a:pt x="4400" y="1496"/>
                </a:lnTo>
                <a:close/>
                <a:moveTo>
                  <a:pt x="4408" y="1555"/>
                </a:moveTo>
                <a:lnTo>
                  <a:pt x="4410" y="1553"/>
                </a:lnTo>
                <a:lnTo>
                  <a:pt x="4408" y="1552"/>
                </a:lnTo>
                <a:lnTo>
                  <a:pt x="4407" y="1553"/>
                </a:lnTo>
                <a:lnTo>
                  <a:pt x="4405" y="1553"/>
                </a:lnTo>
                <a:lnTo>
                  <a:pt x="4407" y="1554"/>
                </a:lnTo>
                <a:lnTo>
                  <a:pt x="4408" y="1555"/>
                </a:lnTo>
                <a:close/>
                <a:moveTo>
                  <a:pt x="4406" y="1548"/>
                </a:moveTo>
                <a:lnTo>
                  <a:pt x="4408" y="1541"/>
                </a:lnTo>
                <a:lnTo>
                  <a:pt x="4411" y="1538"/>
                </a:lnTo>
                <a:lnTo>
                  <a:pt x="4413" y="1536"/>
                </a:lnTo>
                <a:lnTo>
                  <a:pt x="4413" y="1526"/>
                </a:lnTo>
                <a:lnTo>
                  <a:pt x="4413" y="1526"/>
                </a:lnTo>
                <a:lnTo>
                  <a:pt x="4410" y="1534"/>
                </a:lnTo>
                <a:lnTo>
                  <a:pt x="4408" y="1538"/>
                </a:lnTo>
                <a:lnTo>
                  <a:pt x="4405" y="1541"/>
                </a:lnTo>
                <a:lnTo>
                  <a:pt x="4405" y="1546"/>
                </a:lnTo>
                <a:lnTo>
                  <a:pt x="4404" y="1551"/>
                </a:lnTo>
                <a:lnTo>
                  <a:pt x="4404" y="1551"/>
                </a:lnTo>
                <a:lnTo>
                  <a:pt x="4404" y="1551"/>
                </a:lnTo>
                <a:lnTo>
                  <a:pt x="4406" y="1548"/>
                </a:lnTo>
                <a:close/>
                <a:moveTo>
                  <a:pt x="4370" y="1510"/>
                </a:moveTo>
                <a:lnTo>
                  <a:pt x="4369" y="1507"/>
                </a:lnTo>
                <a:lnTo>
                  <a:pt x="4369" y="1510"/>
                </a:lnTo>
                <a:lnTo>
                  <a:pt x="4370" y="1510"/>
                </a:lnTo>
                <a:close/>
                <a:moveTo>
                  <a:pt x="4378" y="1495"/>
                </a:moveTo>
                <a:lnTo>
                  <a:pt x="4373" y="1493"/>
                </a:lnTo>
                <a:lnTo>
                  <a:pt x="4369" y="1491"/>
                </a:lnTo>
                <a:lnTo>
                  <a:pt x="4359" y="1491"/>
                </a:lnTo>
                <a:lnTo>
                  <a:pt x="4361" y="1494"/>
                </a:lnTo>
                <a:lnTo>
                  <a:pt x="4363" y="1497"/>
                </a:lnTo>
                <a:lnTo>
                  <a:pt x="4366" y="1501"/>
                </a:lnTo>
                <a:lnTo>
                  <a:pt x="4369" y="1504"/>
                </a:lnTo>
                <a:lnTo>
                  <a:pt x="4370" y="1507"/>
                </a:lnTo>
                <a:lnTo>
                  <a:pt x="4370" y="1507"/>
                </a:lnTo>
                <a:lnTo>
                  <a:pt x="4373" y="1508"/>
                </a:lnTo>
                <a:lnTo>
                  <a:pt x="4373" y="1506"/>
                </a:lnTo>
                <a:lnTo>
                  <a:pt x="4375" y="1504"/>
                </a:lnTo>
                <a:lnTo>
                  <a:pt x="4377" y="1503"/>
                </a:lnTo>
                <a:lnTo>
                  <a:pt x="4376" y="1502"/>
                </a:lnTo>
                <a:lnTo>
                  <a:pt x="4375" y="1501"/>
                </a:lnTo>
                <a:lnTo>
                  <a:pt x="4376" y="1498"/>
                </a:lnTo>
                <a:lnTo>
                  <a:pt x="4378" y="1495"/>
                </a:lnTo>
                <a:close/>
                <a:moveTo>
                  <a:pt x="4441" y="1530"/>
                </a:moveTo>
                <a:lnTo>
                  <a:pt x="4440" y="1530"/>
                </a:lnTo>
                <a:lnTo>
                  <a:pt x="4440" y="1529"/>
                </a:lnTo>
                <a:lnTo>
                  <a:pt x="4439" y="1529"/>
                </a:lnTo>
                <a:lnTo>
                  <a:pt x="4439" y="1530"/>
                </a:lnTo>
                <a:lnTo>
                  <a:pt x="4440" y="1530"/>
                </a:lnTo>
                <a:lnTo>
                  <a:pt x="4441" y="1530"/>
                </a:lnTo>
                <a:close/>
                <a:moveTo>
                  <a:pt x="4409" y="1324"/>
                </a:moveTo>
                <a:lnTo>
                  <a:pt x="4408" y="1324"/>
                </a:lnTo>
                <a:lnTo>
                  <a:pt x="4411" y="1327"/>
                </a:lnTo>
                <a:lnTo>
                  <a:pt x="4412" y="1326"/>
                </a:lnTo>
                <a:lnTo>
                  <a:pt x="4413" y="1324"/>
                </a:lnTo>
                <a:lnTo>
                  <a:pt x="4409" y="1323"/>
                </a:lnTo>
                <a:lnTo>
                  <a:pt x="4409" y="1324"/>
                </a:lnTo>
                <a:close/>
                <a:moveTo>
                  <a:pt x="4483" y="1692"/>
                </a:moveTo>
                <a:lnTo>
                  <a:pt x="4482" y="1691"/>
                </a:lnTo>
                <a:lnTo>
                  <a:pt x="4483" y="1692"/>
                </a:lnTo>
                <a:lnTo>
                  <a:pt x="4483" y="1692"/>
                </a:lnTo>
                <a:close/>
                <a:moveTo>
                  <a:pt x="4484" y="1266"/>
                </a:moveTo>
                <a:lnTo>
                  <a:pt x="4484" y="1266"/>
                </a:lnTo>
                <a:lnTo>
                  <a:pt x="4484" y="1269"/>
                </a:lnTo>
                <a:lnTo>
                  <a:pt x="4484" y="1272"/>
                </a:lnTo>
                <a:lnTo>
                  <a:pt x="4484" y="1272"/>
                </a:lnTo>
                <a:lnTo>
                  <a:pt x="4486" y="1271"/>
                </a:lnTo>
                <a:lnTo>
                  <a:pt x="4487" y="1270"/>
                </a:lnTo>
                <a:lnTo>
                  <a:pt x="4486" y="1268"/>
                </a:lnTo>
                <a:lnTo>
                  <a:pt x="4484" y="1266"/>
                </a:lnTo>
                <a:close/>
                <a:moveTo>
                  <a:pt x="4481" y="1277"/>
                </a:moveTo>
                <a:lnTo>
                  <a:pt x="4482" y="1276"/>
                </a:lnTo>
                <a:lnTo>
                  <a:pt x="4483" y="1276"/>
                </a:lnTo>
                <a:lnTo>
                  <a:pt x="4481" y="1276"/>
                </a:lnTo>
                <a:lnTo>
                  <a:pt x="4481" y="1277"/>
                </a:lnTo>
                <a:close/>
                <a:moveTo>
                  <a:pt x="4463" y="1740"/>
                </a:moveTo>
                <a:lnTo>
                  <a:pt x="4463" y="1740"/>
                </a:lnTo>
                <a:lnTo>
                  <a:pt x="4463" y="1741"/>
                </a:lnTo>
                <a:lnTo>
                  <a:pt x="4462" y="1741"/>
                </a:lnTo>
                <a:lnTo>
                  <a:pt x="4463" y="1741"/>
                </a:lnTo>
                <a:lnTo>
                  <a:pt x="4463" y="1740"/>
                </a:lnTo>
                <a:close/>
                <a:moveTo>
                  <a:pt x="4479" y="1654"/>
                </a:moveTo>
                <a:lnTo>
                  <a:pt x="4478" y="1654"/>
                </a:lnTo>
                <a:lnTo>
                  <a:pt x="4473" y="1658"/>
                </a:lnTo>
                <a:lnTo>
                  <a:pt x="4473" y="1662"/>
                </a:lnTo>
                <a:lnTo>
                  <a:pt x="4478" y="1662"/>
                </a:lnTo>
                <a:lnTo>
                  <a:pt x="4478" y="1660"/>
                </a:lnTo>
                <a:lnTo>
                  <a:pt x="4479" y="1658"/>
                </a:lnTo>
                <a:lnTo>
                  <a:pt x="4480" y="1657"/>
                </a:lnTo>
                <a:lnTo>
                  <a:pt x="4481" y="1656"/>
                </a:lnTo>
                <a:lnTo>
                  <a:pt x="4480" y="1655"/>
                </a:lnTo>
                <a:lnTo>
                  <a:pt x="4479" y="1654"/>
                </a:lnTo>
                <a:close/>
                <a:moveTo>
                  <a:pt x="4469" y="1290"/>
                </a:moveTo>
                <a:lnTo>
                  <a:pt x="4469" y="1290"/>
                </a:lnTo>
                <a:lnTo>
                  <a:pt x="4465" y="1292"/>
                </a:lnTo>
                <a:lnTo>
                  <a:pt x="4469" y="1290"/>
                </a:lnTo>
                <a:close/>
                <a:moveTo>
                  <a:pt x="4471" y="1288"/>
                </a:moveTo>
                <a:lnTo>
                  <a:pt x="4472" y="1289"/>
                </a:lnTo>
                <a:lnTo>
                  <a:pt x="4473" y="1287"/>
                </a:lnTo>
                <a:lnTo>
                  <a:pt x="4474" y="1287"/>
                </a:lnTo>
                <a:lnTo>
                  <a:pt x="4473" y="1287"/>
                </a:lnTo>
                <a:lnTo>
                  <a:pt x="4471" y="1288"/>
                </a:lnTo>
                <a:close/>
                <a:moveTo>
                  <a:pt x="4470" y="1287"/>
                </a:moveTo>
                <a:lnTo>
                  <a:pt x="4470" y="1287"/>
                </a:lnTo>
                <a:lnTo>
                  <a:pt x="4469" y="1287"/>
                </a:lnTo>
                <a:lnTo>
                  <a:pt x="4469" y="1290"/>
                </a:lnTo>
                <a:lnTo>
                  <a:pt x="4471" y="1288"/>
                </a:lnTo>
                <a:lnTo>
                  <a:pt x="4471" y="1288"/>
                </a:lnTo>
                <a:lnTo>
                  <a:pt x="4470" y="1287"/>
                </a:lnTo>
                <a:close/>
                <a:moveTo>
                  <a:pt x="4469" y="1737"/>
                </a:moveTo>
                <a:lnTo>
                  <a:pt x="4469" y="1736"/>
                </a:lnTo>
                <a:lnTo>
                  <a:pt x="4468" y="1737"/>
                </a:lnTo>
                <a:lnTo>
                  <a:pt x="4466" y="1737"/>
                </a:lnTo>
                <a:lnTo>
                  <a:pt x="4469" y="1737"/>
                </a:lnTo>
                <a:close/>
                <a:moveTo>
                  <a:pt x="4458" y="1702"/>
                </a:moveTo>
                <a:lnTo>
                  <a:pt x="4458" y="1703"/>
                </a:lnTo>
                <a:lnTo>
                  <a:pt x="4458" y="1705"/>
                </a:lnTo>
                <a:lnTo>
                  <a:pt x="4458" y="1705"/>
                </a:lnTo>
                <a:lnTo>
                  <a:pt x="4458" y="1702"/>
                </a:lnTo>
                <a:lnTo>
                  <a:pt x="4458" y="1702"/>
                </a:lnTo>
                <a:close/>
                <a:moveTo>
                  <a:pt x="4418" y="1821"/>
                </a:moveTo>
                <a:lnTo>
                  <a:pt x="4429" y="1817"/>
                </a:lnTo>
                <a:lnTo>
                  <a:pt x="4427" y="1816"/>
                </a:lnTo>
                <a:lnTo>
                  <a:pt x="4419" y="1816"/>
                </a:lnTo>
                <a:lnTo>
                  <a:pt x="4418" y="1821"/>
                </a:lnTo>
                <a:close/>
                <a:moveTo>
                  <a:pt x="4449" y="1805"/>
                </a:moveTo>
                <a:lnTo>
                  <a:pt x="4443" y="1808"/>
                </a:lnTo>
                <a:lnTo>
                  <a:pt x="4442" y="1806"/>
                </a:lnTo>
                <a:lnTo>
                  <a:pt x="4440" y="1805"/>
                </a:lnTo>
                <a:lnTo>
                  <a:pt x="4437" y="1812"/>
                </a:lnTo>
                <a:lnTo>
                  <a:pt x="4439" y="1810"/>
                </a:lnTo>
                <a:lnTo>
                  <a:pt x="4441" y="1809"/>
                </a:lnTo>
                <a:lnTo>
                  <a:pt x="4447" y="1809"/>
                </a:lnTo>
                <a:lnTo>
                  <a:pt x="4449" y="1809"/>
                </a:lnTo>
                <a:lnTo>
                  <a:pt x="4452" y="1808"/>
                </a:lnTo>
                <a:lnTo>
                  <a:pt x="4450" y="1806"/>
                </a:lnTo>
                <a:lnTo>
                  <a:pt x="4449" y="1805"/>
                </a:lnTo>
                <a:close/>
                <a:moveTo>
                  <a:pt x="4475" y="1704"/>
                </a:moveTo>
                <a:lnTo>
                  <a:pt x="4472" y="1701"/>
                </a:lnTo>
                <a:lnTo>
                  <a:pt x="4470" y="1698"/>
                </a:lnTo>
                <a:lnTo>
                  <a:pt x="4467" y="1696"/>
                </a:lnTo>
                <a:lnTo>
                  <a:pt x="4465" y="1693"/>
                </a:lnTo>
                <a:lnTo>
                  <a:pt x="4465" y="1696"/>
                </a:lnTo>
                <a:lnTo>
                  <a:pt x="4466" y="1697"/>
                </a:lnTo>
                <a:lnTo>
                  <a:pt x="4466" y="1698"/>
                </a:lnTo>
                <a:lnTo>
                  <a:pt x="4470" y="1703"/>
                </a:lnTo>
                <a:lnTo>
                  <a:pt x="4472" y="1703"/>
                </a:lnTo>
                <a:lnTo>
                  <a:pt x="4475" y="1704"/>
                </a:lnTo>
                <a:close/>
                <a:moveTo>
                  <a:pt x="4458" y="1749"/>
                </a:moveTo>
                <a:lnTo>
                  <a:pt x="4458" y="1749"/>
                </a:lnTo>
                <a:lnTo>
                  <a:pt x="4458" y="1750"/>
                </a:lnTo>
                <a:lnTo>
                  <a:pt x="4458" y="1751"/>
                </a:lnTo>
                <a:lnTo>
                  <a:pt x="4458" y="1751"/>
                </a:lnTo>
                <a:lnTo>
                  <a:pt x="4458" y="1749"/>
                </a:lnTo>
                <a:close/>
                <a:moveTo>
                  <a:pt x="4441" y="1740"/>
                </a:moveTo>
                <a:lnTo>
                  <a:pt x="4441" y="1744"/>
                </a:lnTo>
                <a:lnTo>
                  <a:pt x="4445" y="1748"/>
                </a:lnTo>
                <a:lnTo>
                  <a:pt x="4448" y="1752"/>
                </a:lnTo>
                <a:lnTo>
                  <a:pt x="4451" y="1752"/>
                </a:lnTo>
                <a:lnTo>
                  <a:pt x="4457" y="1747"/>
                </a:lnTo>
                <a:lnTo>
                  <a:pt x="4457" y="1744"/>
                </a:lnTo>
                <a:lnTo>
                  <a:pt x="4456" y="1744"/>
                </a:lnTo>
                <a:lnTo>
                  <a:pt x="4458" y="1742"/>
                </a:lnTo>
                <a:lnTo>
                  <a:pt x="4456" y="1740"/>
                </a:lnTo>
                <a:lnTo>
                  <a:pt x="4453" y="1738"/>
                </a:lnTo>
                <a:lnTo>
                  <a:pt x="4451" y="1737"/>
                </a:lnTo>
                <a:lnTo>
                  <a:pt x="4446" y="1739"/>
                </a:lnTo>
                <a:lnTo>
                  <a:pt x="4441" y="1740"/>
                </a:lnTo>
                <a:close/>
                <a:moveTo>
                  <a:pt x="4475" y="1704"/>
                </a:moveTo>
                <a:lnTo>
                  <a:pt x="4475" y="1704"/>
                </a:lnTo>
                <a:lnTo>
                  <a:pt x="4475" y="1704"/>
                </a:lnTo>
                <a:lnTo>
                  <a:pt x="4475" y="1704"/>
                </a:lnTo>
                <a:lnTo>
                  <a:pt x="4475" y="1704"/>
                </a:lnTo>
                <a:close/>
                <a:moveTo>
                  <a:pt x="4474" y="1287"/>
                </a:moveTo>
                <a:lnTo>
                  <a:pt x="4475" y="1287"/>
                </a:lnTo>
                <a:lnTo>
                  <a:pt x="4477" y="1286"/>
                </a:lnTo>
                <a:lnTo>
                  <a:pt x="4475" y="1286"/>
                </a:lnTo>
                <a:lnTo>
                  <a:pt x="4474" y="1287"/>
                </a:lnTo>
                <a:close/>
                <a:moveTo>
                  <a:pt x="4463" y="1710"/>
                </a:moveTo>
                <a:lnTo>
                  <a:pt x="4463" y="1710"/>
                </a:lnTo>
                <a:lnTo>
                  <a:pt x="4463" y="1710"/>
                </a:lnTo>
                <a:lnTo>
                  <a:pt x="4462" y="1711"/>
                </a:lnTo>
                <a:lnTo>
                  <a:pt x="4463" y="1711"/>
                </a:lnTo>
                <a:lnTo>
                  <a:pt x="4463" y="1710"/>
                </a:lnTo>
                <a:close/>
                <a:moveTo>
                  <a:pt x="4457" y="1700"/>
                </a:moveTo>
                <a:lnTo>
                  <a:pt x="4458" y="1700"/>
                </a:lnTo>
                <a:lnTo>
                  <a:pt x="4462" y="1708"/>
                </a:lnTo>
                <a:lnTo>
                  <a:pt x="4463" y="1708"/>
                </a:lnTo>
                <a:lnTo>
                  <a:pt x="4465" y="1707"/>
                </a:lnTo>
                <a:lnTo>
                  <a:pt x="4466" y="1707"/>
                </a:lnTo>
                <a:lnTo>
                  <a:pt x="4468" y="1706"/>
                </a:lnTo>
                <a:lnTo>
                  <a:pt x="4469" y="1705"/>
                </a:lnTo>
                <a:lnTo>
                  <a:pt x="4468" y="1705"/>
                </a:lnTo>
                <a:lnTo>
                  <a:pt x="4466" y="1704"/>
                </a:lnTo>
                <a:lnTo>
                  <a:pt x="4465" y="1704"/>
                </a:lnTo>
                <a:lnTo>
                  <a:pt x="4463" y="1703"/>
                </a:lnTo>
                <a:lnTo>
                  <a:pt x="4465" y="1699"/>
                </a:lnTo>
                <a:lnTo>
                  <a:pt x="4464" y="1698"/>
                </a:lnTo>
                <a:lnTo>
                  <a:pt x="4462" y="1696"/>
                </a:lnTo>
                <a:lnTo>
                  <a:pt x="4457" y="1698"/>
                </a:lnTo>
                <a:lnTo>
                  <a:pt x="4457" y="1700"/>
                </a:lnTo>
                <a:close/>
                <a:moveTo>
                  <a:pt x="4400" y="1579"/>
                </a:moveTo>
                <a:lnTo>
                  <a:pt x="4401" y="1579"/>
                </a:lnTo>
                <a:lnTo>
                  <a:pt x="4401" y="1579"/>
                </a:lnTo>
                <a:lnTo>
                  <a:pt x="4400" y="1579"/>
                </a:lnTo>
                <a:close/>
                <a:moveTo>
                  <a:pt x="4443" y="1550"/>
                </a:moveTo>
                <a:lnTo>
                  <a:pt x="4444" y="1555"/>
                </a:lnTo>
                <a:lnTo>
                  <a:pt x="4445" y="1555"/>
                </a:lnTo>
                <a:lnTo>
                  <a:pt x="4445" y="1555"/>
                </a:lnTo>
                <a:lnTo>
                  <a:pt x="4449" y="1560"/>
                </a:lnTo>
                <a:lnTo>
                  <a:pt x="4444" y="1563"/>
                </a:lnTo>
                <a:lnTo>
                  <a:pt x="4446" y="1567"/>
                </a:lnTo>
                <a:lnTo>
                  <a:pt x="4450" y="1567"/>
                </a:lnTo>
                <a:lnTo>
                  <a:pt x="4449" y="1569"/>
                </a:lnTo>
                <a:lnTo>
                  <a:pt x="4447" y="1571"/>
                </a:lnTo>
                <a:lnTo>
                  <a:pt x="4451" y="1571"/>
                </a:lnTo>
                <a:lnTo>
                  <a:pt x="4451" y="1572"/>
                </a:lnTo>
                <a:lnTo>
                  <a:pt x="4450" y="1573"/>
                </a:lnTo>
                <a:lnTo>
                  <a:pt x="4451" y="1575"/>
                </a:lnTo>
                <a:lnTo>
                  <a:pt x="4451" y="1576"/>
                </a:lnTo>
                <a:lnTo>
                  <a:pt x="4451" y="1579"/>
                </a:lnTo>
                <a:lnTo>
                  <a:pt x="4452" y="1583"/>
                </a:lnTo>
                <a:lnTo>
                  <a:pt x="4450" y="1585"/>
                </a:lnTo>
                <a:lnTo>
                  <a:pt x="4447" y="1588"/>
                </a:lnTo>
                <a:lnTo>
                  <a:pt x="4446" y="1588"/>
                </a:lnTo>
                <a:lnTo>
                  <a:pt x="4447" y="1589"/>
                </a:lnTo>
                <a:lnTo>
                  <a:pt x="4447" y="1590"/>
                </a:lnTo>
                <a:lnTo>
                  <a:pt x="4447" y="1595"/>
                </a:lnTo>
                <a:lnTo>
                  <a:pt x="4446" y="1600"/>
                </a:lnTo>
                <a:lnTo>
                  <a:pt x="4445" y="1600"/>
                </a:lnTo>
                <a:lnTo>
                  <a:pt x="4445" y="1598"/>
                </a:lnTo>
                <a:lnTo>
                  <a:pt x="4444" y="1588"/>
                </a:lnTo>
                <a:lnTo>
                  <a:pt x="4442" y="1587"/>
                </a:lnTo>
                <a:lnTo>
                  <a:pt x="4440" y="1586"/>
                </a:lnTo>
                <a:lnTo>
                  <a:pt x="4441" y="1587"/>
                </a:lnTo>
                <a:lnTo>
                  <a:pt x="4441" y="1588"/>
                </a:lnTo>
                <a:lnTo>
                  <a:pt x="4441" y="1588"/>
                </a:lnTo>
                <a:lnTo>
                  <a:pt x="4440" y="1588"/>
                </a:lnTo>
                <a:lnTo>
                  <a:pt x="4439" y="1587"/>
                </a:lnTo>
                <a:lnTo>
                  <a:pt x="4438" y="1586"/>
                </a:lnTo>
                <a:lnTo>
                  <a:pt x="4436" y="1587"/>
                </a:lnTo>
                <a:lnTo>
                  <a:pt x="4433" y="1590"/>
                </a:lnTo>
                <a:lnTo>
                  <a:pt x="4433" y="1593"/>
                </a:lnTo>
                <a:lnTo>
                  <a:pt x="4438" y="1594"/>
                </a:lnTo>
                <a:lnTo>
                  <a:pt x="4439" y="1598"/>
                </a:lnTo>
                <a:lnTo>
                  <a:pt x="4440" y="1603"/>
                </a:lnTo>
                <a:lnTo>
                  <a:pt x="4437" y="1607"/>
                </a:lnTo>
                <a:lnTo>
                  <a:pt x="4435" y="1612"/>
                </a:lnTo>
                <a:lnTo>
                  <a:pt x="4433" y="1612"/>
                </a:lnTo>
                <a:lnTo>
                  <a:pt x="4432" y="1608"/>
                </a:lnTo>
                <a:lnTo>
                  <a:pt x="4432" y="1605"/>
                </a:lnTo>
                <a:lnTo>
                  <a:pt x="4432" y="1602"/>
                </a:lnTo>
                <a:lnTo>
                  <a:pt x="4433" y="1600"/>
                </a:lnTo>
                <a:lnTo>
                  <a:pt x="4432" y="1600"/>
                </a:lnTo>
                <a:lnTo>
                  <a:pt x="4431" y="1602"/>
                </a:lnTo>
                <a:lnTo>
                  <a:pt x="4429" y="1604"/>
                </a:lnTo>
                <a:lnTo>
                  <a:pt x="4428" y="1604"/>
                </a:lnTo>
                <a:lnTo>
                  <a:pt x="4423" y="1601"/>
                </a:lnTo>
                <a:lnTo>
                  <a:pt x="4418" y="1599"/>
                </a:lnTo>
                <a:lnTo>
                  <a:pt x="4416" y="1597"/>
                </a:lnTo>
                <a:lnTo>
                  <a:pt x="4414" y="1592"/>
                </a:lnTo>
                <a:lnTo>
                  <a:pt x="4413" y="1588"/>
                </a:lnTo>
                <a:lnTo>
                  <a:pt x="4415" y="1584"/>
                </a:lnTo>
                <a:lnTo>
                  <a:pt x="4418" y="1579"/>
                </a:lnTo>
                <a:lnTo>
                  <a:pt x="4415" y="1578"/>
                </a:lnTo>
                <a:lnTo>
                  <a:pt x="4413" y="1577"/>
                </a:lnTo>
                <a:lnTo>
                  <a:pt x="4406" y="1575"/>
                </a:lnTo>
                <a:lnTo>
                  <a:pt x="4405" y="1575"/>
                </a:lnTo>
                <a:lnTo>
                  <a:pt x="4405" y="1576"/>
                </a:lnTo>
                <a:lnTo>
                  <a:pt x="4405" y="1578"/>
                </a:lnTo>
                <a:lnTo>
                  <a:pt x="4404" y="1579"/>
                </a:lnTo>
                <a:lnTo>
                  <a:pt x="4404" y="1578"/>
                </a:lnTo>
                <a:lnTo>
                  <a:pt x="4403" y="1579"/>
                </a:lnTo>
                <a:lnTo>
                  <a:pt x="4401" y="1579"/>
                </a:lnTo>
                <a:lnTo>
                  <a:pt x="4401" y="1579"/>
                </a:lnTo>
                <a:lnTo>
                  <a:pt x="4401" y="1579"/>
                </a:lnTo>
                <a:lnTo>
                  <a:pt x="4401" y="1577"/>
                </a:lnTo>
                <a:lnTo>
                  <a:pt x="4400" y="1574"/>
                </a:lnTo>
                <a:lnTo>
                  <a:pt x="4397" y="1579"/>
                </a:lnTo>
                <a:lnTo>
                  <a:pt x="4397" y="1584"/>
                </a:lnTo>
                <a:lnTo>
                  <a:pt x="4397" y="1584"/>
                </a:lnTo>
                <a:lnTo>
                  <a:pt x="4396" y="1582"/>
                </a:lnTo>
                <a:lnTo>
                  <a:pt x="4395" y="1579"/>
                </a:lnTo>
                <a:lnTo>
                  <a:pt x="4396" y="1577"/>
                </a:lnTo>
                <a:lnTo>
                  <a:pt x="4397" y="1575"/>
                </a:lnTo>
                <a:lnTo>
                  <a:pt x="4394" y="1575"/>
                </a:lnTo>
                <a:lnTo>
                  <a:pt x="4391" y="1577"/>
                </a:lnTo>
                <a:lnTo>
                  <a:pt x="4389" y="1579"/>
                </a:lnTo>
                <a:lnTo>
                  <a:pt x="4390" y="1579"/>
                </a:lnTo>
                <a:lnTo>
                  <a:pt x="4389" y="1581"/>
                </a:lnTo>
                <a:lnTo>
                  <a:pt x="4389" y="1583"/>
                </a:lnTo>
                <a:lnTo>
                  <a:pt x="4385" y="1588"/>
                </a:lnTo>
                <a:lnTo>
                  <a:pt x="4383" y="1587"/>
                </a:lnTo>
                <a:lnTo>
                  <a:pt x="4383" y="1586"/>
                </a:lnTo>
                <a:lnTo>
                  <a:pt x="4382" y="1586"/>
                </a:lnTo>
                <a:lnTo>
                  <a:pt x="4385" y="1571"/>
                </a:lnTo>
                <a:lnTo>
                  <a:pt x="4397" y="1568"/>
                </a:lnTo>
                <a:lnTo>
                  <a:pt x="4397" y="1567"/>
                </a:lnTo>
                <a:lnTo>
                  <a:pt x="4404" y="1567"/>
                </a:lnTo>
                <a:lnTo>
                  <a:pt x="4405" y="1563"/>
                </a:lnTo>
                <a:lnTo>
                  <a:pt x="4405" y="1560"/>
                </a:lnTo>
                <a:lnTo>
                  <a:pt x="4407" y="1561"/>
                </a:lnTo>
                <a:lnTo>
                  <a:pt x="4409" y="1562"/>
                </a:lnTo>
                <a:lnTo>
                  <a:pt x="4409" y="1564"/>
                </a:lnTo>
                <a:lnTo>
                  <a:pt x="4409" y="1568"/>
                </a:lnTo>
                <a:lnTo>
                  <a:pt x="4407" y="1573"/>
                </a:lnTo>
                <a:lnTo>
                  <a:pt x="4413" y="1571"/>
                </a:lnTo>
                <a:lnTo>
                  <a:pt x="4417" y="1571"/>
                </a:lnTo>
                <a:lnTo>
                  <a:pt x="4417" y="1568"/>
                </a:lnTo>
                <a:lnTo>
                  <a:pt x="4418" y="1565"/>
                </a:lnTo>
                <a:lnTo>
                  <a:pt x="4419" y="1563"/>
                </a:lnTo>
                <a:lnTo>
                  <a:pt x="4420" y="1562"/>
                </a:lnTo>
                <a:lnTo>
                  <a:pt x="4424" y="1564"/>
                </a:lnTo>
                <a:lnTo>
                  <a:pt x="4427" y="1560"/>
                </a:lnTo>
                <a:lnTo>
                  <a:pt x="4429" y="1557"/>
                </a:lnTo>
                <a:lnTo>
                  <a:pt x="4429" y="1557"/>
                </a:lnTo>
                <a:lnTo>
                  <a:pt x="4429" y="1557"/>
                </a:lnTo>
                <a:lnTo>
                  <a:pt x="4429" y="1558"/>
                </a:lnTo>
                <a:lnTo>
                  <a:pt x="4430" y="1560"/>
                </a:lnTo>
                <a:lnTo>
                  <a:pt x="4433" y="1559"/>
                </a:lnTo>
                <a:lnTo>
                  <a:pt x="4437" y="1559"/>
                </a:lnTo>
                <a:lnTo>
                  <a:pt x="4433" y="1548"/>
                </a:lnTo>
                <a:lnTo>
                  <a:pt x="4433" y="1543"/>
                </a:lnTo>
                <a:lnTo>
                  <a:pt x="4435" y="1543"/>
                </a:lnTo>
                <a:lnTo>
                  <a:pt x="4439" y="1547"/>
                </a:lnTo>
                <a:lnTo>
                  <a:pt x="4441" y="1548"/>
                </a:lnTo>
                <a:lnTo>
                  <a:pt x="4443" y="1550"/>
                </a:lnTo>
                <a:close/>
                <a:moveTo>
                  <a:pt x="4441" y="1583"/>
                </a:moveTo>
                <a:lnTo>
                  <a:pt x="4439" y="1584"/>
                </a:lnTo>
                <a:lnTo>
                  <a:pt x="4439" y="1586"/>
                </a:lnTo>
                <a:lnTo>
                  <a:pt x="4439" y="1585"/>
                </a:lnTo>
                <a:lnTo>
                  <a:pt x="4440" y="1584"/>
                </a:lnTo>
                <a:lnTo>
                  <a:pt x="4440" y="1585"/>
                </a:lnTo>
                <a:lnTo>
                  <a:pt x="4441" y="1586"/>
                </a:lnTo>
                <a:lnTo>
                  <a:pt x="4441" y="1583"/>
                </a:lnTo>
                <a:close/>
                <a:moveTo>
                  <a:pt x="4404" y="1579"/>
                </a:moveTo>
                <a:lnTo>
                  <a:pt x="4405" y="1579"/>
                </a:lnTo>
                <a:lnTo>
                  <a:pt x="4404" y="1579"/>
                </a:lnTo>
                <a:lnTo>
                  <a:pt x="4404" y="1579"/>
                </a:lnTo>
                <a:lnTo>
                  <a:pt x="4404" y="1579"/>
                </a:lnTo>
                <a:close/>
                <a:moveTo>
                  <a:pt x="4405" y="1583"/>
                </a:moveTo>
                <a:lnTo>
                  <a:pt x="4405" y="1583"/>
                </a:lnTo>
                <a:lnTo>
                  <a:pt x="4405" y="1582"/>
                </a:lnTo>
                <a:lnTo>
                  <a:pt x="4405" y="1583"/>
                </a:lnTo>
                <a:lnTo>
                  <a:pt x="4405" y="1583"/>
                </a:lnTo>
                <a:close/>
                <a:moveTo>
                  <a:pt x="4405" y="1582"/>
                </a:moveTo>
                <a:lnTo>
                  <a:pt x="4405" y="1579"/>
                </a:lnTo>
                <a:lnTo>
                  <a:pt x="4405" y="1579"/>
                </a:lnTo>
                <a:lnTo>
                  <a:pt x="4405" y="1579"/>
                </a:lnTo>
                <a:lnTo>
                  <a:pt x="4405" y="1579"/>
                </a:lnTo>
                <a:lnTo>
                  <a:pt x="4405" y="1581"/>
                </a:lnTo>
                <a:lnTo>
                  <a:pt x="4405" y="1582"/>
                </a:lnTo>
                <a:close/>
                <a:moveTo>
                  <a:pt x="4383" y="1509"/>
                </a:moveTo>
                <a:lnTo>
                  <a:pt x="4383" y="1510"/>
                </a:lnTo>
                <a:lnTo>
                  <a:pt x="4385" y="1503"/>
                </a:lnTo>
                <a:lnTo>
                  <a:pt x="4383" y="1504"/>
                </a:lnTo>
                <a:lnTo>
                  <a:pt x="4383" y="1506"/>
                </a:lnTo>
                <a:lnTo>
                  <a:pt x="4382" y="1508"/>
                </a:lnTo>
                <a:lnTo>
                  <a:pt x="4383" y="1509"/>
                </a:lnTo>
                <a:close/>
                <a:moveTo>
                  <a:pt x="4380" y="1599"/>
                </a:moveTo>
                <a:lnTo>
                  <a:pt x="4382" y="1602"/>
                </a:lnTo>
                <a:lnTo>
                  <a:pt x="4383" y="1602"/>
                </a:lnTo>
                <a:lnTo>
                  <a:pt x="4382" y="1600"/>
                </a:lnTo>
                <a:lnTo>
                  <a:pt x="4380" y="1599"/>
                </a:lnTo>
                <a:close/>
                <a:moveTo>
                  <a:pt x="4386" y="1594"/>
                </a:moveTo>
                <a:lnTo>
                  <a:pt x="4386" y="1593"/>
                </a:lnTo>
                <a:lnTo>
                  <a:pt x="4386" y="1592"/>
                </a:lnTo>
                <a:lnTo>
                  <a:pt x="4385" y="1590"/>
                </a:lnTo>
                <a:lnTo>
                  <a:pt x="4383" y="1591"/>
                </a:lnTo>
                <a:lnTo>
                  <a:pt x="4380" y="1591"/>
                </a:lnTo>
                <a:lnTo>
                  <a:pt x="4382" y="1593"/>
                </a:lnTo>
                <a:lnTo>
                  <a:pt x="4383" y="1594"/>
                </a:lnTo>
                <a:lnTo>
                  <a:pt x="4386" y="1594"/>
                </a:lnTo>
                <a:close/>
                <a:moveTo>
                  <a:pt x="4465" y="1298"/>
                </a:moveTo>
                <a:lnTo>
                  <a:pt x="4467" y="1298"/>
                </a:lnTo>
                <a:lnTo>
                  <a:pt x="4465" y="1296"/>
                </a:lnTo>
                <a:lnTo>
                  <a:pt x="4465" y="1298"/>
                </a:lnTo>
                <a:close/>
                <a:moveTo>
                  <a:pt x="4451" y="1635"/>
                </a:moveTo>
                <a:lnTo>
                  <a:pt x="4451" y="1635"/>
                </a:lnTo>
                <a:lnTo>
                  <a:pt x="4451" y="1635"/>
                </a:lnTo>
                <a:lnTo>
                  <a:pt x="4449" y="1634"/>
                </a:lnTo>
                <a:lnTo>
                  <a:pt x="4451" y="1635"/>
                </a:lnTo>
                <a:close/>
                <a:moveTo>
                  <a:pt x="4470" y="1661"/>
                </a:moveTo>
                <a:lnTo>
                  <a:pt x="4469" y="1661"/>
                </a:lnTo>
                <a:lnTo>
                  <a:pt x="4467" y="1663"/>
                </a:lnTo>
                <a:lnTo>
                  <a:pt x="4468" y="1662"/>
                </a:lnTo>
                <a:lnTo>
                  <a:pt x="4470" y="1661"/>
                </a:lnTo>
                <a:close/>
                <a:moveTo>
                  <a:pt x="4467" y="1663"/>
                </a:moveTo>
                <a:lnTo>
                  <a:pt x="4466" y="1664"/>
                </a:lnTo>
                <a:lnTo>
                  <a:pt x="4466" y="1664"/>
                </a:lnTo>
                <a:lnTo>
                  <a:pt x="4466" y="1664"/>
                </a:lnTo>
                <a:lnTo>
                  <a:pt x="4467" y="1663"/>
                </a:lnTo>
                <a:lnTo>
                  <a:pt x="4467" y="1663"/>
                </a:lnTo>
                <a:close/>
                <a:moveTo>
                  <a:pt x="4443" y="1545"/>
                </a:moveTo>
                <a:lnTo>
                  <a:pt x="4444" y="1546"/>
                </a:lnTo>
                <a:lnTo>
                  <a:pt x="4446" y="1545"/>
                </a:lnTo>
                <a:lnTo>
                  <a:pt x="4444" y="1541"/>
                </a:lnTo>
                <a:lnTo>
                  <a:pt x="4443" y="1545"/>
                </a:lnTo>
                <a:close/>
                <a:moveTo>
                  <a:pt x="4456" y="1172"/>
                </a:moveTo>
                <a:lnTo>
                  <a:pt x="4447" y="1174"/>
                </a:lnTo>
                <a:lnTo>
                  <a:pt x="4447" y="1176"/>
                </a:lnTo>
                <a:lnTo>
                  <a:pt x="4446" y="1178"/>
                </a:lnTo>
                <a:lnTo>
                  <a:pt x="4447" y="1178"/>
                </a:lnTo>
                <a:lnTo>
                  <a:pt x="4456" y="1176"/>
                </a:lnTo>
                <a:lnTo>
                  <a:pt x="4457" y="1175"/>
                </a:lnTo>
                <a:lnTo>
                  <a:pt x="4458" y="1174"/>
                </a:lnTo>
                <a:lnTo>
                  <a:pt x="4457" y="1173"/>
                </a:lnTo>
                <a:lnTo>
                  <a:pt x="4456" y="1172"/>
                </a:lnTo>
                <a:close/>
                <a:moveTo>
                  <a:pt x="4463" y="1668"/>
                </a:moveTo>
                <a:lnTo>
                  <a:pt x="4466" y="1664"/>
                </a:lnTo>
                <a:lnTo>
                  <a:pt x="4467" y="1665"/>
                </a:lnTo>
                <a:lnTo>
                  <a:pt x="4469" y="1668"/>
                </a:lnTo>
                <a:lnTo>
                  <a:pt x="4469" y="1673"/>
                </a:lnTo>
                <a:lnTo>
                  <a:pt x="4466" y="1676"/>
                </a:lnTo>
                <a:lnTo>
                  <a:pt x="4469" y="1675"/>
                </a:lnTo>
                <a:lnTo>
                  <a:pt x="4469" y="1673"/>
                </a:lnTo>
                <a:lnTo>
                  <a:pt x="4474" y="1670"/>
                </a:lnTo>
                <a:lnTo>
                  <a:pt x="4478" y="1669"/>
                </a:lnTo>
                <a:lnTo>
                  <a:pt x="4478" y="1676"/>
                </a:lnTo>
                <a:lnTo>
                  <a:pt x="4470" y="1680"/>
                </a:lnTo>
                <a:lnTo>
                  <a:pt x="4473" y="1684"/>
                </a:lnTo>
                <a:lnTo>
                  <a:pt x="4478" y="1685"/>
                </a:lnTo>
                <a:lnTo>
                  <a:pt x="4478" y="1687"/>
                </a:lnTo>
                <a:lnTo>
                  <a:pt x="4482" y="1691"/>
                </a:lnTo>
                <a:lnTo>
                  <a:pt x="4477" y="1688"/>
                </a:lnTo>
                <a:lnTo>
                  <a:pt x="4469" y="1685"/>
                </a:lnTo>
                <a:lnTo>
                  <a:pt x="4467" y="1686"/>
                </a:lnTo>
                <a:lnTo>
                  <a:pt x="4465" y="1687"/>
                </a:lnTo>
                <a:lnTo>
                  <a:pt x="4465" y="1688"/>
                </a:lnTo>
                <a:lnTo>
                  <a:pt x="4465" y="1691"/>
                </a:lnTo>
                <a:lnTo>
                  <a:pt x="4464" y="1688"/>
                </a:lnTo>
                <a:lnTo>
                  <a:pt x="4462" y="1685"/>
                </a:lnTo>
                <a:lnTo>
                  <a:pt x="4463" y="1684"/>
                </a:lnTo>
                <a:lnTo>
                  <a:pt x="4461" y="1684"/>
                </a:lnTo>
                <a:lnTo>
                  <a:pt x="4461" y="1684"/>
                </a:lnTo>
                <a:lnTo>
                  <a:pt x="4461" y="1683"/>
                </a:lnTo>
                <a:lnTo>
                  <a:pt x="4461" y="1680"/>
                </a:lnTo>
                <a:lnTo>
                  <a:pt x="4460" y="1680"/>
                </a:lnTo>
                <a:lnTo>
                  <a:pt x="4462" y="1674"/>
                </a:lnTo>
                <a:lnTo>
                  <a:pt x="4463" y="1668"/>
                </a:lnTo>
                <a:close/>
                <a:moveTo>
                  <a:pt x="4465" y="1678"/>
                </a:moveTo>
                <a:lnTo>
                  <a:pt x="4463" y="1680"/>
                </a:lnTo>
                <a:lnTo>
                  <a:pt x="4465" y="1682"/>
                </a:lnTo>
                <a:lnTo>
                  <a:pt x="4465" y="1682"/>
                </a:lnTo>
                <a:lnTo>
                  <a:pt x="4465" y="1678"/>
                </a:lnTo>
                <a:close/>
                <a:moveTo>
                  <a:pt x="4383" y="1495"/>
                </a:moveTo>
                <a:lnTo>
                  <a:pt x="4385" y="1491"/>
                </a:lnTo>
                <a:lnTo>
                  <a:pt x="4384" y="1490"/>
                </a:lnTo>
                <a:lnTo>
                  <a:pt x="4382" y="1489"/>
                </a:lnTo>
                <a:lnTo>
                  <a:pt x="4382" y="1489"/>
                </a:lnTo>
                <a:lnTo>
                  <a:pt x="4382" y="1492"/>
                </a:lnTo>
                <a:lnTo>
                  <a:pt x="4383" y="1494"/>
                </a:lnTo>
                <a:lnTo>
                  <a:pt x="4383" y="1495"/>
                </a:lnTo>
                <a:close/>
                <a:moveTo>
                  <a:pt x="4337" y="1543"/>
                </a:moveTo>
                <a:lnTo>
                  <a:pt x="4337" y="1542"/>
                </a:lnTo>
                <a:lnTo>
                  <a:pt x="4336" y="1542"/>
                </a:lnTo>
                <a:lnTo>
                  <a:pt x="4335" y="1543"/>
                </a:lnTo>
                <a:lnTo>
                  <a:pt x="4336" y="1543"/>
                </a:lnTo>
                <a:lnTo>
                  <a:pt x="4337" y="1543"/>
                </a:lnTo>
                <a:close/>
                <a:moveTo>
                  <a:pt x="4353" y="1449"/>
                </a:moveTo>
                <a:lnTo>
                  <a:pt x="4354" y="1450"/>
                </a:lnTo>
                <a:lnTo>
                  <a:pt x="4353" y="1448"/>
                </a:lnTo>
                <a:lnTo>
                  <a:pt x="4353" y="1449"/>
                </a:lnTo>
                <a:close/>
                <a:moveTo>
                  <a:pt x="4387" y="1226"/>
                </a:moveTo>
                <a:lnTo>
                  <a:pt x="4385" y="1228"/>
                </a:lnTo>
                <a:lnTo>
                  <a:pt x="4387" y="1228"/>
                </a:lnTo>
                <a:lnTo>
                  <a:pt x="4387" y="1226"/>
                </a:lnTo>
                <a:lnTo>
                  <a:pt x="4387" y="1226"/>
                </a:lnTo>
                <a:close/>
                <a:moveTo>
                  <a:pt x="4383" y="1230"/>
                </a:moveTo>
                <a:lnTo>
                  <a:pt x="4383" y="1231"/>
                </a:lnTo>
                <a:lnTo>
                  <a:pt x="4386" y="1232"/>
                </a:lnTo>
                <a:lnTo>
                  <a:pt x="4389" y="1233"/>
                </a:lnTo>
                <a:lnTo>
                  <a:pt x="4389" y="1231"/>
                </a:lnTo>
                <a:lnTo>
                  <a:pt x="4385" y="1230"/>
                </a:lnTo>
                <a:lnTo>
                  <a:pt x="4383" y="1230"/>
                </a:lnTo>
                <a:close/>
                <a:moveTo>
                  <a:pt x="4382" y="1468"/>
                </a:moveTo>
                <a:lnTo>
                  <a:pt x="4380" y="1469"/>
                </a:lnTo>
                <a:lnTo>
                  <a:pt x="4382" y="1471"/>
                </a:lnTo>
                <a:lnTo>
                  <a:pt x="4383" y="1473"/>
                </a:lnTo>
                <a:lnTo>
                  <a:pt x="4383" y="1473"/>
                </a:lnTo>
                <a:lnTo>
                  <a:pt x="4383" y="1472"/>
                </a:lnTo>
                <a:lnTo>
                  <a:pt x="4383" y="1469"/>
                </a:lnTo>
                <a:lnTo>
                  <a:pt x="4385" y="1469"/>
                </a:lnTo>
                <a:lnTo>
                  <a:pt x="4383" y="1467"/>
                </a:lnTo>
                <a:lnTo>
                  <a:pt x="4382" y="1468"/>
                </a:lnTo>
                <a:close/>
                <a:moveTo>
                  <a:pt x="4413" y="1485"/>
                </a:moveTo>
                <a:lnTo>
                  <a:pt x="4413" y="1488"/>
                </a:lnTo>
                <a:lnTo>
                  <a:pt x="4415" y="1489"/>
                </a:lnTo>
                <a:lnTo>
                  <a:pt x="4416" y="1491"/>
                </a:lnTo>
                <a:lnTo>
                  <a:pt x="4417" y="1491"/>
                </a:lnTo>
                <a:lnTo>
                  <a:pt x="4417" y="1491"/>
                </a:lnTo>
                <a:lnTo>
                  <a:pt x="4417" y="1489"/>
                </a:lnTo>
                <a:lnTo>
                  <a:pt x="4417" y="1488"/>
                </a:lnTo>
                <a:lnTo>
                  <a:pt x="4417" y="1491"/>
                </a:lnTo>
                <a:lnTo>
                  <a:pt x="4418" y="1491"/>
                </a:lnTo>
                <a:lnTo>
                  <a:pt x="4419" y="1488"/>
                </a:lnTo>
                <a:lnTo>
                  <a:pt x="4421" y="1486"/>
                </a:lnTo>
                <a:lnTo>
                  <a:pt x="4417" y="1483"/>
                </a:lnTo>
                <a:lnTo>
                  <a:pt x="4413" y="1483"/>
                </a:lnTo>
                <a:lnTo>
                  <a:pt x="4413" y="1485"/>
                </a:lnTo>
                <a:close/>
                <a:moveTo>
                  <a:pt x="4430" y="1506"/>
                </a:moveTo>
                <a:lnTo>
                  <a:pt x="4429" y="1506"/>
                </a:lnTo>
                <a:lnTo>
                  <a:pt x="4429" y="1507"/>
                </a:lnTo>
                <a:lnTo>
                  <a:pt x="4432" y="1507"/>
                </a:lnTo>
                <a:lnTo>
                  <a:pt x="4430" y="1506"/>
                </a:lnTo>
                <a:close/>
                <a:moveTo>
                  <a:pt x="4390" y="1234"/>
                </a:moveTo>
                <a:lnTo>
                  <a:pt x="4390" y="1234"/>
                </a:lnTo>
                <a:lnTo>
                  <a:pt x="4390" y="1233"/>
                </a:lnTo>
                <a:lnTo>
                  <a:pt x="4389" y="1233"/>
                </a:lnTo>
                <a:lnTo>
                  <a:pt x="4390" y="1233"/>
                </a:lnTo>
                <a:lnTo>
                  <a:pt x="4390" y="1234"/>
                </a:lnTo>
                <a:close/>
                <a:moveTo>
                  <a:pt x="4416" y="1323"/>
                </a:moveTo>
                <a:lnTo>
                  <a:pt x="4415" y="1323"/>
                </a:lnTo>
                <a:lnTo>
                  <a:pt x="4415" y="1324"/>
                </a:lnTo>
                <a:lnTo>
                  <a:pt x="4416" y="1324"/>
                </a:lnTo>
                <a:lnTo>
                  <a:pt x="4417" y="1322"/>
                </a:lnTo>
                <a:lnTo>
                  <a:pt x="4416" y="1323"/>
                </a:lnTo>
                <a:close/>
                <a:moveTo>
                  <a:pt x="4386" y="1472"/>
                </a:moveTo>
                <a:lnTo>
                  <a:pt x="4386" y="1472"/>
                </a:lnTo>
                <a:lnTo>
                  <a:pt x="4386" y="1470"/>
                </a:lnTo>
                <a:lnTo>
                  <a:pt x="4385" y="1470"/>
                </a:lnTo>
                <a:lnTo>
                  <a:pt x="4386" y="1471"/>
                </a:lnTo>
                <a:lnTo>
                  <a:pt x="4386" y="1472"/>
                </a:lnTo>
                <a:close/>
                <a:moveTo>
                  <a:pt x="4383" y="1452"/>
                </a:moveTo>
                <a:lnTo>
                  <a:pt x="4383" y="1452"/>
                </a:lnTo>
                <a:lnTo>
                  <a:pt x="4385" y="1451"/>
                </a:lnTo>
                <a:lnTo>
                  <a:pt x="4385" y="1450"/>
                </a:lnTo>
                <a:lnTo>
                  <a:pt x="4385" y="1450"/>
                </a:lnTo>
                <a:lnTo>
                  <a:pt x="4383" y="1452"/>
                </a:lnTo>
                <a:lnTo>
                  <a:pt x="4383" y="1452"/>
                </a:lnTo>
                <a:close/>
                <a:moveTo>
                  <a:pt x="4385" y="1450"/>
                </a:moveTo>
                <a:lnTo>
                  <a:pt x="4385" y="1450"/>
                </a:lnTo>
                <a:lnTo>
                  <a:pt x="4385" y="1450"/>
                </a:lnTo>
                <a:lnTo>
                  <a:pt x="4385" y="1450"/>
                </a:lnTo>
                <a:close/>
                <a:moveTo>
                  <a:pt x="4354" y="1450"/>
                </a:moveTo>
                <a:lnTo>
                  <a:pt x="4355" y="1451"/>
                </a:lnTo>
                <a:lnTo>
                  <a:pt x="4355" y="1451"/>
                </a:lnTo>
                <a:lnTo>
                  <a:pt x="4354" y="1450"/>
                </a:lnTo>
                <a:close/>
                <a:moveTo>
                  <a:pt x="4378" y="1403"/>
                </a:moveTo>
                <a:lnTo>
                  <a:pt x="4378" y="1402"/>
                </a:lnTo>
                <a:lnTo>
                  <a:pt x="4375" y="1402"/>
                </a:lnTo>
                <a:lnTo>
                  <a:pt x="4376" y="1402"/>
                </a:lnTo>
                <a:lnTo>
                  <a:pt x="4378" y="1403"/>
                </a:lnTo>
                <a:close/>
                <a:moveTo>
                  <a:pt x="4361" y="1477"/>
                </a:moveTo>
                <a:lnTo>
                  <a:pt x="4361" y="1477"/>
                </a:lnTo>
                <a:lnTo>
                  <a:pt x="4360" y="1476"/>
                </a:lnTo>
                <a:lnTo>
                  <a:pt x="4360" y="1477"/>
                </a:lnTo>
                <a:lnTo>
                  <a:pt x="4361" y="1477"/>
                </a:lnTo>
                <a:close/>
                <a:moveTo>
                  <a:pt x="4382" y="1410"/>
                </a:moveTo>
                <a:lnTo>
                  <a:pt x="4382" y="1410"/>
                </a:lnTo>
                <a:lnTo>
                  <a:pt x="4383" y="1409"/>
                </a:lnTo>
                <a:lnTo>
                  <a:pt x="4383" y="1408"/>
                </a:lnTo>
                <a:lnTo>
                  <a:pt x="4382" y="1408"/>
                </a:lnTo>
                <a:lnTo>
                  <a:pt x="4382" y="1410"/>
                </a:lnTo>
                <a:close/>
                <a:moveTo>
                  <a:pt x="4361" y="1333"/>
                </a:moveTo>
                <a:lnTo>
                  <a:pt x="4359" y="1337"/>
                </a:lnTo>
                <a:lnTo>
                  <a:pt x="4357" y="1344"/>
                </a:lnTo>
                <a:lnTo>
                  <a:pt x="4359" y="1345"/>
                </a:lnTo>
                <a:lnTo>
                  <a:pt x="4360" y="1348"/>
                </a:lnTo>
                <a:lnTo>
                  <a:pt x="4361" y="1352"/>
                </a:lnTo>
                <a:lnTo>
                  <a:pt x="4365" y="1356"/>
                </a:lnTo>
                <a:lnTo>
                  <a:pt x="4365" y="1363"/>
                </a:lnTo>
                <a:lnTo>
                  <a:pt x="4369" y="1363"/>
                </a:lnTo>
                <a:lnTo>
                  <a:pt x="4372" y="1353"/>
                </a:lnTo>
                <a:lnTo>
                  <a:pt x="4374" y="1346"/>
                </a:lnTo>
                <a:lnTo>
                  <a:pt x="4378" y="1341"/>
                </a:lnTo>
                <a:lnTo>
                  <a:pt x="4380" y="1334"/>
                </a:lnTo>
                <a:lnTo>
                  <a:pt x="4381" y="1327"/>
                </a:lnTo>
                <a:lnTo>
                  <a:pt x="4383" y="1325"/>
                </a:lnTo>
                <a:lnTo>
                  <a:pt x="4384" y="1322"/>
                </a:lnTo>
                <a:lnTo>
                  <a:pt x="4384" y="1319"/>
                </a:lnTo>
                <a:lnTo>
                  <a:pt x="4383" y="1315"/>
                </a:lnTo>
                <a:lnTo>
                  <a:pt x="4386" y="1313"/>
                </a:lnTo>
                <a:lnTo>
                  <a:pt x="4383" y="1311"/>
                </a:lnTo>
                <a:lnTo>
                  <a:pt x="4380" y="1310"/>
                </a:lnTo>
                <a:lnTo>
                  <a:pt x="4378" y="1311"/>
                </a:lnTo>
                <a:lnTo>
                  <a:pt x="4372" y="1315"/>
                </a:lnTo>
                <a:lnTo>
                  <a:pt x="4361" y="1333"/>
                </a:lnTo>
                <a:close/>
                <a:moveTo>
                  <a:pt x="4349" y="1452"/>
                </a:moveTo>
                <a:lnTo>
                  <a:pt x="4349" y="1454"/>
                </a:lnTo>
                <a:lnTo>
                  <a:pt x="4349" y="1455"/>
                </a:lnTo>
                <a:lnTo>
                  <a:pt x="4349" y="1461"/>
                </a:lnTo>
                <a:lnTo>
                  <a:pt x="4352" y="1462"/>
                </a:lnTo>
                <a:lnTo>
                  <a:pt x="4354" y="1464"/>
                </a:lnTo>
                <a:lnTo>
                  <a:pt x="4355" y="1467"/>
                </a:lnTo>
                <a:lnTo>
                  <a:pt x="4356" y="1471"/>
                </a:lnTo>
                <a:lnTo>
                  <a:pt x="4359" y="1471"/>
                </a:lnTo>
                <a:lnTo>
                  <a:pt x="4358" y="1472"/>
                </a:lnTo>
                <a:lnTo>
                  <a:pt x="4358" y="1472"/>
                </a:lnTo>
                <a:lnTo>
                  <a:pt x="4359" y="1475"/>
                </a:lnTo>
                <a:lnTo>
                  <a:pt x="4360" y="1476"/>
                </a:lnTo>
                <a:lnTo>
                  <a:pt x="4361" y="1474"/>
                </a:lnTo>
                <a:lnTo>
                  <a:pt x="4361" y="1471"/>
                </a:lnTo>
                <a:lnTo>
                  <a:pt x="4367" y="1471"/>
                </a:lnTo>
                <a:lnTo>
                  <a:pt x="4365" y="1473"/>
                </a:lnTo>
                <a:lnTo>
                  <a:pt x="4365" y="1474"/>
                </a:lnTo>
                <a:lnTo>
                  <a:pt x="4360" y="1478"/>
                </a:lnTo>
                <a:lnTo>
                  <a:pt x="4362" y="1483"/>
                </a:lnTo>
                <a:lnTo>
                  <a:pt x="4363" y="1487"/>
                </a:lnTo>
                <a:lnTo>
                  <a:pt x="4367" y="1487"/>
                </a:lnTo>
                <a:lnTo>
                  <a:pt x="4371" y="1491"/>
                </a:lnTo>
                <a:lnTo>
                  <a:pt x="4374" y="1491"/>
                </a:lnTo>
                <a:lnTo>
                  <a:pt x="4374" y="1488"/>
                </a:lnTo>
                <a:lnTo>
                  <a:pt x="4375" y="1486"/>
                </a:lnTo>
                <a:lnTo>
                  <a:pt x="4378" y="1485"/>
                </a:lnTo>
                <a:lnTo>
                  <a:pt x="4380" y="1484"/>
                </a:lnTo>
                <a:lnTo>
                  <a:pt x="4390" y="1491"/>
                </a:lnTo>
                <a:lnTo>
                  <a:pt x="4394" y="1499"/>
                </a:lnTo>
                <a:lnTo>
                  <a:pt x="4395" y="1499"/>
                </a:lnTo>
                <a:lnTo>
                  <a:pt x="4389" y="1486"/>
                </a:lnTo>
                <a:lnTo>
                  <a:pt x="4389" y="1484"/>
                </a:lnTo>
                <a:lnTo>
                  <a:pt x="4391" y="1485"/>
                </a:lnTo>
                <a:lnTo>
                  <a:pt x="4393" y="1486"/>
                </a:lnTo>
                <a:lnTo>
                  <a:pt x="4393" y="1488"/>
                </a:lnTo>
                <a:lnTo>
                  <a:pt x="4397" y="1489"/>
                </a:lnTo>
                <a:lnTo>
                  <a:pt x="4401" y="1491"/>
                </a:lnTo>
                <a:lnTo>
                  <a:pt x="4402" y="1495"/>
                </a:lnTo>
                <a:lnTo>
                  <a:pt x="4404" y="1499"/>
                </a:lnTo>
                <a:lnTo>
                  <a:pt x="4404" y="1499"/>
                </a:lnTo>
                <a:lnTo>
                  <a:pt x="4404" y="1499"/>
                </a:lnTo>
                <a:lnTo>
                  <a:pt x="4405" y="1498"/>
                </a:lnTo>
                <a:lnTo>
                  <a:pt x="4405" y="1497"/>
                </a:lnTo>
                <a:lnTo>
                  <a:pt x="4408" y="1498"/>
                </a:lnTo>
                <a:lnTo>
                  <a:pt x="4409" y="1499"/>
                </a:lnTo>
                <a:lnTo>
                  <a:pt x="4409" y="1501"/>
                </a:lnTo>
                <a:lnTo>
                  <a:pt x="4413" y="1507"/>
                </a:lnTo>
                <a:lnTo>
                  <a:pt x="4416" y="1507"/>
                </a:lnTo>
                <a:lnTo>
                  <a:pt x="4416" y="1502"/>
                </a:lnTo>
                <a:lnTo>
                  <a:pt x="4417" y="1496"/>
                </a:lnTo>
                <a:lnTo>
                  <a:pt x="4417" y="1496"/>
                </a:lnTo>
                <a:lnTo>
                  <a:pt x="4417" y="1496"/>
                </a:lnTo>
                <a:lnTo>
                  <a:pt x="4416" y="1497"/>
                </a:lnTo>
                <a:lnTo>
                  <a:pt x="4416" y="1497"/>
                </a:lnTo>
                <a:lnTo>
                  <a:pt x="4414" y="1496"/>
                </a:lnTo>
                <a:lnTo>
                  <a:pt x="4413" y="1496"/>
                </a:lnTo>
                <a:lnTo>
                  <a:pt x="4413" y="1496"/>
                </a:lnTo>
                <a:lnTo>
                  <a:pt x="4412" y="1496"/>
                </a:lnTo>
                <a:lnTo>
                  <a:pt x="4411" y="1495"/>
                </a:lnTo>
                <a:lnTo>
                  <a:pt x="4411" y="1495"/>
                </a:lnTo>
                <a:lnTo>
                  <a:pt x="4411" y="1495"/>
                </a:lnTo>
                <a:lnTo>
                  <a:pt x="4410" y="1495"/>
                </a:lnTo>
                <a:lnTo>
                  <a:pt x="4412" y="1495"/>
                </a:lnTo>
                <a:lnTo>
                  <a:pt x="4412" y="1495"/>
                </a:lnTo>
                <a:lnTo>
                  <a:pt x="4413" y="1495"/>
                </a:lnTo>
                <a:lnTo>
                  <a:pt x="4412" y="1493"/>
                </a:lnTo>
                <a:lnTo>
                  <a:pt x="4410" y="1492"/>
                </a:lnTo>
                <a:lnTo>
                  <a:pt x="4409" y="1491"/>
                </a:lnTo>
                <a:lnTo>
                  <a:pt x="4409" y="1492"/>
                </a:lnTo>
                <a:lnTo>
                  <a:pt x="4409" y="1495"/>
                </a:lnTo>
                <a:lnTo>
                  <a:pt x="4409" y="1495"/>
                </a:lnTo>
                <a:lnTo>
                  <a:pt x="4405" y="1488"/>
                </a:lnTo>
                <a:lnTo>
                  <a:pt x="4405" y="1487"/>
                </a:lnTo>
                <a:lnTo>
                  <a:pt x="4413" y="1487"/>
                </a:lnTo>
                <a:lnTo>
                  <a:pt x="4409" y="1485"/>
                </a:lnTo>
                <a:lnTo>
                  <a:pt x="4405" y="1484"/>
                </a:lnTo>
                <a:lnTo>
                  <a:pt x="4405" y="1484"/>
                </a:lnTo>
                <a:lnTo>
                  <a:pt x="4404" y="1483"/>
                </a:lnTo>
                <a:lnTo>
                  <a:pt x="4401" y="1483"/>
                </a:lnTo>
                <a:lnTo>
                  <a:pt x="4403" y="1484"/>
                </a:lnTo>
                <a:lnTo>
                  <a:pt x="4403" y="1485"/>
                </a:lnTo>
                <a:lnTo>
                  <a:pt x="4397" y="1488"/>
                </a:lnTo>
                <a:lnTo>
                  <a:pt x="4397" y="1484"/>
                </a:lnTo>
                <a:lnTo>
                  <a:pt x="4396" y="1481"/>
                </a:lnTo>
                <a:lnTo>
                  <a:pt x="4394" y="1478"/>
                </a:lnTo>
                <a:lnTo>
                  <a:pt x="4392" y="1478"/>
                </a:lnTo>
                <a:lnTo>
                  <a:pt x="4390" y="1477"/>
                </a:lnTo>
                <a:lnTo>
                  <a:pt x="4389" y="1479"/>
                </a:lnTo>
                <a:lnTo>
                  <a:pt x="4389" y="1481"/>
                </a:lnTo>
                <a:lnTo>
                  <a:pt x="4388" y="1480"/>
                </a:lnTo>
                <a:lnTo>
                  <a:pt x="4386" y="1479"/>
                </a:lnTo>
                <a:lnTo>
                  <a:pt x="4385" y="1479"/>
                </a:lnTo>
                <a:lnTo>
                  <a:pt x="4385" y="1480"/>
                </a:lnTo>
                <a:lnTo>
                  <a:pt x="4387" y="1480"/>
                </a:lnTo>
                <a:lnTo>
                  <a:pt x="4389" y="1481"/>
                </a:lnTo>
                <a:lnTo>
                  <a:pt x="4387" y="1482"/>
                </a:lnTo>
                <a:lnTo>
                  <a:pt x="4386" y="1484"/>
                </a:lnTo>
                <a:lnTo>
                  <a:pt x="4380" y="1480"/>
                </a:lnTo>
                <a:lnTo>
                  <a:pt x="4379" y="1477"/>
                </a:lnTo>
                <a:lnTo>
                  <a:pt x="4377" y="1473"/>
                </a:lnTo>
                <a:lnTo>
                  <a:pt x="4377" y="1472"/>
                </a:lnTo>
                <a:lnTo>
                  <a:pt x="4375" y="1467"/>
                </a:lnTo>
                <a:lnTo>
                  <a:pt x="4373" y="1462"/>
                </a:lnTo>
                <a:lnTo>
                  <a:pt x="4376" y="1460"/>
                </a:lnTo>
                <a:lnTo>
                  <a:pt x="4378" y="1458"/>
                </a:lnTo>
                <a:lnTo>
                  <a:pt x="4378" y="1456"/>
                </a:lnTo>
                <a:lnTo>
                  <a:pt x="4378" y="1454"/>
                </a:lnTo>
                <a:lnTo>
                  <a:pt x="4381" y="1452"/>
                </a:lnTo>
                <a:lnTo>
                  <a:pt x="4385" y="1450"/>
                </a:lnTo>
                <a:lnTo>
                  <a:pt x="4385" y="1450"/>
                </a:lnTo>
                <a:lnTo>
                  <a:pt x="4385" y="1447"/>
                </a:lnTo>
                <a:lnTo>
                  <a:pt x="4389" y="1440"/>
                </a:lnTo>
                <a:lnTo>
                  <a:pt x="4391" y="1439"/>
                </a:lnTo>
                <a:lnTo>
                  <a:pt x="4393" y="1439"/>
                </a:lnTo>
                <a:lnTo>
                  <a:pt x="4389" y="1439"/>
                </a:lnTo>
                <a:lnTo>
                  <a:pt x="4389" y="1433"/>
                </a:lnTo>
                <a:lnTo>
                  <a:pt x="4386" y="1432"/>
                </a:lnTo>
                <a:lnTo>
                  <a:pt x="4385" y="1429"/>
                </a:lnTo>
                <a:lnTo>
                  <a:pt x="4385" y="1425"/>
                </a:lnTo>
                <a:lnTo>
                  <a:pt x="4386" y="1423"/>
                </a:lnTo>
                <a:lnTo>
                  <a:pt x="4386" y="1421"/>
                </a:lnTo>
                <a:lnTo>
                  <a:pt x="4388" y="1420"/>
                </a:lnTo>
                <a:lnTo>
                  <a:pt x="4389" y="1418"/>
                </a:lnTo>
                <a:lnTo>
                  <a:pt x="4389" y="1417"/>
                </a:lnTo>
                <a:lnTo>
                  <a:pt x="4388" y="1416"/>
                </a:lnTo>
                <a:lnTo>
                  <a:pt x="4387" y="1415"/>
                </a:lnTo>
                <a:lnTo>
                  <a:pt x="4386" y="1415"/>
                </a:lnTo>
                <a:lnTo>
                  <a:pt x="4386" y="1415"/>
                </a:lnTo>
                <a:lnTo>
                  <a:pt x="4386" y="1416"/>
                </a:lnTo>
                <a:lnTo>
                  <a:pt x="4385" y="1417"/>
                </a:lnTo>
                <a:lnTo>
                  <a:pt x="4383" y="1418"/>
                </a:lnTo>
                <a:lnTo>
                  <a:pt x="4371" y="1412"/>
                </a:lnTo>
                <a:lnTo>
                  <a:pt x="4367" y="1413"/>
                </a:lnTo>
                <a:lnTo>
                  <a:pt x="4363" y="1414"/>
                </a:lnTo>
                <a:lnTo>
                  <a:pt x="4361" y="1421"/>
                </a:lnTo>
                <a:lnTo>
                  <a:pt x="4357" y="1429"/>
                </a:lnTo>
                <a:lnTo>
                  <a:pt x="4357" y="1432"/>
                </a:lnTo>
                <a:lnTo>
                  <a:pt x="4357" y="1439"/>
                </a:lnTo>
                <a:lnTo>
                  <a:pt x="4357" y="1443"/>
                </a:lnTo>
                <a:lnTo>
                  <a:pt x="4360" y="1450"/>
                </a:lnTo>
                <a:lnTo>
                  <a:pt x="4358" y="1451"/>
                </a:lnTo>
                <a:lnTo>
                  <a:pt x="4355" y="1452"/>
                </a:lnTo>
                <a:lnTo>
                  <a:pt x="4355" y="1451"/>
                </a:lnTo>
                <a:lnTo>
                  <a:pt x="4353" y="1451"/>
                </a:lnTo>
                <a:lnTo>
                  <a:pt x="4352" y="1451"/>
                </a:lnTo>
                <a:lnTo>
                  <a:pt x="4353" y="1447"/>
                </a:lnTo>
                <a:lnTo>
                  <a:pt x="4353" y="1447"/>
                </a:lnTo>
                <a:lnTo>
                  <a:pt x="4353" y="1447"/>
                </a:lnTo>
                <a:lnTo>
                  <a:pt x="4351" y="1448"/>
                </a:lnTo>
                <a:lnTo>
                  <a:pt x="4349" y="1450"/>
                </a:lnTo>
                <a:lnTo>
                  <a:pt x="4349" y="1452"/>
                </a:lnTo>
                <a:close/>
                <a:moveTo>
                  <a:pt x="4441" y="1527"/>
                </a:moveTo>
                <a:lnTo>
                  <a:pt x="4441" y="1526"/>
                </a:lnTo>
                <a:lnTo>
                  <a:pt x="4441" y="1526"/>
                </a:lnTo>
                <a:lnTo>
                  <a:pt x="4441" y="1527"/>
                </a:lnTo>
                <a:lnTo>
                  <a:pt x="4441" y="1527"/>
                </a:lnTo>
                <a:close/>
                <a:moveTo>
                  <a:pt x="4493" y="1182"/>
                </a:moveTo>
                <a:lnTo>
                  <a:pt x="4494" y="1182"/>
                </a:lnTo>
                <a:lnTo>
                  <a:pt x="4494" y="1182"/>
                </a:lnTo>
                <a:lnTo>
                  <a:pt x="4495" y="1180"/>
                </a:lnTo>
                <a:lnTo>
                  <a:pt x="4494" y="1180"/>
                </a:lnTo>
                <a:lnTo>
                  <a:pt x="4494" y="1178"/>
                </a:lnTo>
                <a:lnTo>
                  <a:pt x="4493" y="1182"/>
                </a:lnTo>
                <a:close/>
                <a:moveTo>
                  <a:pt x="4510" y="1207"/>
                </a:moveTo>
                <a:lnTo>
                  <a:pt x="4509" y="1207"/>
                </a:lnTo>
                <a:lnTo>
                  <a:pt x="4509" y="1207"/>
                </a:lnTo>
                <a:lnTo>
                  <a:pt x="4510" y="1207"/>
                </a:lnTo>
                <a:close/>
                <a:moveTo>
                  <a:pt x="4640" y="1150"/>
                </a:moveTo>
                <a:lnTo>
                  <a:pt x="4640" y="1150"/>
                </a:lnTo>
                <a:lnTo>
                  <a:pt x="4640" y="1146"/>
                </a:lnTo>
                <a:lnTo>
                  <a:pt x="4638" y="1146"/>
                </a:lnTo>
                <a:lnTo>
                  <a:pt x="4638" y="1150"/>
                </a:lnTo>
                <a:lnTo>
                  <a:pt x="4640" y="1150"/>
                </a:lnTo>
                <a:close/>
                <a:moveTo>
                  <a:pt x="4539" y="1166"/>
                </a:moveTo>
                <a:lnTo>
                  <a:pt x="4539" y="1164"/>
                </a:lnTo>
                <a:lnTo>
                  <a:pt x="4536" y="1164"/>
                </a:lnTo>
                <a:lnTo>
                  <a:pt x="4539" y="1166"/>
                </a:lnTo>
                <a:lnTo>
                  <a:pt x="4539" y="1166"/>
                </a:lnTo>
                <a:close/>
                <a:moveTo>
                  <a:pt x="4536" y="1164"/>
                </a:moveTo>
                <a:lnTo>
                  <a:pt x="4536" y="1164"/>
                </a:lnTo>
                <a:lnTo>
                  <a:pt x="4539" y="1162"/>
                </a:lnTo>
                <a:lnTo>
                  <a:pt x="4538" y="1162"/>
                </a:lnTo>
                <a:lnTo>
                  <a:pt x="4536" y="1162"/>
                </a:lnTo>
                <a:lnTo>
                  <a:pt x="4536" y="1164"/>
                </a:lnTo>
                <a:close/>
                <a:moveTo>
                  <a:pt x="4497" y="1181"/>
                </a:moveTo>
                <a:lnTo>
                  <a:pt x="4495" y="1180"/>
                </a:lnTo>
                <a:lnTo>
                  <a:pt x="4495" y="1178"/>
                </a:lnTo>
                <a:lnTo>
                  <a:pt x="4495" y="1178"/>
                </a:lnTo>
                <a:lnTo>
                  <a:pt x="4499" y="1178"/>
                </a:lnTo>
                <a:lnTo>
                  <a:pt x="4498" y="1176"/>
                </a:lnTo>
                <a:lnTo>
                  <a:pt x="4498" y="1174"/>
                </a:lnTo>
                <a:lnTo>
                  <a:pt x="4498" y="1174"/>
                </a:lnTo>
                <a:lnTo>
                  <a:pt x="4498" y="1174"/>
                </a:lnTo>
                <a:lnTo>
                  <a:pt x="4500" y="1176"/>
                </a:lnTo>
                <a:lnTo>
                  <a:pt x="4502" y="1177"/>
                </a:lnTo>
                <a:lnTo>
                  <a:pt x="4505" y="1174"/>
                </a:lnTo>
                <a:lnTo>
                  <a:pt x="4506" y="1174"/>
                </a:lnTo>
                <a:lnTo>
                  <a:pt x="4507" y="1172"/>
                </a:lnTo>
                <a:lnTo>
                  <a:pt x="4507" y="1170"/>
                </a:lnTo>
                <a:lnTo>
                  <a:pt x="4509" y="1170"/>
                </a:lnTo>
                <a:lnTo>
                  <a:pt x="4510" y="1170"/>
                </a:lnTo>
                <a:lnTo>
                  <a:pt x="4510" y="1170"/>
                </a:lnTo>
                <a:lnTo>
                  <a:pt x="4510" y="1170"/>
                </a:lnTo>
                <a:lnTo>
                  <a:pt x="4510" y="1170"/>
                </a:lnTo>
                <a:lnTo>
                  <a:pt x="4510" y="1162"/>
                </a:lnTo>
                <a:lnTo>
                  <a:pt x="4522" y="1162"/>
                </a:lnTo>
                <a:lnTo>
                  <a:pt x="4522" y="1159"/>
                </a:lnTo>
                <a:lnTo>
                  <a:pt x="4523" y="1157"/>
                </a:lnTo>
                <a:lnTo>
                  <a:pt x="4526" y="1155"/>
                </a:lnTo>
                <a:lnTo>
                  <a:pt x="4528" y="1154"/>
                </a:lnTo>
                <a:lnTo>
                  <a:pt x="4533" y="1150"/>
                </a:lnTo>
                <a:lnTo>
                  <a:pt x="4538" y="1145"/>
                </a:lnTo>
                <a:lnTo>
                  <a:pt x="4538" y="1142"/>
                </a:lnTo>
                <a:lnTo>
                  <a:pt x="4545" y="1140"/>
                </a:lnTo>
                <a:lnTo>
                  <a:pt x="4549" y="1141"/>
                </a:lnTo>
                <a:lnTo>
                  <a:pt x="4551" y="1142"/>
                </a:lnTo>
                <a:lnTo>
                  <a:pt x="4562" y="1140"/>
                </a:lnTo>
                <a:lnTo>
                  <a:pt x="4564" y="1139"/>
                </a:lnTo>
                <a:lnTo>
                  <a:pt x="4566" y="1138"/>
                </a:lnTo>
                <a:lnTo>
                  <a:pt x="4573" y="1138"/>
                </a:lnTo>
                <a:lnTo>
                  <a:pt x="4576" y="1137"/>
                </a:lnTo>
                <a:lnTo>
                  <a:pt x="4577" y="1137"/>
                </a:lnTo>
                <a:lnTo>
                  <a:pt x="4578" y="1138"/>
                </a:lnTo>
                <a:lnTo>
                  <a:pt x="4577" y="1139"/>
                </a:lnTo>
                <a:lnTo>
                  <a:pt x="4576" y="1140"/>
                </a:lnTo>
                <a:lnTo>
                  <a:pt x="4579" y="1142"/>
                </a:lnTo>
                <a:lnTo>
                  <a:pt x="4580" y="1142"/>
                </a:lnTo>
                <a:lnTo>
                  <a:pt x="4580" y="1142"/>
                </a:lnTo>
                <a:lnTo>
                  <a:pt x="4581" y="1142"/>
                </a:lnTo>
                <a:lnTo>
                  <a:pt x="4584" y="1142"/>
                </a:lnTo>
                <a:lnTo>
                  <a:pt x="4586" y="1139"/>
                </a:lnTo>
                <a:lnTo>
                  <a:pt x="4588" y="1137"/>
                </a:lnTo>
                <a:lnTo>
                  <a:pt x="4588" y="1135"/>
                </a:lnTo>
                <a:lnTo>
                  <a:pt x="4587" y="1134"/>
                </a:lnTo>
                <a:lnTo>
                  <a:pt x="4593" y="1127"/>
                </a:lnTo>
                <a:lnTo>
                  <a:pt x="4598" y="1120"/>
                </a:lnTo>
                <a:lnTo>
                  <a:pt x="4598" y="1116"/>
                </a:lnTo>
                <a:lnTo>
                  <a:pt x="4598" y="1111"/>
                </a:lnTo>
                <a:lnTo>
                  <a:pt x="4598" y="1110"/>
                </a:lnTo>
                <a:lnTo>
                  <a:pt x="4599" y="1108"/>
                </a:lnTo>
                <a:lnTo>
                  <a:pt x="4606" y="1107"/>
                </a:lnTo>
                <a:lnTo>
                  <a:pt x="4606" y="1108"/>
                </a:lnTo>
                <a:lnTo>
                  <a:pt x="4603" y="1114"/>
                </a:lnTo>
                <a:lnTo>
                  <a:pt x="4601" y="1114"/>
                </a:lnTo>
                <a:lnTo>
                  <a:pt x="4600" y="1114"/>
                </a:lnTo>
                <a:lnTo>
                  <a:pt x="4599" y="1114"/>
                </a:lnTo>
                <a:lnTo>
                  <a:pt x="4602" y="1115"/>
                </a:lnTo>
                <a:lnTo>
                  <a:pt x="4602" y="1119"/>
                </a:lnTo>
                <a:lnTo>
                  <a:pt x="4606" y="1120"/>
                </a:lnTo>
                <a:lnTo>
                  <a:pt x="4610" y="1116"/>
                </a:lnTo>
                <a:lnTo>
                  <a:pt x="4620" y="1111"/>
                </a:lnTo>
                <a:lnTo>
                  <a:pt x="4623" y="1110"/>
                </a:lnTo>
                <a:lnTo>
                  <a:pt x="4625" y="1108"/>
                </a:lnTo>
                <a:lnTo>
                  <a:pt x="4628" y="1103"/>
                </a:lnTo>
                <a:lnTo>
                  <a:pt x="4638" y="1095"/>
                </a:lnTo>
                <a:lnTo>
                  <a:pt x="4638" y="1089"/>
                </a:lnTo>
                <a:lnTo>
                  <a:pt x="4641" y="1086"/>
                </a:lnTo>
                <a:lnTo>
                  <a:pt x="4643" y="1083"/>
                </a:lnTo>
                <a:lnTo>
                  <a:pt x="4646" y="1072"/>
                </a:lnTo>
                <a:lnTo>
                  <a:pt x="4646" y="1066"/>
                </a:lnTo>
                <a:lnTo>
                  <a:pt x="4640" y="1065"/>
                </a:lnTo>
                <a:lnTo>
                  <a:pt x="4644" y="1065"/>
                </a:lnTo>
                <a:lnTo>
                  <a:pt x="4645" y="1061"/>
                </a:lnTo>
                <a:lnTo>
                  <a:pt x="4646" y="1057"/>
                </a:lnTo>
                <a:lnTo>
                  <a:pt x="4643" y="1051"/>
                </a:lnTo>
                <a:lnTo>
                  <a:pt x="4646" y="1049"/>
                </a:lnTo>
                <a:lnTo>
                  <a:pt x="4650" y="1049"/>
                </a:lnTo>
                <a:lnTo>
                  <a:pt x="4650" y="1044"/>
                </a:lnTo>
                <a:lnTo>
                  <a:pt x="4651" y="1040"/>
                </a:lnTo>
                <a:lnTo>
                  <a:pt x="4652" y="1040"/>
                </a:lnTo>
                <a:lnTo>
                  <a:pt x="4654" y="1041"/>
                </a:lnTo>
                <a:lnTo>
                  <a:pt x="4654" y="1048"/>
                </a:lnTo>
                <a:lnTo>
                  <a:pt x="4656" y="1047"/>
                </a:lnTo>
                <a:lnTo>
                  <a:pt x="4658" y="1046"/>
                </a:lnTo>
                <a:lnTo>
                  <a:pt x="4659" y="1045"/>
                </a:lnTo>
                <a:lnTo>
                  <a:pt x="4660" y="1047"/>
                </a:lnTo>
                <a:lnTo>
                  <a:pt x="4662" y="1049"/>
                </a:lnTo>
                <a:lnTo>
                  <a:pt x="4662" y="1041"/>
                </a:lnTo>
                <a:lnTo>
                  <a:pt x="4662" y="1040"/>
                </a:lnTo>
                <a:lnTo>
                  <a:pt x="4660" y="1040"/>
                </a:lnTo>
                <a:lnTo>
                  <a:pt x="4657" y="1041"/>
                </a:lnTo>
                <a:lnTo>
                  <a:pt x="4658" y="1034"/>
                </a:lnTo>
                <a:lnTo>
                  <a:pt x="4658" y="1034"/>
                </a:lnTo>
                <a:lnTo>
                  <a:pt x="4658" y="1034"/>
                </a:lnTo>
                <a:lnTo>
                  <a:pt x="4661" y="1038"/>
                </a:lnTo>
                <a:lnTo>
                  <a:pt x="4663" y="1041"/>
                </a:lnTo>
                <a:lnTo>
                  <a:pt x="4665" y="1041"/>
                </a:lnTo>
                <a:lnTo>
                  <a:pt x="4666" y="1046"/>
                </a:lnTo>
                <a:lnTo>
                  <a:pt x="4666" y="1051"/>
                </a:lnTo>
                <a:lnTo>
                  <a:pt x="4669" y="1054"/>
                </a:lnTo>
                <a:lnTo>
                  <a:pt x="4672" y="1057"/>
                </a:lnTo>
                <a:lnTo>
                  <a:pt x="4674" y="1063"/>
                </a:lnTo>
                <a:lnTo>
                  <a:pt x="4675" y="1068"/>
                </a:lnTo>
                <a:lnTo>
                  <a:pt x="4670" y="1075"/>
                </a:lnTo>
                <a:lnTo>
                  <a:pt x="4670" y="1081"/>
                </a:lnTo>
                <a:lnTo>
                  <a:pt x="4666" y="1081"/>
                </a:lnTo>
                <a:lnTo>
                  <a:pt x="4666" y="1083"/>
                </a:lnTo>
                <a:lnTo>
                  <a:pt x="4666" y="1091"/>
                </a:lnTo>
                <a:lnTo>
                  <a:pt x="4665" y="1089"/>
                </a:lnTo>
                <a:lnTo>
                  <a:pt x="4664" y="1091"/>
                </a:lnTo>
                <a:lnTo>
                  <a:pt x="4662" y="1092"/>
                </a:lnTo>
                <a:lnTo>
                  <a:pt x="4660" y="1094"/>
                </a:lnTo>
                <a:lnTo>
                  <a:pt x="4658" y="1095"/>
                </a:lnTo>
                <a:lnTo>
                  <a:pt x="4658" y="1099"/>
                </a:lnTo>
                <a:lnTo>
                  <a:pt x="4658" y="1103"/>
                </a:lnTo>
                <a:lnTo>
                  <a:pt x="4658" y="1108"/>
                </a:lnTo>
                <a:lnTo>
                  <a:pt x="4658" y="1115"/>
                </a:lnTo>
                <a:lnTo>
                  <a:pt x="4656" y="1119"/>
                </a:lnTo>
                <a:lnTo>
                  <a:pt x="4656" y="1123"/>
                </a:lnTo>
                <a:lnTo>
                  <a:pt x="4654" y="1127"/>
                </a:lnTo>
                <a:lnTo>
                  <a:pt x="4656" y="1133"/>
                </a:lnTo>
                <a:lnTo>
                  <a:pt x="4658" y="1138"/>
                </a:lnTo>
                <a:lnTo>
                  <a:pt x="4652" y="1142"/>
                </a:lnTo>
                <a:lnTo>
                  <a:pt x="4651" y="1150"/>
                </a:lnTo>
                <a:lnTo>
                  <a:pt x="4647" y="1150"/>
                </a:lnTo>
                <a:lnTo>
                  <a:pt x="4646" y="1150"/>
                </a:lnTo>
                <a:lnTo>
                  <a:pt x="4644" y="1150"/>
                </a:lnTo>
                <a:lnTo>
                  <a:pt x="4644" y="1150"/>
                </a:lnTo>
                <a:lnTo>
                  <a:pt x="4644" y="1150"/>
                </a:lnTo>
                <a:lnTo>
                  <a:pt x="4643" y="1145"/>
                </a:lnTo>
                <a:lnTo>
                  <a:pt x="4647" y="1140"/>
                </a:lnTo>
                <a:lnTo>
                  <a:pt x="4646" y="1139"/>
                </a:lnTo>
                <a:lnTo>
                  <a:pt x="4644" y="1138"/>
                </a:lnTo>
                <a:lnTo>
                  <a:pt x="4642" y="1138"/>
                </a:lnTo>
                <a:lnTo>
                  <a:pt x="4642" y="1142"/>
                </a:lnTo>
                <a:lnTo>
                  <a:pt x="4638" y="1142"/>
                </a:lnTo>
                <a:lnTo>
                  <a:pt x="4638" y="1145"/>
                </a:lnTo>
                <a:lnTo>
                  <a:pt x="4638" y="1146"/>
                </a:lnTo>
                <a:lnTo>
                  <a:pt x="4633" y="1146"/>
                </a:lnTo>
                <a:lnTo>
                  <a:pt x="4632" y="1147"/>
                </a:lnTo>
                <a:lnTo>
                  <a:pt x="4632" y="1148"/>
                </a:lnTo>
                <a:lnTo>
                  <a:pt x="4633" y="1150"/>
                </a:lnTo>
                <a:lnTo>
                  <a:pt x="4633" y="1151"/>
                </a:lnTo>
                <a:lnTo>
                  <a:pt x="4631" y="1154"/>
                </a:lnTo>
                <a:lnTo>
                  <a:pt x="4630" y="1157"/>
                </a:lnTo>
                <a:lnTo>
                  <a:pt x="4630" y="1157"/>
                </a:lnTo>
                <a:lnTo>
                  <a:pt x="4630" y="1157"/>
                </a:lnTo>
                <a:lnTo>
                  <a:pt x="4629" y="1156"/>
                </a:lnTo>
                <a:lnTo>
                  <a:pt x="4627" y="1155"/>
                </a:lnTo>
                <a:lnTo>
                  <a:pt x="4628" y="1154"/>
                </a:lnTo>
                <a:lnTo>
                  <a:pt x="4628" y="1154"/>
                </a:lnTo>
                <a:lnTo>
                  <a:pt x="4630" y="1154"/>
                </a:lnTo>
                <a:lnTo>
                  <a:pt x="4627" y="1150"/>
                </a:lnTo>
                <a:lnTo>
                  <a:pt x="4625" y="1150"/>
                </a:lnTo>
                <a:lnTo>
                  <a:pt x="4622" y="1152"/>
                </a:lnTo>
                <a:lnTo>
                  <a:pt x="4618" y="1157"/>
                </a:lnTo>
                <a:lnTo>
                  <a:pt x="4614" y="1155"/>
                </a:lnTo>
                <a:lnTo>
                  <a:pt x="4610" y="1154"/>
                </a:lnTo>
                <a:lnTo>
                  <a:pt x="4602" y="1157"/>
                </a:lnTo>
                <a:lnTo>
                  <a:pt x="4602" y="1157"/>
                </a:lnTo>
                <a:lnTo>
                  <a:pt x="4602" y="1157"/>
                </a:lnTo>
                <a:lnTo>
                  <a:pt x="4606" y="1154"/>
                </a:lnTo>
                <a:lnTo>
                  <a:pt x="4606" y="1154"/>
                </a:lnTo>
                <a:lnTo>
                  <a:pt x="4603" y="1154"/>
                </a:lnTo>
                <a:lnTo>
                  <a:pt x="4601" y="1153"/>
                </a:lnTo>
                <a:lnTo>
                  <a:pt x="4598" y="1151"/>
                </a:lnTo>
                <a:lnTo>
                  <a:pt x="4598" y="1148"/>
                </a:lnTo>
                <a:lnTo>
                  <a:pt x="4596" y="1150"/>
                </a:lnTo>
                <a:lnTo>
                  <a:pt x="4595" y="1152"/>
                </a:lnTo>
                <a:lnTo>
                  <a:pt x="4594" y="1154"/>
                </a:lnTo>
                <a:lnTo>
                  <a:pt x="4594" y="1157"/>
                </a:lnTo>
                <a:lnTo>
                  <a:pt x="4598" y="1160"/>
                </a:lnTo>
                <a:lnTo>
                  <a:pt x="4598" y="1162"/>
                </a:lnTo>
                <a:lnTo>
                  <a:pt x="4597" y="1162"/>
                </a:lnTo>
                <a:lnTo>
                  <a:pt x="4594" y="1163"/>
                </a:lnTo>
                <a:lnTo>
                  <a:pt x="4593" y="1165"/>
                </a:lnTo>
                <a:lnTo>
                  <a:pt x="4592" y="1168"/>
                </a:lnTo>
                <a:lnTo>
                  <a:pt x="4588" y="1172"/>
                </a:lnTo>
                <a:lnTo>
                  <a:pt x="4584" y="1177"/>
                </a:lnTo>
                <a:lnTo>
                  <a:pt x="4582" y="1175"/>
                </a:lnTo>
                <a:lnTo>
                  <a:pt x="4580" y="1174"/>
                </a:lnTo>
                <a:lnTo>
                  <a:pt x="4579" y="1173"/>
                </a:lnTo>
                <a:lnTo>
                  <a:pt x="4578" y="1173"/>
                </a:lnTo>
                <a:lnTo>
                  <a:pt x="4579" y="1172"/>
                </a:lnTo>
                <a:lnTo>
                  <a:pt x="4580" y="1172"/>
                </a:lnTo>
                <a:lnTo>
                  <a:pt x="4577" y="1170"/>
                </a:lnTo>
                <a:lnTo>
                  <a:pt x="4574" y="1168"/>
                </a:lnTo>
                <a:lnTo>
                  <a:pt x="4574" y="1166"/>
                </a:lnTo>
                <a:lnTo>
                  <a:pt x="4575" y="1164"/>
                </a:lnTo>
                <a:lnTo>
                  <a:pt x="4573" y="1163"/>
                </a:lnTo>
                <a:lnTo>
                  <a:pt x="4570" y="1162"/>
                </a:lnTo>
                <a:lnTo>
                  <a:pt x="4569" y="1162"/>
                </a:lnTo>
                <a:lnTo>
                  <a:pt x="4569" y="1162"/>
                </a:lnTo>
                <a:lnTo>
                  <a:pt x="4568" y="1162"/>
                </a:lnTo>
                <a:lnTo>
                  <a:pt x="4571" y="1159"/>
                </a:lnTo>
                <a:lnTo>
                  <a:pt x="4573" y="1157"/>
                </a:lnTo>
                <a:lnTo>
                  <a:pt x="4572" y="1160"/>
                </a:lnTo>
                <a:lnTo>
                  <a:pt x="4572" y="1160"/>
                </a:lnTo>
                <a:lnTo>
                  <a:pt x="4575" y="1159"/>
                </a:lnTo>
                <a:lnTo>
                  <a:pt x="4580" y="1157"/>
                </a:lnTo>
                <a:lnTo>
                  <a:pt x="4579" y="1155"/>
                </a:lnTo>
                <a:lnTo>
                  <a:pt x="4578" y="1154"/>
                </a:lnTo>
                <a:lnTo>
                  <a:pt x="4574" y="1157"/>
                </a:lnTo>
                <a:lnTo>
                  <a:pt x="4568" y="1153"/>
                </a:lnTo>
                <a:lnTo>
                  <a:pt x="4562" y="1154"/>
                </a:lnTo>
                <a:lnTo>
                  <a:pt x="4561" y="1157"/>
                </a:lnTo>
                <a:lnTo>
                  <a:pt x="4560" y="1158"/>
                </a:lnTo>
                <a:lnTo>
                  <a:pt x="4559" y="1160"/>
                </a:lnTo>
                <a:lnTo>
                  <a:pt x="4556" y="1159"/>
                </a:lnTo>
                <a:lnTo>
                  <a:pt x="4554" y="1158"/>
                </a:lnTo>
                <a:lnTo>
                  <a:pt x="4551" y="1160"/>
                </a:lnTo>
                <a:lnTo>
                  <a:pt x="4549" y="1162"/>
                </a:lnTo>
                <a:lnTo>
                  <a:pt x="4548" y="1161"/>
                </a:lnTo>
                <a:lnTo>
                  <a:pt x="4546" y="1160"/>
                </a:lnTo>
                <a:lnTo>
                  <a:pt x="4546" y="1162"/>
                </a:lnTo>
                <a:lnTo>
                  <a:pt x="4546" y="1162"/>
                </a:lnTo>
                <a:lnTo>
                  <a:pt x="4544" y="1162"/>
                </a:lnTo>
                <a:lnTo>
                  <a:pt x="4546" y="1162"/>
                </a:lnTo>
                <a:lnTo>
                  <a:pt x="4546" y="1163"/>
                </a:lnTo>
                <a:lnTo>
                  <a:pt x="4546" y="1163"/>
                </a:lnTo>
                <a:lnTo>
                  <a:pt x="4546" y="1166"/>
                </a:lnTo>
                <a:lnTo>
                  <a:pt x="4543" y="1166"/>
                </a:lnTo>
                <a:lnTo>
                  <a:pt x="4546" y="1170"/>
                </a:lnTo>
                <a:lnTo>
                  <a:pt x="4552" y="1170"/>
                </a:lnTo>
                <a:lnTo>
                  <a:pt x="4553" y="1166"/>
                </a:lnTo>
                <a:lnTo>
                  <a:pt x="4554" y="1163"/>
                </a:lnTo>
                <a:lnTo>
                  <a:pt x="4558" y="1162"/>
                </a:lnTo>
                <a:lnTo>
                  <a:pt x="4561" y="1161"/>
                </a:lnTo>
                <a:lnTo>
                  <a:pt x="4563" y="1163"/>
                </a:lnTo>
                <a:lnTo>
                  <a:pt x="4565" y="1166"/>
                </a:lnTo>
                <a:lnTo>
                  <a:pt x="4566" y="1166"/>
                </a:lnTo>
                <a:lnTo>
                  <a:pt x="4567" y="1166"/>
                </a:lnTo>
                <a:lnTo>
                  <a:pt x="4568" y="1166"/>
                </a:lnTo>
                <a:lnTo>
                  <a:pt x="4569" y="1168"/>
                </a:lnTo>
                <a:lnTo>
                  <a:pt x="4569" y="1169"/>
                </a:lnTo>
                <a:lnTo>
                  <a:pt x="4562" y="1174"/>
                </a:lnTo>
                <a:lnTo>
                  <a:pt x="4562" y="1177"/>
                </a:lnTo>
                <a:lnTo>
                  <a:pt x="4562" y="1180"/>
                </a:lnTo>
                <a:lnTo>
                  <a:pt x="4562" y="1180"/>
                </a:lnTo>
                <a:lnTo>
                  <a:pt x="4562" y="1180"/>
                </a:lnTo>
                <a:lnTo>
                  <a:pt x="4560" y="1178"/>
                </a:lnTo>
                <a:lnTo>
                  <a:pt x="4559" y="1177"/>
                </a:lnTo>
                <a:lnTo>
                  <a:pt x="4557" y="1175"/>
                </a:lnTo>
                <a:lnTo>
                  <a:pt x="4555" y="1174"/>
                </a:lnTo>
                <a:lnTo>
                  <a:pt x="4552" y="1176"/>
                </a:lnTo>
                <a:lnTo>
                  <a:pt x="4549" y="1178"/>
                </a:lnTo>
                <a:lnTo>
                  <a:pt x="4548" y="1179"/>
                </a:lnTo>
                <a:lnTo>
                  <a:pt x="4547" y="1180"/>
                </a:lnTo>
                <a:lnTo>
                  <a:pt x="4545" y="1181"/>
                </a:lnTo>
                <a:lnTo>
                  <a:pt x="4542" y="1183"/>
                </a:lnTo>
                <a:lnTo>
                  <a:pt x="4542" y="1190"/>
                </a:lnTo>
                <a:lnTo>
                  <a:pt x="4540" y="1190"/>
                </a:lnTo>
                <a:lnTo>
                  <a:pt x="4540" y="1188"/>
                </a:lnTo>
                <a:lnTo>
                  <a:pt x="4541" y="1186"/>
                </a:lnTo>
                <a:lnTo>
                  <a:pt x="4536" y="1186"/>
                </a:lnTo>
                <a:lnTo>
                  <a:pt x="4538" y="1180"/>
                </a:lnTo>
                <a:lnTo>
                  <a:pt x="4536" y="1179"/>
                </a:lnTo>
                <a:lnTo>
                  <a:pt x="4534" y="1178"/>
                </a:lnTo>
                <a:lnTo>
                  <a:pt x="4534" y="1177"/>
                </a:lnTo>
                <a:lnTo>
                  <a:pt x="4532" y="1177"/>
                </a:lnTo>
                <a:lnTo>
                  <a:pt x="4529" y="1178"/>
                </a:lnTo>
                <a:lnTo>
                  <a:pt x="4529" y="1178"/>
                </a:lnTo>
                <a:lnTo>
                  <a:pt x="4529" y="1178"/>
                </a:lnTo>
                <a:lnTo>
                  <a:pt x="4539" y="1173"/>
                </a:lnTo>
                <a:lnTo>
                  <a:pt x="4542" y="1164"/>
                </a:lnTo>
                <a:lnTo>
                  <a:pt x="4542" y="1164"/>
                </a:lnTo>
                <a:lnTo>
                  <a:pt x="4542" y="1164"/>
                </a:lnTo>
                <a:lnTo>
                  <a:pt x="4542" y="1162"/>
                </a:lnTo>
                <a:lnTo>
                  <a:pt x="4538" y="1162"/>
                </a:lnTo>
                <a:lnTo>
                  <a:pt x="4538" y="1162"/>
                </a:lnTo>
                <a:lnTo>
                  <a:pt x="4535" y="1162"/>
                </a:lnTo>
                <a:lnTo>
                  <a:pt x="4534" y="1162"/>
                </a:lnTo>
                <a:lnTo>
                  <a:pt x="4533" y="1162"/>
                </a:lnTo>
                <a:lnTo>
                  <a:pt x="4532" y="1168"/>
                </a:lnTo>
                <a:lnTo>
                  <a:pt x="4529" y="1170"/>
                </a:lnTo>
                <a:lnTo>
                  <a:pt x="4529" y="1170"/>
                </a:lnTo>
                <a:lnTo>
                  <a:pt x="4526" y="1170"/>
                </a:lnTo>
                <a:lnTo>
                  <a:pt x="4526" y="1168"/>
                </a:lnTo>
                <a:lnTo>
                  <a:pt x="4527" y="1167"/>
                </a:lnTo>
                <a:lnTo>
                  <a:pt x="4527" y="1166"/>
                </a:lnTo>
                <a:lnTo>
                  <a:pt x="4519" y="1168"/>
                </a:lnTo>
                <a:lnTo>
                  <a:pt x="4517" y="1167"/>
                </a:lnTo>
                <a:lnTo>
                  <a:pt x="4516" y="1167"/>
                </a:lnTo>
                <a:lnTo>
                  <a:pt x="4515" y="1168"/>
                </a:lnTo>
                <a:lnTo>
                  <a:pt x="4514" y="1170"/>
                </a:lnTo>
                <a:lnTo>
                  <a:pt x="4516" y="1170"/>
                </a:lnTo>
                <a:lnTo>
                  <a:pt x="4517" y="1174"/>
                </a:lnTo>
                <a:lnTo>
                  <a:pt x="4519" y="1174"/>
                </a:lnTo>
                <a:lnTo>
                  <a:pt x="4522" y="1175"/>
                </a:lnTo>
                <a:lnTo>
                  <a:pt x="4523" y="1174"/>
                </a:lnTo>
                <a:lnTo>
                  <a:pt x="4523" y="1174"/>
                </a:lnTo>
                <a:lnTo>
                  <a:pt x="4525" y="1174"/>
                </a:lnTo>
                <a:lnTo>
                  <a:pt x="4527" y="1177"/>
                </a:lnTo>
                <a:lnTo>
                  <a:pt x="4525" y="1177"/>
                </a:lnTo>
                <a:lnTo>
                  <a:pt x="4522" y="1178"/>
                </a:lnTo>
                <a:lnTo>
                  <a:pt x="4522" y="1182"/>
                </a:lnTo>
                <a:lnTo>
                  <a:pt x="4527" y="1182"/>
                </a:lnTo>
                <a:lnTo>
                  <a:pt x="4528" y="1183"/>
                </a:lnTo>
                <a:lnTo>
                  <a:pt x="4529" y="1185"/>
                </a:lnTo>
                <a:lnTo>
                  <a:pt x="4527" y="1188"/>
                </a:lnTo>
                <a:lnTo>
                  <a:pt x="4525" y="1191"/>
                </a:lnTo>
                <a:lnTo>
                  <a:pt x="4521" y="1211"/>
                </a:lnTo>
                <a:lnTo>
                  <a:pt x="4519" y="1210"/>
                </a:lnTo>
                <a:lnTo>
                  <a:pt x="4517" y="1209"/>
                </a:lnTo>
                <a:lnTo>
                  <a:pt x="4516" y="1211"/>
                </a:lnTo>
                <a:lnTo>
                  <a:pt x="4517" y="1212"/>
                </a:lnTo>
                <a:lnTo>
                  <a:pt x="4510" y="1218"/>
                </a:lnTo>
                <a:lnTo>
                  <a:pt x="4510" y="1218"/>
                </a:lnTo>
                <a:lnTo>
                  <a:pt x="4510" y="1218"/>
                </a:lnTo>
                <a:lnTo>
                  <a:pt x="4513" y="1210"/>
                </a:lnTo>
                <a:lnTo>
                  <a:pt x="4510" y="1206"/>
                </a:lnTo>
                <a:lnTo>
                  <a:pt x="4509" y="1207"/>
                </a:lnTo>
                <a:lnTo>
                  <a:pt x="4509" y="1207"/>
                </a:lnTo>
                <a:lnTo>
                  <a:pt x="4509" y="1207"/>
                </a:lnTo>
                <a:lnTo>
                  <a:pt x="4509" y="1207"/>
                </a:lnTo>
                <a:lnTo>
                  <a:pt x="4509" y="1206"/>
                </a:lnTo>
                <a:lnTo>
                  <a:pt x="4509" y="1206"/>
                </a:lnTo>
                <a:lnTo>
                  <a:pt x="4510" y="1213"/>
                </a:lnTo>
                <a:lnTo>
                  <a:pt x="4508" y="1213"/>
                </a:lnTo>
                <a:lnTo>
                  <a:pt x="4505" y="1212"/>
                </a:lnTo>
                <a:lnTo>
                  <a:pt x="4506" y="1209"/>
                </a:lnTo>
                <a:lnTo>
                  <a:pt x="4506" y="1206"/>
                </a:lnTo>
                <a:lnTo>
                  <a:pt x="4502" y="1204"/>
                </a:lnTo>
                <a:lnTo>
                  <a:pt x="4502" y="1200"/>
                </a:lnTo>
                <a:lnTo>
                  <a:pt x="4505" y="1195"/>
                </a:lnTo>
                <a:lnTo>
                  <a:pt x="4505" y="1195"/>
                </a:lnTo>
                <a:lnTo>
                  <a:pt x="4505" y="1194"/>
                </a:lnTo>
                <a:lnTo>
                  <a:pt x="4506" y="1193"/>
                </a:lnTo>
                <a:lnTo>
                  <a:pt x="4506" y="1194"/>
                </a:lnTo>
                <a:lnTo>
                  <a:pt x="4506" y="1195"/>
                </a:lnTo>
                <a:lnTo>
                  <a:pt x="4507" y="1193"/>
                </a:lnTo>
                <a:lnTo>
                  <a:pt x="4507" y="1191"/>
                </a:lnTo>
                <a:lnTo>
                  <a:pt x="4506" y="1192"/>
                </a:lnTo>
                <a:lnTo>
                  <a:pt x="4506" y="1190"/>
                </a:lnTo>
                <a:lnTo>
                  <a:pt x="4507" y="1190"/>
                </a:lnTo>
                <a:lnTo>
                  <a:pt x="4508" y="1189"/>
                </a:lnTo>
                <a:lnTo>
                  <a:pt x="4509" y="1188"/>
                </a:lnTo>
                <a:lnTo>
                  <a:pt x="4508" y="1186"/>
                </a:lnTo>
                <a:lnTo>
                  <a:pt x="4506" y="1184"/>
                </a:lnTo>
                <a:lnTo>
                  <a:pt x="4506" y="1183"/>
                </a:lnTo>
                <a:lnTo>
                  <a:pt x="4505" y="1182"/>
                </a:lnTo>
                <a:lnTo>
                  <a:pt x="4503" y="1182"/>
                </a:lnTo>
                <a:lnTo>
                  <a:pt x="4504" y="1183"/>
                </a:lnTo>
                <a:lnTo>
                  <a:pt x="4505" y="1185"/>
                </a:lnTo>
                <a:lnTo>
                  <a:pt x="4504" y="1185"/>
                </a:lnTo>
                <a:lnTo>
                  <a:pt x="4503" y="1186"/>
                </a:lnTo>
                <a:lnTo>
                  <a:pt x="4506" y="1186"/>
                </a:lnTo>
                <a:lnTo>
                  <a:pt x="4506" y="1189"/>
                </a:lnTo>
                <a:lnTo>
                  <a:pt x="4505" y="1190"/>
                </a:lnTo>
                <a:lnTo>
                  <a:pt x="4505" y="1190"/>
                </a:lnTo>
                <a:lnTo>
                  <a:pt x="4504" y="1190"/>
                </a:lnTo>
                <a:lnTo>
                  <a:pt x="4502" y="1191"/>
                </a:lnTo>
                <a:lnTo>
                  <a:pt x="4502" y="1190"/>
                </a:lnTo>
                <a:lnTo>
                  <a:pt x="4501" y="1190"/>
                </a:lnTo>
                <a:lnTo>
                  <a:pt x="4499" y="1190"/>
                </a:lnTo>
                <a:lnTo>
                  <a:pt x="4499" y="1189"/>
                </a:lnTo>
                <a:lnTo>
                  <a:pt x="4499" y="1188"/>
                </a:lnTo>
                <a:lnTo>
                  <a:pt x="4494" y="1185"/>
                </a:lnTo>
                <a:lnTo>
                  <a:pt x="4494" y="1183"/>
                </a:lnTo>
                <a:lnTo>
                  <a:pt x="4496" y="1184"/>
                </a:lnTo>
                <a:lnTo>
                  <a:pt x="4498" y="1184"/>
                </a:lnTo>
                <a:lnTo>
                  <a:pt x="4498" y="1186"/>
                </a:lnTo>
                <a:lnTo>
                  <a:pt x="4502" y="1186"/>
                </a:lnTo>
                <a:lnTo>
                  <a:pt x="4501" y="1185"/>
                </a:lnTo>
                <a:lnTo>
                  <a:pt x="4499" y="1183"/>
                </a:lnTo>
                <a:lnTo>
                  <a:pt x="4497" y="1181"/>
                </a:lnTo>
                <a:close/>
                <a:moveTo>
                  <a:pt x="4578" y="1142"/>
                </a:moveTo>
                <a:lnTo>
                  <a:pt x="4579" y="1142"/>
                </a:lnTo>
                <a:lnTo>
                  <a:pt x="4579" y="1142"/>
                </a:lnTo>
                <a:lnTo>
                  <a:pt x="4578" y="1142"/>
                </a:lnTo>
                <a:close/>
                <a:moveTo>
                  <a:pt x="4510" y="1206"/>
                </a:moveTo>
                <a:lnTo>
                  <a:pt x="4514" y="1206"/>
                </a:lnTo>
                <a:lnTo>
                  <a:pt x="4511" y="1204"/>
                </a:lnTo>
                <a:lnTo>
                  <a:pt x="4510" y="1206"/>
                </a:lnTo>
                <a:close/>
                <a:moveTo>
                  <a:pt x="4418" y="1507"/>
                </a:moveTo>
                <a:lnTo>
                  <a:pt x="4419" y="1508"/>
                </a:lnTo>
                <a:lnTo>
                  <a:pt x="4420" y="1509"/>
                </a:lnTo>
                <a:lnTo>
                  <a:pt x="4429" y="1516"/>
                </a:lnTo>
                <a:lnTo>
                  <a:pt x="4428" y="1519"/>
                </a:lnTo>
                <a:lnTo>
                  <a:pt x="4427" y="1523"/>
                </a:lnTo>
                <a:lnTo>
                  <a:pt x="4428" y="1523"/>
                </a:lnTo>
                <a:lnTo>
                  <a:pt x="4433" y="1527"/>
                </a:lnTo>
                <a:lnTo>
                  <a:pt x="4439" y="1527"/>
                </a:lnTo>
                <a:lnTo>
                  <a:pt x="4440" y="1527"/>
                </a:lnTo>
                <a:lnTo>
                  <a:pt x="4441" y="1526"/>
                </a:lnTo>
                <a:lnTo>
                  <a:pt x="4440" y="1525"/>
                </a:lnTo>
                <a:lnTo>
                  <a:pt x="4439" y="1523"/>
                </a:lnTo>
                <a:lnTo>
                  <a:pt x="4437" y="1523"/>
                </a:lnTo>
                <a:lnTo>
                  <a:pt x="4438" y="1522"/>
                </a:lnTo>
                <a:lnTo>
                  <a:pt x="4433" y="1518"/>
                </a:lnTo>
                <a:lnTo>
                  <a:pt x="4433" y="1511"/>
                </a:lnTo>
                <a:lnTo>
                  <a:pt x="4437" y="1511"/>
                </a:lnTo>
                <a:lnTo>
                  <a:pt x="4435" y="1511"/>
                </a:lnTo>
                <a:lnTo>
                  <a:pt x="4435" y="1509"/>
                </a:lnTo>
                <a:lnTo>
                  <a:pt x="4429" y="1508"/>
                </a:lnTo>
                <a:lnTo>
                  <a:pt x="4429" y="1507"/>
                </a:lnTo>
                <a:lnTo>
                  <a:pt x="4423" y="1507"/>
                </a:lnTo>
                <a:lnTo>
                  <a:pt x="4418" y="1507"/>
                </a:lnTo>
                <a:close/>
                <a:moveTo>
                  <a:pt x="4504" y="1193"/>
                </a:moveTo>
                <a:lnTo>
                  <a:pt x="4503" y="1191"/>
                </a:lnTo>
                <a:lnTo>
                  <a:pt x="4502" y="1192"/>
                </a:lnTo>
                <a:lnTo>
                  <a:pt x="4502" y="1193"/>
                </a:lnTo>
                <a:lnTo>
                  <a:pt x="4502" y="1197"/>
                </a:lnTo>
                <a:lnTo>
                  <a:pt x="4505" y="1195"/>
                </a:lnTo>
                <a:lnTo>
                  <a:pt x="4505" y="1194"/>
                </a:lnTo>
                <a:lnTo>
                  <a:pt x="4504" y="1193"/>
                </a:lnTo>
                <a:close/>
                <a:moveTo>
                  <a:pt x="4506" y="1192"/>
                </a:moveTo>
                <a:lnTo>
                  <a:pt x="4505" y="1193"/>
                </a:lnTo>
                <a:lnTo>
                  <a:pt x="4506" y="1193"/>
                </a:lnTo>
                <a:lnTo>
                  <a:pt x="4506" y="1193"/>
                </a:lnTo>
                <a:lnTo>
                  <a:pt x="4506" y="1192"/>
                </a:lnTo>
                <a:close/>
                <a:moveTo>
                  <a:pt x="4484" y="1189"/>
                </a:moveTo>
                <a:lnTo>
                  <a:pt x="4484" y="1189"/>
                </a:lnTo>
                <a:lnTo>
                  <a:pt x="4483" y="1188"/>
                </a:lnTo>
                <a:lnTo>
                  <a:pt x="4483" y="1188"/>
                </a:lnTo>
                <a:lnTo>
                  <a:pt x="4482" y="1189"/>
                </a:lnTo>
                <a:lnTo>
                  <a:pt x="4481" y="1189"/>
                </a:lnTo>
                <a:lnTo>
                  <a:pt x="4484" y="1189"/>
                </a:lnTo>
                <a:close/>
                <a:moveTo>
                  <a:pt x="4431" y="1317"/>
                </a:moveTo>
                <a:lnTo>
                  <a:pt x="4431" y="1317"/>
                </a:lnTo>
                <a:lnTo>
                  <a:pt x="4431" y="1318"/>
                </a:lnTo>
                <a:lnTo>
                  <a:pt x="4434" y="1318"/>
                </a:lnTo>
                <a:lnTo>
                  <a:pt x="4431" y="1317"/>
                </a:lnTo>
                <a:close/>
                <a:moveTo>
                  <a:pt x="4643" y="1154"/>
                </a:moveTo>
                <a:lnTo>
                  <a:pt x="4644" y="1154"/>
                </a:lnTo>
                <a:lnTo>
                  <a:pt x="4644" y="1150"/>
                </a:lnTo>
                <a:lnTo>
                  <a:pt x="4644" y="1150"/>
                </a:lnTo>
                <a:lnTo>
                  <a:pt x="4643" y="1154"/>
                </a:lnTo>
                <a:close/>
                <a:moveTo>
                  <a:pt x="4425" y="1100"/>
                </a:moveTo>
                <a:lnTo>
                  <a:pt x="4424" y="1100"/>
                </a:lnTo>
                <a:lnTo>
                  <a:pt x="4425" y="1101"/>
                </a:lnTo>
                <a:lnTo>
                  <a:pt x="4425" y="1101"/>
                </a:lnTo>
                <a:lnTo>
                  <a:pt x="4425" y="1100"/>
                </a:lnTo>
                <a:close/>
                <a:moveTo>
                  <a:pt x="4669" y="1094"/>
                </a:moveTo>
                <a:lnTo>
                  <a:pt x="4669" y="1094"/>
                </a:lnTo>
                <a:lnTo>
                  <a:pt x="4667" y="1092"/>
                </a:lnTo>
                <a:lnTo>
                  <a:pt x="4666" y="1091"/>
                </a:lnTo>
                <a:lnTo>
                  <a:pt x="4666" y="1094"/>
                </a:lnTo>
                <a:lnTo>
                  <a:pt x="4669" y="1094"/>
                </a:lnTo>
                <a:close/>
                <a:moveTo>
                  <a:pt x="4666" y="1041"/>
                </a:moveTo>
                <a:lnTo>
                  <a:pt x="4665" y="1041"/>
                </a:lnTo>
                <a:lnTo>
                  <a:pt x="4665" y="1041"/>
                </a:lnTo>
                <a:lnTo>
                  <a:pt x="4666" y="1041"/>
                </a:lnTo>
                <a:lnTo>
                  <a:pt x="4666" y="1041"/>
                </a:lnTo>
                <a:close/>
                <a:moveTo>
                  <a:pt x="4482" y="1152"/>
                </a:moveTo>
                <a:lnTo>
                  <a:pt x="4482" y="1153"/>
                </a:lnTo>
                <a:lnTo>
                  <a:pt x="4481" y="1154"/>
                </a:lnTo>
                <a:lnTo>
                  <a:pt x="4482" y="1154"/>
                </a:lnTo>
                <a:lnTo>
                  <a:pt x="4482" y="1152"/>
                </a:lnTo>
                <a:close/>
                <a:moveTo>
                  <a:pt x="4527" y="1182"/>
                </a:moveTo>
                <a:lnTo>
                  <a:pt x="4527" y="1182"/>
                </a:lnTo>
                <a:lnTo>
                  <a:pt x="4528" y="1182"/>
                </a:lnTo>
                <a:lnTo>
                  <a:pt x="4527" y="1182"/>
                </a:lnTo>
                <a:close/>
                <a:moveTo>
                  <a:pt x="4185" y="1638"/>
                </a:moveTo>
                <a:lnTo>
                  <a:pt x="4185" y="1634"/>
                </a:lnTo>
                <a:lnTo>
                  <a:pt x="4185" y="1633"/>
                </a:lnTo>
                <a:lnTo>
                  <a:pt x="4184" y="1632"/>
                </a:lnTo>
                <a:lnTo>
                  <a:pt x="4183" y="1633"/>
                </a:lnTo>
                <a:lnTo>
                  <a:pt x="4182" y="1634"/>
                </a:lnTo>
                <a:lnTo>
                  <a:pt x="4182" y="1635"/>
                </a:lnTo>
                <a:lnTo>
                  <a:pt x="4184" y="1635"/>
                </a:lnTo>
                <a:lnTo>
                  <a:pt x="4182" y="1638"/>
                </a:lnTo>
                <a:lnTo>
                  <a:pt x="4185" y="1638"/>
                </a:lnTo>
                <a:close/>
                <a:moveTo>
                  <a:pt x="4177" y="1732"/>
                </a:moveTo>
                <a:lnTo>
                  <a:pt x="4172" y="1733"/>
                </a:lnTo>
                <a:lnTo>
                  <a:pt x="4172" y="1735"/>
                </a:lnTo>
                <a:lnTo>
                  <a:pt x="4171" y="1736"/>
                </a:lnTo>
                <a:lnTo>
                  <a:pt x="4172" y="1736"/>
                </a:lnTo>
                <a:lnTo>
                  <a:pt x="4172" y="1740"/>
                </a:lnTo>
                <a:lnTo>
                  <a:pt x="4175" y="1740"/>
                </a:lnTo>
                <a:lnTo>
                  <a:pt x="4177" y="1739"/>
                </a:lnTo>
                <a:lnTo>
                  <a:pt x="4179" y="1738"/>
                </a:lnTo>
                <a:lnTo>
                  <a:pt x="4180" y="1737"/>
                </a:lnTo>
                <a:lnTo>
                  <a:pt x="4181" y="1741"/>
                </a:lnTo>
                <a:lnTo>
                  <a:pt x="4182" y="1744"/>
                </a:lnTo>
                <a:lnTo>
                  <a:pt x="4182" y="1744"/>
                </a:lnTo>
                <a:lnTo>
                  <a:pt x="4184" y="1740"/>
                </a:lnTo>
                <a:lnTo>
                  <a:pt x="4185" y="1737"/>
                </a:lnTo>
                <a:lnTo>
                  <a:pt x="4184" y="1735"/>
                </a:lnTo>
                <a:lnTo>
                  <a:pt x="4182" y="1732"/>
                </a:lnTo>
                <a:lnTo>
                  <a:pt x="4178" y="1732"/>
                </a:lnTo>
                <a:lnTo>
                  <a:pt x="4177" y="1732"/>
                </a:lnTo>
                <a:close/>
                <a:moveTo>
                  <a:pt x="4166" y="1537"/>
                </a:moveTo>
                <a:lnTo>
                  <a:pt x="4166" y="1539"/>
                </a:lnTo>
                <a:lnTo>
                  <a:pt x="4167" y="1539"/>
                </a:lnTo>
                <a:lnTo>
                  <a:pt x="4167" y="1537"/>
                </a:lnTo>
                <a:lnTo>
                  <a:pt x="4166" y="1537"/>
                </a:lnTo>
                <a:close/>
                <a:moveTo>
                  <a:pt x="4191" y="1402"/>
                </a:moveTo>
                <a:lnTo>
                  <a:pt x="4190" y="1405"/>
                </a:lnTo>
                <a:lnTo>
                  <a:pt x="4188" y="1407"/>
                </a:lnTo>
                <a:lnTo>
                  <a:pt x="4190" y="1411"/>
                </a:lnTo>
                <a:lnTo>
                  <a:pt x="4191" y="1415"/>
                </a:lnTo>
                <a:lnTo>
                  <a:pt x="4196" y="1417"/>
                </a:lnTo>
                <a:lnTo>
                  <a:pt x="4202" y="1419"/>
                </a:lnTo>
                <a:lnTo>
                  <a:pt x="4202" y="1421"/>
                </a:lnTo>
                <a:lnTo>
                  <a:pt x="4203" y="1422"/>
                </a:lnTo>
                <a:lnTo>
                  <a:pt x="4205" y="1419"/>
                </a:lnTo>
                <a:lnTo>
                  <a:pt x="4205" y="1419"/>
                </a:lnTo>
                <a:lnTo>
                  <a:pt x="4206" y="1419"/>
                </a:lnTo>
                <a:lnTo>
                  <a:pt x="4210" y="1419"/>
                </a:lnTo>
                <a:lnTo>
                  <a:pt x="4211" y="1417"/>
                </a:lnTo>
                <a:lnTo>
                  <a:pt x="4210" y="1415"/>
                </a:lnTo>
                <a:lnTo>
                  <a:pt x="4216" y="1412"/>
                </a:lnTo>
                <a:lnTo>
                  <a:pt x="4216" y="1407"/>
                </a:lnTo>
                <a:lnTo>
                  <a:pt x="4218" y="1407"/>
                </a:lnTo>
                <a:lnTo>
                  <a:pt x="4222" y="1401"/>
                </a:lnTo>
                <a:lnTo>
                  <a:pt x="4225" y="1399"/>
                </a:lnTo>
                <a:lnTo>
                  <a:pt x="4224" y="1397"/>
                </a:lnTo>
                <a:lnTo>
                  <a:pt x="4223" y="1395"/>
                </a:lnTo>
                <a:lnTo>
                  <a:pt x="4222" y="1395"/>
                </a:lnTo>
                <a:lnTo>
                  <a:pt x="4219" y="1394"/>
                </a:lnTo>
                <a:lnTo>
                  <a:pt x="4218" y="1395"/>
                </a:lnTo>
                <a:lnTo>
                  <a:pt x="4211" y="1395"/>
                </a:lnTo>
                <a:lnTo>
                  <a:pt x="4211" y="1395"/>
                </a:lnTo>
                <a:lnTo>
                  <a:pt x="4210" y="1395"/>
                </a:lnTo>
                <a:lnTo>
                  <a:pt x="4206" y="1394"/>
                </a:lnTo>
                <a:lnTo>
                  <a:pt x="4203" y="1392"/>
                </a:lnTo>
                <a:lnTo>
                  <a:pt x="4202" y="1394"/>
                </a:lnTo>
                <a:lnTo>
                  <a:pt x="4202" y="1396"/>
                </a:lnTo>
                <a:lnTo>
                  <a:pt x="4200" y="1395"/>
                </a:lnTo>
                <a:lnTo>
                  <a:pt x="4198" y="1397"/>
                </a:lnTo>
                <a:lnTo>
                  <a:pt x="4196" y="1399"/>
                </a:lnTo>
                <a:lnTo>
                  <a:pt x="4200" y="1399"/>
                </a:lnTo>
                <a:lnTo>
                  <a:pt x="4195" y="1401"/>
                </a:lnTo>
                <a:lnTo>
                  <a:pt x="4191" y="1402"/>
                </a:lnTo>
                <a:close/>
                <a:moveTo>
                  <a:pt x="4257" y="1815"/>
                </a:moveTo>
                <a:lnTo>
                  <a:pt x="4259" y="1816"/>
                </a:lnTo>
                <a:lnTo>
                  <a:pt x="4257" y="1816"/>
                </a:lnTo>
                <a:lnTo>
                  <a:pt x="4257" y="1820"/>
                </a:lnTo>
                <a:lnTo>
                  <a:pt x="4260" y="1820"/>
                </a:lnTo>
                <a:lnTo>
                  <a:pt x="4259" y="1818"/>
                </a:lnTo>
                <a:lnTo>
                  <a:pt x="4259" y="1816"/>
                </a:lnTo>
                <a:lnTo>
                  <a:pt x="4264" y="1819"/>
                </a:lnTo>
                <a:lnTo>
                  <a:pt x="4270" y="1820"/>
                </a:lnTo>
                <a:lnTo>
                  <a:pt x="4272" y="1820"/>
                </a:lnTo>
                <a:lnTo>
                  <a:pt x="4277" y="1823"/>
                </a:lnTo>
                <a:lnTo>
                  <a:pt x="4277" y="1821"/>
                </a:lnTo>
                <a:lnTo>
                  <a:pt x="4276" y="1820"/>
                </a:lnTo>
                <a:lnTo>
                  <a:pt x="4275" y="1820"/>
                </a:lnTo>
                <a:lnTo>
                  <a:pt x="4274" y="1818"/>
                </a:lnTo>
                <a:lnTo>
                  <a:pt x="4273" y="1816"/>
                </a:lnTo>
                <a:lnTo>
                  <a:pt x="4273" y="1813"/>
                </a:lnTo>
                <a:lnTo>
                  <a:pt x="4275" y="1815"/>
                </a:lnTo>
                <a:lnTo>
                  <a:pt x="4277" y="1816"/>
                </a:lnTo>
                <a:lnTo>
                  <a:pt x="4280" y="1819"/>
                </a:lnTo>
                <a:lnTo>
                  <a:pt x="4285" y="1821"/>
                </a:lnTo>
                <a:lnTo>
                  <a:pt x="4286" y="1820"/>
                </a:lnTo>
                <a:lnTo>
                  <a:pt x="4290" y="1818"/>
                </a:lnTo>
                <a:lnTo>
                  <a:pt x="4293" y="1816"/>
                </a:lnTo>
                <a:lnTo>
                  <a:pt x="4291" y="1815"/>
                </a:lnTo>
                <a:lnTo>
                  <a:pt x="4290" y="1813"/>
                </a:lnTo>
                <a:lnTo>
                  <a:pt x="4285" y="1812"/>
                </a:lnTo>
                <a:lnTo>
                  <a:pt x="4281" y="1813"/>
                </a:lnTo>
                <a:lnTo>
                  <a:pt x="4277" y="1813"/>
                </a:lnTo>
                <a:lnTo>
                  <a:pt x="4273" y="1812"/>
                </a:lnTo>
                <a:lnTo>
                  <a:pt x="4273" y="1809"/>
                </a:lnTo>
                <a:lnTo>
                  <a:pt x="4270" y="1805"/>
                </a:lnTo>
                <a:lnTo>
                  <a:pt x="4264" y="1808"/>
                </a:lnTo>
                <a:lnTo>
                  <a:pt x="4257" y="1808"/>
                </a:lnTo>
                <a:lnTo>
                  <a:pt x="4253" y="1806"/>
                </a:lnTo>
                <a:lnTo>
                  <a:pt x="4250" y="1804"/>
                </a:lnTo>
                <a:lnTo>
                  <a:pt x="4252" y="1802"/>
                </a:lnTo>
                <a:lnTo>
                  <a:pt x="4250" y="1800"/>
                </a:lnTo>
                <a:lnTo>
                  <a:pt x="4249" y="1800"/>
                </a:lnTo>
                <a:lnTo>
                  <a:pt x="4247" y="1800"/>
                </a:lnTo>
                <a:lnTo>
                  <a:pt x="4241" y="1800"/>
                </a:lnTo>
                <a:lnTo>
                  <a:pt x="4239" y="1796"/>
                </a:lnTo>
                <a:lnTo>
                  <a:pt x="4237" y="1796"/>
                </a:lnTo>
                <a:lnTo>
                  <a:pt x="4233" y="1794"/>
                </a:lnTo>
                <a:lnTo>
                  <a:pt x="4231" y="1796"/>
                </a:lnTo>
                <a:lnTo>
                  <a:pt x="4225" y="1796"/>
                </a:lnTo>
                <a:lnTo>
                  <a:pt x="4225" y="1788"/>
                </a:lnTo>
                <a:lnTo>
                  <a:pt x="4223" y="1788"/>
                </a:lnTo>
                <a:lnTo>
                  <a:pt x="4222" y="1788"/>
                </a:lnTo>
                <a:lnTo>
                  <a:pt x="4218" y="1794"/>
                </a:lnTo>
                <a:lnTo>
                  <a:pt x="4216" y="1796"/>
                </a:lnTo>
                <a:lnTo>
                  <a:pt x="4210" y="1796"/>
                </a:lnTo>
                <a:lnTo>
                  <a:pt x="4203" y="1796"/>
                </a:lnTo>
                <a:lnTo>
                  <a:pt x="4199" y="1796"/>
                </a:lnTo>
                <a:lnTo>
                  <a:pt x="4188" y="1792"/>
                </a:lnTo>
                <a:lnTo>
                  <a:pt x="4188" y="1790"/>
                </a:lnTo>
                <a:lnTo>
                  <a:pt x="4185" y="1788"/>
                </a:lnTo>
                <a:lnTo>
                  <a:pt x="4182" y="1788"/>
                </a:lnTo>
                <a:lnTo>
                  <a:pt x="4181" y="1786"/>
                </a:lnTo>
                <a:lnTo>
                  <a:pt x="4177" y="1786"/>
                </a:lnTo>
                <a:lnTo>
                  <a:pt x="4171" y="1781"/>
                </a:lnTo>
                <a:lnTo>
                  <a:pt x="4168" y="1780"/>
                </a:lnTo>
                <a:lnTo>
                  <a:pt x="4164" y="1779"/>
                </a:lnTo>
                <a:lnTo>
                  <a:pt x="4164" y="1784"/>
                </a:lnTo>
                <a:lnTo>
                  <a:pt x="4163" y="1784"/>
                </a:lnTo>
                <a:lnTo>
                  <a:pt x="4163" y="1782"/>
                </a:lnTo>
                <a:lnTo>
                  <a:pt x="4162" y="1781"/>
                </a:lnTo>
                <a:lnTo>
                  <a:pt x="4159" y="1782"/>
                </a:lnTo>
                <a:lnTo>
                  <a:pt x="4157" y="1783"/>
                </a:lnTo>
                <a:lnTo>
                  <a:pt x="4156" y="1784"/>
                </a:lnTo>
                <a:lnTo>
                  <a:pt x="4155" y="1784"/>
                </a:lnTo>
                <a:lnTo>
                  <a:pt x="4152" y="1781"/>
                </a:lnTo>
                <a:lnTo>
                  <a:pt x="4148" y="1782"/>
                </a:lnTo>
                <a:lnTo>
                  <a:pt x="4148" y="1787"/>
                </a:lnTo>
                <a:lnTo>
                  <a:pt x="4146" y="1788"/>
                </a:lnTo>
                <a:lnTo>
                  <a:pt x="4144" y="1790"/>
                </a:lnTo>
                <a:lnTo>
                  <a:pt x="4144" y="1790"/>
                </a:lnTo>
                <a:lnTo>
                  <a:pt x="4144" y="1796"/>
                </a:lnTo>
                <a:lnTo>
                  <a:pt x="4153" y="1796"/>
                </a:lnTo>
                <a:lnTo>
                  <a:pt x="4157" y="1800"/>
                </a:lnTo>
                <a:lnTo>
                  <a:pt x="4158" y="1800"/>
                </a:lnTo>
                <a:lnTo>
                  <a:pt x="4156" y="1801"/>
                </a:lnTo>
                <a:lnTo>
                  <a:pt x="4156" y="1802"/>
                </a:lnTo>
                <a:lnTo>
                  <a:pt x="4165" y="1803"/>
                </a:lnTo>
                <a:lnTo>
                  <a:pt x="4174" y="1804"/>
                </a:lnTo>
                <a:lnTo>
                  <a:pt x="4178" y="1808"/>
                </a:lnTo>
                <a:lnTo>
                  <a:pt x="4182" y="1812"/>
                </a:lnTo>
                <a:lnTo>
                  <a:pt x="4188" y="1812"/>
                </a:lnTo>
                <a:lnTo>
                  <a:pt x="4189" y="1810"/>
                </a:lnTo>
                <a:lnTo>
                  <a:pt x="4189" y="1808"/>
                </a:lnTo>
                <a:lnTo>
                  <a:pt x="4192" y="1807"/>
                </a:lnTo>
                <a:lnTo>
                  <a:pt x="4194" y="1805"/>
                </a:lnTo>
                <a:lnTo>
                  <a:pt x="4196" y="1808"/>
                </a:lnTo>
                <a:lnTo>
                  <a:pt x="4200" y="1808"/>
                </a:lnTo>
                <a:lnTo>
                  <a:pt x="4205" y="1808"/>
                </a:lnTo>
                <a:lnTo>
                  <a:pt x="4210" y="1809"/>
                </a:lnTo>
                <a:lnTo>
                  <a:pt x="4214" y="1811"/>
                </a:lnTo>
                <a:lnTo>
                  <a:pt x="4219" y="1813"/>
                </a:lnTo>
                <a:lnTo>
                  <a:pt x="4227" y="1815"/>
                </a:lnTo>
                <a:lnTo>
                  <a:pt x="4234" y="1816"/>
                </a:lnTo>
                <a:lnTo>
                  <a:pt x="4235" y="1816"/>
                </a:lnTo>
                <a:lnTo>
                  <a:pt x="4237" y="1815"/>
                </a:lnTo>
                <a:lnTo>
                  <a:pt x="4243" y="1816"/>
                </a:lnTo>
                <a:lnTo>
                  <a:pt x="4249" y="1816"/>
                </a:lnTo>
                <a:lnTo>
                  <a:pt x="4257" y="1815"/>
                </a:lnTo>
                <a:close/>
                <a:moveTo>
                  <a:pt x="4284" y="1616"/>
                </a:moveTo>
                <a:lnTo>
                  <a:pt x="4284" y="1617"/>
                </a:lnTo>
                <a:lnTo>
                  <a:pt x="4284" y="1616"/>
                </a:lnTo>
                <a:lnTo>
                  <a:pt x="4284" y="1616"/>
                </a:lnTo>
                <a:close/>
                <a:moveTo>
                  <a:pt x="4206" y="1664"/>
                </a:moveTo>
                <a:lnTo>
                  <a:pt x="4204" y="1664"/>
                </a:lnTo>
                <a:lnTo>
                  <a:pt x="4204" y="1666"/>
                </a:lnTo>
                <a:lnTo>
                  <a:pt x="4205" y="1667"/>
                </a:lnTo>
                <a:lnTo>
                  <a:pt x="4205" y="1666"/>
                </a:lnTo>
                <a:lnTo>
                  <a:pt x="4206" y="1664"/>
                </a:lnTo>
                <a:close/>
                <a:moveTo>
                  <a:pt x="4215" y="1375"/>
                </a:moveTo>
                <a:lnTo>
                  <a:pt x="4213" y="1375"/>
                </a:lnTo>
                <a:lnTo>
                  <a:pt x="4213" y="1376"/>
                </a:lnTo>
                <a:lnTo>
                  <a:pt x="4218" y="1376"/>
                </a:lnTo>
                <a:lnTo>
                  <a:pt x="4218" y="1375"/>
                </a:lnTo>
                <a:lnTo>
                  <a:pt x="4215" y="1375"/>
                </a:lnTo>
                <a:close/>
                <a:moveTo>
                  <a:pt x="4285" y="1620"/>
                </a:moveTo>
                <a:lnTo>
                  <a:pt x="4285" y="1620"/>
                </a:lnTo>
                <a:lnTo>
                  <a:pt x="4286" y="1620"/>
                </a:lnTo>
                <a:lnTo>
                  <a:pt x="4285" y="1620"/>
                </a:lnTo>
                <a:close/>
                <a:moveTo>
                  <a:pt x="4115" y="1680"/>
                </a:moveTo>
                <a:lnTo>
                  <a:pt x="4115" y="1684"/>
                </a:lnTo>
                <a:lnTo>
                  <a:pt x="4115" y="1684"/>
                </a:lnTo>
                <a:lnTo>
                  <a:pt x="4115" y="1683"/>
                </a:lnTo>
                <a:lnTo>
                  <a:pt x="4116" y="1682"/>
                </a:lnTo>
                <a:lnTo>
                  <a:pt x="4115" y="1681"/>
                </a:lnTo>
                <a:lnTo>
                  <a:pt x="4115" y="1680"/>
                </a:lnTo>
                <a:lnTo>
                  <a:pt x="4115" y="1680"/>
                </a:lnTo>
                <a:close/>
                <a:moveTo>
                  <a:pt x="4115" y="1679"/>
                </a:moveTo>
                <a:lnTo>
                  <a:pt x="4115" y="1679"/>
                </a:lnTo>
                <a:lnTo>
                  <a:pt x="4115" y="1676"/>
                </a:lnTo>
                <a:lnTo>
                  <a:pt x="4113" y="1675"/>
                </a:lnTo>
                <a:lnTo>
                  <a:pt x="4115" y="1679"/>
                </a:lnTo>
                <a:close/>
                <a:moveTo>
                  <a:pt x="4102" y="1674"/>
                </a:moveTo>
                <a:lnTo>
                  <a:pt x="4102" y="1673"/>
                </a:lnTo>
                <a:lnTo>
                  <a:pt x="4101" y="1671"/>
                </a:lnTo>
                <a:lnTo>
                  <a:pt x="4101" y="1670"/>
                </a:lnTo>
                <a:lnTo>
                  <a:pt x="4097" y="1669"/>
                </a:lnTo>
                <a:lnTo>
                  <a:pt x="4094" y="1669"/>
                </a:lnTo>
                <a:lnTo>
                  <a:pt x="4096" y="1670"/>
                </a:lnTo>
                <a:lnTo>
                  <a:pt x="4100" y="1673"/>
                </a:lnTo>
                <a:lnTo>
                  <a:pt x="4102" y="1674"/>
                </a:lnTo>
                <a:close/>
                <a:moveTo>
                  <a:pt x="4266" y="1798"/>
                </a:moveTo>
                <a:lnTo>
                  <a:pt x="4271" y="1798"/>
                </a:lnTo>
                <a:lnTo>
                  <a:pt x="4267" y="1796"/>
                </a:lnTo>
                <a:lnTo>
                  <a:pt x="4253" y="1796"/>
                </a:lnTo>
                <a:lnTo>
                  <a:pt x="4249" y="1798"/>
                </a:lnTo>
                <a:lnTo>
                  <a:pt x="4250" y="1799"/>
                </a:lnTo>
                <a:lnTo>
                  <a:pt x="4250" y="1800"/>
                </a:lnTo>
                <a:lnTo>
                  <a:pt x="4261" y="1800"/>
                </a:lnTo>
                <a:lnTo>
                  <a:pt x="4266" y="1798"/>
                </a:lnTo>
                <a:close/>
                <a:moveTo>
                  <a:pt x="4129" y="1675"/>
                </a:moveTo>
                <a:lnTo>
                  <a:pt x="4127" y="1676"/>
                </a:lnTo>
                <a:lnTo>
                  <a:pt x="4133" y="1680"/>
                </a:lnTo>
                <a:lnTo>
                  <a:pt x="4133" y="1678"/>
                </a:lnTo>
                <a:lnTo>
                  <a:pt x="4134" y="1676"/>
                </a:lnTo>
                <a:lnTo>
                  <a:pt x="4132" y="1676"/>
                </a:lnTo>
                <a:lnTo>
                  <a:pt x="4129" y="1675"/>
                </a:lnTo>
                <a:close/>
                <a:moveTo>
                  <a:pt x="4149" y="1648"/>
                </a:moveTo>
                <a:lnTo>
                  <a:pt x="4148" y="1647"/>
                </a:lnTo>
                <a:lnTo>
                  <a:pt x="4148" y="1647"/>
                </a:lnTo>
                <a:lnTo>
                  <a:pt x="4148" y="1651"/>
                </a:lnTo>
                <a:lnTo>
                  <a:pt x="4148" y="1651"/>
                </a:lnTo>
                <a:lnTo>
                  <a:pt x="4149" y="1650"/>
                </a:lnTo>
                <a:lnTo>
                  <a:pt x="4149" y="1650"/>
                </a:lnTo>
                <a:lnTo>
                  <a:pt x="4149" y="1648"/>
                </a:lnTo>
                <a:close/>
                <a:moveTo>
                  <a:pt x="4129" y="1701"/>
                </a:moveTo>
                <a:lnTo>
                  <a:pt x="4130" y="1702"/>
                </a:lnTo>
                <a:lnTo>
                  <a:pt x="4132" y="1701"/>
                </a:lnTo>
                <a:lnTo>
                  <a:pt x="4133" y="1699"/>
                </a:lnTo>
                <a:lnTo>
                  <a:pt x="4132" y="1699"/>
                </a:lnTo>
                <a:lnTo>
                  <a:pt x="4130" y="1698"/>
                </a:lnTo>
                <a:lnTo>
                  <a:pt x="4129" y="1699"/>
                </a:lnTo>
                <a:lnTo>
                  <a:pt x="4127" y="1699"/>
                </a:lnTo>
                <a:lnTo>
                  <a:pt x="4129" y="1701"/>
                </a:lnTo>
                <a:close/>
                <a:moveTo>
                  <a:pt x="4130" y="1693"/>
                </a:moveTo>
                <a:lnTo>
                  <a:pt x="4130" y="1695"/>
                </a:lnTo>
                <a:lnTo>
                  <a:pt x="4129" y="1696"/>
                </a:lnTo>
                <a:lnTo>
                  <a:pt x="4130" y="1696"/>
                </a:lnTo>
                <a:lnTo>
                  <a:pt x="4134" y="1696"/>
                </a:lnTo>
                <a:lnTo>
                  <a:pt x="4135" y="1697"/>
                </a:lnTo>
                <a:lnTo>
                  <a:pt x="4137" y="1698"/>
                </a:lnTo>
                <a:lnTo>
                  <a:pt x="4137" y="1698"/>
                </a:lnTo>
                <a:lnTo>
                  <a:pt x="4137" y="1695"/>
                </a:lnTo>
                <a:lnTo>
                  <a:pt x="4133" y="1694"/>
                </a:lnTo>
                <a:lnTo>
                  <a:pt x="4130" y="1693"/>
                </a:lnTo>
                <a:close/>
                <a:moveTo>
                  <a:pt x="4329" y="1600"/>
                </a:moveTo>
                <a:lnTo>
                  <a:pt x="4329" y="1600"/>
                </a:lnTo>
                <a:lnTo>
                  <a:pt x="4329" y="1601"/>
                </a:lnTo>
                <a:lnTo>
                  <a:pt x="4329" y="1601"/>
                </a:lnTo>
                <a:lnTo>
                  <a:pt x="4329" y="1600"/>
                </a:lnTo>
                <a:close/>
                <a:moveTo>
                  <a:pt x="4343" y="1541"/>
                </a:moveTo>
                <a:lnTo>
                  <a:pt x="4337" y="1542"/>
                </a:lnTo>
                <a:lnTo>
                  <a:pt x="4338" y="1539"/>
                </a:lnTo>
                <a:lnTo>
                  <a:pt x="4339" y="1536"/>
                </a:lnTo>
                <a:lnTo>
                  <a:pt x="4341" y="1533"/>
                </a:lnTo>
                <a:lnTo>
                  <a:pt x="4341" y="1530"/>
                </a:lnTo>
                <a:lnTo>
                  <a:pt x="4342" y="1529"/>
                </a:lnTo>
                <a:lnTo>
                  <a:pt x="4342" y="1528"/>
                </a:lnTo>
                <a:lnTo>
                  <a:pt x="4341" y="1527"/>
                </a:lnTo>
                <a:lnTo>
                  <a:pt x="4341" y="1526"/>
                </a:lnTo>
                <a:lnTo>
                  <a:pt x="4345" y="1527"/>
                </a:lnTo>
                <a:lnTo>
                  <a:pt x="4345" y="1519"/>
                </a:lnTo>
                <a:lnTo>
                  <a:pt x="4346" y="1519"/>
                </a:lnTo>
                <a:lnTo>
                  <a:pt x="4347" y="1521"/>
                </a:lnTo>
                <a:lnTo>
                  <a:pt x="4347" y="1523"/>
                </a:lnTo>
                <a:lnTo>
                  <a:pt x="4347" y="1526"/>
                </a:lnTo>
                <a:lnTo>
                  <a:pt x="4346" y="1528"/>
                </a:lnTo>
                <a:lnTo>
                  <a:pt x="4347" y="1529"/>
                </a:lnTo>
                <a:lnTo>
                  <a:pt x="4347" y="1529"/>
                </a:lnTo>
                <a:lnTo>
                  <a:pt x="4348" y="1532"/>
                </a:lnTo>
                <a:lnTo>
                  <a:pt x="4349" y="1534"/>
                </a:lnTo>
                <a:lnTo>
                  <a:pt x="4344" y="1537"/>
                </a:lnTo>
                <a:lnTo>
                  <a:pt x="4344" y="1539"/>
                </a:lnTo>
                <a:lnTo>
                  <a:pt x="4343" y="1541"/>
                </a:lnTo>
                <a:close/>
                <a:moveTo>
                  <a:pt x="4343" y="1527"/>
                </a:moveTo>
                <a:lnTo>
                  <a:pt x="4343" y="1527"/>
                </a:lnTo>
                <a:lnTo>
                  <a:pt x="4343" y="1527"/>
                </a:lnTo>
                <a:lnTo>
                  <a:pt x="4343" y="1527"/>
                </a:lnTo>
                <a:lnTo>
                  <a:pt x="4343" y="1527"/>
                </a:lnTo>
                <a:close/>
                <a:moveTo>
                  <a:pt x="4339" y="1535"/>
                </a:moveTo>
                <a:lnTo>
                  <a:pt x="4339" y="1535"/>
                </a:lnTo>
                <a:lnTo>
                  <a:pt x="4339" y="1536"/>
                </a:lnTo>
                <a:lnTo>
                  <a:pt x="4339" y="1536"/>
                </a:lnTo>
                <a:lnTo>
                  <a:pt x="4339" y="1536"/>
                </a:lnTo>
                <a:lnTo>
                  <a:pt x="4339" y="1535"/>
                </a:lnTo>
                <a:lnTo>
                  <a:pt x="4339" y="1535"/>
                </a:lnTo>
                <a:close/>
                <a:moveTo>
                  <a:pt x="4249" y="1368"/>
                </a:moveTo>
                <a:lnTo>
                  <a:pt x="4249" y="1368"/>
                </a:lnTo>
                <a:lnTo>
                  <a:pt x="4252" y="1365"/>
                </a:lnTo>
                <a:lnTo>
                  <a:pt x="4249" y="1365"/>
                </a:lnTo>
                <a:lnTo>
                  <a:pt x="4249" y="1368"/>
                </a:lnTo>
                <a:close/>
                <a:moveTo>
                  <a:pt x="4068" y="1611"/>
                </a:moveTo>
                <a:lnTo>
                  <a:pt x="4066" y="1611"/>
                </a:lnTo>
                <a:lnTo>
                  <a:pt x="4066" y="1615"/>
                </a:lnTo>
                <a:lnTo>
                  <a:pt x="4068" y="1615"/>
                </a:lnTo>
                <a:lnTo>
                  <a:pt x="4068" y="1611"/>
                </a:lnTo>
                <a:close/>
                <a:moveTo>
                  <a:pt x="4350" y="1334"/>
                </a:moveTo>
                <a:lnTo>
                  <a:pt x="4350" y="1337"/>
                </a:lnTo>
                <a:lnTo>
                  <a:pt x="4351" y="1337"/>
                </a:lnTo>
                <a:lnTo>
                  <a:pt x="4351" y="1336"/>
                </a:lnTo>
                <a:lnTo>
                  <a:pt x="4350" y="1334"/>
                </a:lnTo>
                <a:lnTo>
                  <a:pt x="4350" y="1334"/>
                </a:lnTo>
                <a:close/>
                <a:moveTo>
                  <a:pt x="4200" y="1664"/>
                </a:moveTo>
                <a:lnTo>
                  <a:pt x="4202" y="1663"/>
                </a:lnTo>
                <a:lnTo>
                  <a:pt x="4204" y="1662"/>
                </a:lnTo>
                <a:lnTo>
                  <a:pt x="4204" y="1663"/>
                </a:lnTo>
                <a:lnTo>
                  <a:pt x="4203" y="1664"/>
                </a:lnTo>
                <a:lnTo>
                  <a:pt x="4204" y="1666"/>
                </a:lnTo>
                <a:lnTo>
                  <a:pt x="4204" y="1669"/>
                </a:lnTo>
                <a:lnTo>
                  <a:pt x="4205" y="1670"/>
                </a:lnTo>
                <a:lnTo>
                  <a:pt x="4205" y="1667"/>
                </a:lnTo>
                <a:lnTo>
                  <a:pt x="4206" y="1669"/>
                </a:lnTo>
                <a:lnTo>
                  <a:pt x="4208" y="1672"/>
                </a:lnTo>
                <a:lnTo>
                  <a:pt x="4214" y="1672"/>
                </a:lnTo>
                <a:lnTo>
                  <a:pt x="4216" y="1667"/>
                </a:lnTo>
                <a:lnTo>
                  <a:pt x="4216" y="1668"/>
                </a:lnTo>
                <a:lnTo>
                  <a:pt x="4216" y="1668"/>
                </a:lnTo>
                <a:lnTo>
                  <a:pt x="4217" y="1671"/>
                </a:lnTo>
                <a:lnTo>
                  <a:pt x="4218" y="1671"/>
                </a:lnTo>
                <a:lnTo>
                  <a:pt x="4221" y="1672"/>
                </a:lnTo>
                <a:lnTo>
                  <a:pt x="4221" y="1671"/>
                </a:lnTo>
                <a:lnTo>
                  <a:pt x="4221" y="1671"/>
                </a:lnTo>
                <a:lnTo>
                  <a:pt x="4223" y="1671"/>
                </a:lnTo>
                <a:lnTo>
                  <a:pt x="4226" y="1673"/>
                </a:lnTo>
                <a:lnTo>
                  <a:pt x="4229" y="1676"/>
                </a:lnTo>
                <a:lnTo>
                  <a:pt x="4232" y="1676"/>
                </a:lnTo>
                <a:lnTo>
                  <a:pt x="4230" y="1674"/>
                </a:lnTo>
                <a:lnTo>
                  <a:pt x="4227" y="1672"/>
                </a:lnTo>
                <a:lnTo>
                  <a:pt x="4226" y="1671"/>
                </a:lnTo>
                <a:lnTo>
                  <a:pt x="4228" y="1668"/>
                </a:lnTo>
                <a:lnTo>
                  <a:pt x="4229" y="1665"/>
                </a:lnTo>
                <a:lnTo>
                  <a:pt x="4231" y="1664"/>
                </a:lnTo>
                <a:lnTo>
                  <a:pt x="4229" y="1664"/>
                </a:lnTo>
                <a:lnTo>
                  <a:pt x="4229" y="1660"/>
                </a:lnTo>
                <a:lnTo>
                  <a:pt x="4232" y="1660"/>
                </a:lnTo>
                <a:lnTo>
                  <a:pt x="4229" y="1657"/>
                </a:lnTo>
                <a:lnTo>
                  <a:pt x="4229" y="1659"/>
                </a:lnTo>
                <a:lnTo>
                  <a:pt x="4229" y="1657"/>
                </a:lnTo>
                <a:lnTo>
                  <a:pt x="4229" y="1654"/>
                </a:lnTo>
                <a:lnTo>
                  <a:pt x="4229" y="1652"/>
                </a:lnTo>
                <a:lnTo>
                  <a:pt x="4231" y="1652"/>
                </a:lnTo>
                <a:lnTo>
                  <a:pt x="4230" y="1654"/>
                </a:lnTo>
                <a:lnTo>
                  <a:pt x="4232" y="1653"/>
                </a:lnTo>
                <a:lnTo>
                  <a:pt x="4236" y="1651"/>
                </a:lnTo>
                <a:lnTo>
                  <a:pt x="4255" y="1647"/>
                </a:lnTo>
                <a:lnTo>
                  <a:pt x="4262" y="1639"/>
                </a:lnTo>
                <a:lnTo>
                  <a:pt x="4269" y="1631"/>
                </a:lnTo>
                <a:lnTo>
                  <a:pt x="4269" y="1628"/>
                </a:lnTo>
                <a:lnTo>
                  <a:pt x="4272" y="1628"/>
                </a:lnTo>
                <a:lnTo>
                  <a:pt x="4273" y="1628"/>
                </a:lnTo>
                <a:lnTo>
                  <a:pt x="4272" y="1624"/>
                </a:lnTo>
                <a:lnTo>
                  <a:pt x="4270" y="1624"/>
                </a:lnTo>
                <a:lnTo>
                  <a:pt x="4275" y="1622"/>
                </a:lnTo>
                <a:lnTo>
                  <a:pt x="4277" y="1621"/>
                </a:lnTo>
                <a:lnTo>
                  <a:pt x="4277" y="1627"/>
                </a:lnTo>
                <a:lnTo>
                  <a:pt x="4277" y="1630"/>
                </a:lnTo>
                <a:lnTo>
                  <a:pt x="4277" y="1632"/>
                </a:lnTo>
                <a:lnTo>
                  <a:pt x="4279" y="1634"/>
                </a:lnTo>
                <a:lnTo>
                  <a:pt x="4280" y="1633"/>
                </a:lnTo>
                <a:lnTo>
                  <a:pt x="4281" y="1631"/>
                </a:lnTo>
                <a:lnTo>
                  <a:pt x="4281" y="1628"/>
                </a:lnTo>
                <a:lnTo>
                  <a:pt x="4281" y="1626"/>
                </a:lnTo>
                <a:lnTo>
                  <a:pt x="4281" y="1620"/>
                </a:lnTo>
                <a:lnTo>
                  <a:pt x="4281" y="1620"/>
                </a:lnTo>
                <a:lnTo>
                  <a:pt x="4278" y="1620"/>
                </a:lnTo>
                <a:lnTo>
                  <a:pt x="4277" y="1621"/>
                </a:lnTo>
                <a:lnTo>
                  <a:pt x="4277" y="1621"/>
                </a:lnTo>
                <a:lnTo>
                  <a:pt x="4281" y="1617"/>
                </a:lnTo>
                <a:lnTo>
                  <a:pt x="4281" y="1620"/>
                </a:lnTo>
                <a:lnTo>
                  <a:pt x="4284" y="1617"/>
                </a:lnTo>
                <a:lnTo>
                  <a:pt x="4285" y="1620"/>
                </a:lnTo>
                <a:lnTo>
                  <a:pt x="4285" y="1620"/>
                </a:lnTo>
                <a:lnTo>
                  <a:pt x="4285" y="1622"/>
                </a:lnTo>
                <a:lnTo>
                  <a:pt x="4285" y="1624"/>
                </a:lnTo>
                <a:lnTo>
                  <a:pt x="4286" y="1628"/>
                </a:lnTo>
                <a:lnTo>
                  <a:pt x="4287" y="1628"/>
                </a:lnTo>
                <a:lnTo>
                  <a:pt x="4291" y="1628"/>
                </a:lnTo>
                <a:lnTo>
                  <a:pt x="4287" y="1624"/>
                </a:lnTo>
                <a:lnTo>
                  <a:pt x="4291" y="1624"/>
                </a:lnTo>
                <a:lnTo>
                  <a:pt x="4291" y="1621"/>
                </a:lnTo>
                <a:lnTo>
                  <a:pt x="4292" y="1618"/>
                </a:lnTo>
                <a:lnTo>
                  <a:pt x="4293" y="1615"/>
                </a:lnTo>
                <a:lnTo>
                  <a:pt x="4292" y="1614"/>
                </a:lnTo>
                <a:lnTo>
                  <a:pt x="4289" y="1612"/>
                </a:lnTo>
                <a:lnTo>
                  <a:pt x="4289" y="1611"/>
                </a:lnTo>
                <a:lnTo>
                  <a:pt x="4291" y="1612"/>
                </a:lnTo>
                <a:lnTo>
                  <a:pt x="4292" y="1612"/>
                </a:lnTo>
                <a:lnTo>
                  <a:pt x="4297" y="1612"/>
                </a:lnTo>
                <a:lnTo>
                  <a:pt x="4300" y="1605"/>
                </a:lnTo>
                <a:lnTo>
                  <a:pt x="4301" y="1602"/>
                </a:lnTo>
                <a:lnTo>
                  <a:pt x="4303" y="1601"/>
                </a:lnTo>
                <a:lnTo>
                  <a:pt x="4304" y="1599"/>
                </a:lnTo>
                <a:lnTo>
                  <a:pt x="4306" y="1596"/>
                </a:lnTo>
                <a:lnTo>
                  <a:pt x="4309" y="1591"/>
                </a:lnTo>
                <a:lnTo>
                  <a:pt x="4309" y="1594"/>
                </a:lnTo>
                <a:lnTo>
                  <a:pt x="4313" y="1591"/>
                </a:lnTo>
                <a:lnTo>
                  <a:pt x="4317" y="1588"/>
                </a:lnTo>
                <a:lnTo>
                  <a:pt x="4317" y="1588"/>
                </a:lnTo>
                <a:lnTo>
                  <a:pt x="4317" y="1592"/>
                </a:lnTo>
                <a:lnTo>
                  <a:pt x="4319" y="1593"/>
                </a:lnTo>
                <a:lnTo>
                  <a:pt x="4321" y="1594"/>
                </a:lnTo>
                <a:lnTo>
                  <a:pt x="4321" y="1596"/>
                </a:lnTo>
                <a:lnTo>
                  <a:pt x="4321" y="1604"/>
                </a:lnTo>
                <a:lnTo>
                  <a:pt x="4322" y="1604"/>
                </a:lnTo>
                <a:lnTo>
                  <a:pt x="4323" y="1604"/>
                </a:lnTo>
                <a:lnTo>
                  <a:pt x="4325" y="1604"/>
                </a:lnTo>
                <a:lnTo>
                  <a:pt x="4329" y="1601"/>
                </a:lnTo>
                <a:lnTo>
                  <a:pt x="4329" y="1603"/>
                </a:lnTo>
                <a:lnTo>
                  <a:pt x="4325" y="1607"/>
                </a:lnTo>
                <a:lnTo>
                  <a:pt x="4325" y="1608"/>
                </a:lnTo>
                <a:lnTo>
                  <a:pt x="4329" y="1607"/>
                </a:lnTo>
                <a:lnTo>
                  <a:pt x="4334" y="1607"/>
                </a:lnTo>
                <a:lnTo>
                  <a:pt x="4342" y="1612"/>
                </a:lnTo>
                <a:lnTo>
                  <a:pt x="4345" y="1612"/>
                </a:lnTo>
                <a:lnTo>
                  <a:pt x="4345" y="1612"/>
                </a:lnTo>
                <a:lnTo>
                  <a:pt x="4345" y="1620"/>
                </a:lnTo>
                <a:lnTo>
                  <a:pt x="4344" y="1620"/>
                </a:lnTo>
                <a:lnTo>
                  <a:pt x="4342" y="1620"/>
                </a:lnTo>
                <a:lnTo>
                  <a:pt x="4340" y="1620"/>
                </a:lnTo>
                <a:lnTo>
                  <a:pt x="4337" y="1619"/>
                </a:lnTo>
                <a:lnTo>
                  <a:pt x="4334" y="1618"/>
                </a:lnTo>
                <a:lnTo>
                  <a:pt x="4332" y="1619"/>
                </a:lnTo>
                <a:lnTo>
                  <a:pt x="4330" y="1620"/>
                </a:lnTo>
                <a:lnTo>
                  <a:pt x="4331" y="1621"/>
                </a:lnTo>
                <a:lnTo>
                  <a:pt x="4332" y="1623"/>
                </a:lnTo>
                <a:lnTo>
                  <a:pt x="4333" y="1624"/>
                </a:lnTo>
                <a:lnTo>
                  <a:pt x="4333" y="1625"/>
                </a:lnTo>
                <a:lnTo>
                  <a:pt x="4333" y="1628"/>
                </a:lnTo>
                <a:lnTo>
                  <a:pt x="4337" y="1628"/>
                </a:lnTo>
                <a:lnTo>
                  <a:pt x="4340" y="1628"/>
                </a:lnTo>
                <a:lnTo>
                  <a:pt x="4337" y="1628"/>
                </a:lnTo>
                <a:lnTo>
                  <a:pt x="4329" y="1631"/>
                </a:lnTo>
                <a:lnTo>
                  <a:pt x="4326" y="1629"/>
                </a:lnTo>
                <a:lnTo>
                  <a:pt x="4324" y="1628"/>
                </a:lnTo>
                <a:lnTo>
                  <a:pt x="4321" y="1631"/>
                </a:lnTo>
                <a:lnTo>
                  <a:pt x="4321" y="1631"/>
                </a:lnTo>
                <a:lnTo>
                  <a:pt x="4321" y="1631"/>
                </a:lnTo>
                <a:lnTo>
                  <a:pt x="4319" y="1630"/>
                </a:lnTo>
                <a:lnTo>
                  <a:pt x="4318" y="1628"/>
                </a:lnTo>
                <a:lnTo>
                  <a:pt x="4315" y="1628"/>
                </a:lnTo>
                <a:lnTo>
                  <a:pt x="4317" y="1630"/>
                </a:lnTo>
                <a:lnTo>
                  <a:pt x="4320" y="1632"/>
                </a:lnTo>
                <a:lnTo>
                  <a:pt x="4316" y="1632"/>
                </a:lnTo>
                <a:lnTo>
                  <a:pt x="4319" y="1635"/>
                </a:lnTo>
                <a:lnTo>
                  <a:pt x="4322" y="1639"/>
                </a:lnTo>
                <a:lnTo>
                  <a:pt x="4322" y="1639"/>
                </a:lnTo>
                <a:lnTo>
                  <a:pt x="4321" y="1640"/>
                </a:lnTo>
                <a:lnTo>
                  <a:pt x="4315" y="1640"/>
                </a:lnTo>
                <a:lnTo>
                  <a:pt x="4315" y="1640"/>
                </a:lnTo>
                <a:lnTo>
                  <a:pt x="4318" y="1641"/>
                </a:lnTo>
                <a:lnTo>
                  <a:pt x="4315" y="1645"/>
                </a:lnTo>
                <a:lnTo>
                  <a:pt x="4317" y="1646"/>
                </a:lnTo>
                <a:lnTo>
                  <a:pt x="4320" y="1648"/>
                </a:lnTo>
                <a:lnTo>
                  <a:pt x="4321" y="1652"/>
                </a:lnTo>
                <a:lnTo>
                  <a:pt x="4322" y="1652"/>
                </a:lnTo>
                <a:lnTo>
                  <a:pt x="4325" y="1655"/>
                </a:lnTo>
                <a:lnTo>
                  <a:pt x="4327" y="1658"/>
                </a:lnTo>
                <a:lnTo>
                  <a:pt x="4325" y="1662"/>
                </a:lnTo>
                <a:lnTo>
                  <a:pt x="4324" y="1662"/>
                </a:lnTo>
                <a:lnTo>
                  <a:pt x="4322" y="1661"/>
                </a:lnTo>
                <a:lnTo>
                  <a:pt x="4324" y="1664"/>
                </a:lnTo>
                <a:lnTo>
                  <a:pt x="4325" y="1666"/>
                </a:lnTo>
                <a:lnTo>
                  <a:pt x="4340" y="1681"/>
                </a:lnTo>
                <a:lnTo>
                  <a:pt x="4337" y="1684"/>
                </a:lnTo>
                <a:lnTo>
                  <a:pt x="4331" y="1684"/>
                </a:lnTo>
                <a:lnTo>
                  <a:pt x="4329" y="1682"/>
                </a:lnTo>
                <a:lnTo>
                  <a:pt x="4326" y="1679"/>
                </a:lnTo>
                <a:lnTo>
                  <a:pt x="4326" y="1678"/>
                </a:lnTo>
                <a:lnTo>
                  <a:pt x="4325" y="1676"/>
                </a:lnTo>
                <a:lnTo>
                  <a:pt x="4326" y="1680"/>
                </a:lnTo>
                <a:lnTo>
                  <a:pt x="4326" y="1684"/>
                </a:lnTo>
                <a:lnTo>
                  <a:pt x="4325" y="1684"/>
                </a:lnTo>
                <a:lnTo>
                  <a:pt x="4321" y="1684"/>
                </a:lnTo>
                <a:lnTo>
                  <a:pt x="4319" y="1687"/>
                </a:lnTo>
                <a:lnTo>
                  <a:pt x="4317" y="1692"/>
                </a:lnTo>
                <a:lnTo>
                  <a:pt x="4317" y="1693"/>
                </a:lnTo>
                <a:lnTo>
                  <a:pt x="4317" y="1696"/>
                </a:lnTo>
                <a:lnTo>
                  <a:pt x="4317" y="1699"/>
                </a:lnTo>
                <a:lnTo>
                  <a:pt x="4318" y="1700"/>
                </a:lnTo>
                <a:lnTo>
                  <a:pt x="4319" y="1700"/>
                </a:lnTo>
                <a:lnTo>
                  <a:pt x="4319" y="1700"/>
                </a:lnTo>
                <a:lnTo>
                  <a:pt x="4317" y="1700"/>
                </a:lnTo>
                <a:lnTo>
                  <a:pt x="4317" y="1708"/>
                </a:lnTo>
                <a:lnTo>
                  <a:pt x="4315" y="1708"/>
                </a:lnTo>
                <a:lnTo>
                  <a:pt x="4311" y="1712"/>
                </a:lnTo>
                <a:lnTo>
                  <a:pt x="4308" y="1712"/>
                </a:lnTo>
                <a:lnTo>
                  <a:pt x="4307" y="1710"/>
                </a:lnTo>
                <a:lnTo>
                  <a:pt x="4305" y="1708"/>
                </a:lnTo>
                <a:lnTo>
                  <a:pt x="4305" y="1713"/>
                </a:lnTo>
                <a:lnTo>
                  <a:pt x="4303" y="1714"/>
                </a:lnTo>
                <a:lnTo>
                  <a:pt x="4301" y="1714"/>
                </a:lnTo>
                <a:lnTo>
                  <a:pt x="4301" y="1716"/>
                </a:lnTo>
                <a:lnTo>
                  <a:pt x="4301" y="1720"/>
                </a:lnTo>
                <a:lnTo>
                  <a:pt x="4301" y="1720"/>
                </a:lnTo>
                <a:lnTo>
                  <a:pt x="4301" y="1722"/>
                </a:lnTo>
                <a:lnTo>
                  <a:pt x="4302" y="1724"/>
                </a:lnTo>
                <a:lnTo>
                  <a:pt x="4303" y="1725"/>
                </a:lnTo>
                <a:lnTo>
                  <a:pt x="4305" y="1726"/>
                </a:lnTo>
                <a:lnTo>
                  <a:pt x="4305" y="1729"/>
                </a:lnTo>
                <a:lnTo>
                  <a:pt x="4304" y="1732"/>
                </a:lnTo>
                <a:lnTo>
                  <a:pt x="4301" y="1732"/>
                </a:lnTo>
                <a:lnTo>
                  <a:pt x="4302" y="1733"/>
                </a:lnTo>
                <a:lnTo>
                  <a:pt x="4303" y="1733"/>
                </a:lnTo>
                <a:lnTo>
                  <a:pt x="4302" y="1735"/>
                </a:lnTo>
                <a:lnTo>
                  <a:pt x="4301" y="1737"/>
                </a:lnTo>
                <a:lnTo>
                  <a:pt x="4301" y="1737"/>
                </a:lnTo>
                <a:lnTo>
                  <a:pt x="4301" y="1737"/>
                </a:lnTo>
                <a:lnTo>
                  <a:pt x="4300" y="1735"/>
                </a:lnTo>
                <a:lnTo>
                  <a:pt x="4300" y="1733"/>
                </a:lnTo>
                <a:lnTo>
                  <a:pt x="4300" y="1736"/>
                </a:lnTo>
                <a:lnTo>
                  <a:pt x="4301" y="1739"/>
                </a:lnTo>
                <a:lnTo>
                  <a:pt x="4300" y="1740"/>
                </a:lnTo>
                <a:lnTo>
                  <a:pt x="4300" y="1740"/>
                </a:lnTo>
                <a:lnTo>
                  <a:pt x="4297" y="1740"/>
                </a:lnTo>
                <a:lnTo>
                  <a:pt x="4297" y="1744"/>
                </a:lnTo>
                <a:lnTo>
                  <a:pt x="4296" y="1745"/>
                </a:lnTo>
                <a:lnTo>
                  <a:pt x="4279" y="1756"/>
                </a:lnTo>
                <a:lnTo>
                  <a:pt x="4277" y="1752"/>
                </a:lnTo>
                <a:lnTo>
                  <a:pt x="4277" y="1747"/>
                </a:lnTo>
                <a:lnTo>
                  <a:pt x="4276" y="1745"/>
                </a:lnTo>
                <a:lnTo>
                  <a:pt x="4275" y="1744"/>
                </a:lnTo>
                <a:lnTo>
                  <a:pt x="4272" y="1742"/>
                </a:lnTo>
                <a:lnTo>
                  <a:pt x="4269" y="1741"/>
                </a:lnTo>
                <a:lnTo>
                  <a:pt x="4266" y="1742"/>
                </a:lnTo>
                <a:lnTo>
                  <a:pt x="4261" y="1744"/>
                </a:lnTo>
                <a:lnTo>
                  <a:pt x="4261" y="1739"/>
                </a:lnTo>
                <a:lnTo>
                  <a:pt x="4258" y="1740"/>
                </a:lnTo>
                <a:lnTo>
                  <a:pt x="4256" y="1739"/>
                </a:lnTo>
                <a:lnTo>
                  <a:pt x="4253" y="1737"/>
                </a:lnTo>
                <a:lnTo>
                  <a:pt x="4249" y="1739"/>
                </a:lnTo>
                <a:lnTo>
                  <a:pt x="4249" y="1740"/>
                </a:lnTo>
                <a:lnTo>
                  <a:pt x="4249" y="1744"/>
                </a:lnTo>
                <a:lnTo>
                  <a:pt x="4247" y="1744"/>
                </a:lnTo>
                <a:lnTo>
                  <a:pt x="4245" y="1743"/>
                </a:lnTo>
                <a:lnTo>
                  <a:pt x="4242" y="1742"/>
                </a:lnTo>
                <a:lnTo>
                  <a:pt x="4240" y="1745"/>
                </a:lnTo>
                <a:lnTo>
                  <a:pt x="4238" y="1748"/>
                </a:lnTo>
                <a:lnTo>
                  <a:pt x="4237" y="1748"/>
                </a:lnTo>
                <a:lnTo>
                  <a:pt x="4237" y="1743"/>
                </a:lnTo>
                <a:lnTo>
                  <a:pt x="4238" y="1737"/>
                </a:lnTo>
                <a:lnTo>
                  <a:pt x="4237" y="1735"/>
                </a:lnTo>
                <a:lnTo>
                  <a:pt x="4237" y="1733"/>
                </a:lnTo>
                <a:lnTo>
                  <a:pt x="4235" y="1735"/>
                </a:lnTo>
                <a:lnTo>
                  <a:pt x="4234" y="1736"/>
                </a:lnTo>
                <a:lnTo>
                  <a:pt x="4233" y="1737"/>
                </a:lnTo>
                <a:lnTo>
                  <a:pt x="4233" y="1737"/>
                </a:lnTo>
                <a:lnTo>
                  <a:pt x="4232" y="1737"/>
                </a:lnTo>
                <a:lnTo>
                  <a:pt x="4230" y="1736"/>
                </a:lnTo>
                <a:lnTo>
                  <a:pt x="4228" y="1738"/>
                </a:lnTo>
                <a:lnTo>
                  <a:pt x="4225" y="1739"/>
                </a:lnTo>
                <a:lnTo>
                  <a:pt x="4224" y="1738"/>
                </a:lnTo>
                <a:lnTo>
                  <a:pt x="4222" y="1737"/>
                </a:lnTo>
                <a:lnTo>
                  <a:pt x="4223" y="1737"/>
                </a:lnTo>
                <a:lnTo>
                  <a:pt x="4223" y="1736"/>
                </a:lnTo>
                <a:lnTo>
                  <a:pt x="4219" y="1739"/>
                </a:lnTo>
                <a:lnTo>
                  <a:pt x="4218" y="1738"/>
                </a:lnTo>
                <a:lnTo>
                  <a:pt x="4218" y="1736"/>
                </a:lnTo>
                <a:lnTo>
                  <a:pt x="4215" y="1737"/>
                </a:lnTo>
                <a:lnTo>
                  <a:pt x="4213" y="1737"/>
                </a:lnTo>
                <a:lnTo>
                  <a:pt x="4211" y="1722"/>
                </a:lnTo>
                <a:lnTo>
                  <a:pt x="4210" y="1721"/>
                </a:lnTo>
                <a:lnTo>
                  <a:pt x="4208" y="1719"/>
                </a:lnTo>
                <a:lnTo>
                  <a:pt x="4210" y="1717"/>
                </a:lnTo>
                <a:lnTo>
                  <a:pt x="4210" y="1715"/>
                </a:lnTo>
                <a:lnTo>
                  <a:pt x="4211" y="1713"/>
                </a:lnTo>
                <a:lnTo>
                  <a:pt x="4207" y="1706"/>
                </a:lnTo>
                <a:lnTo>
                  <a:pt x="4202" y="1705"/>
                </a:lnTo>
                <a:lnTo>
                  <a:pt x="4196" y="1705"/>
                </a:lnTo>
                <a:lnTo>
                  <a:pt x="4196" y="1704"/>
                </a:lnTo>
                <a:lnTo>
                  <a:pt x="4203" y="1704"/>
                </a:lnTo>
                <a:lnTo>
                  <a:pt x="4200" y="1702"/>
                </a:lnTo>
                <a:lnTo>
                  <a:pt x="4197" y="1699"/>
                </a:lnTo>
                <a:lnTo>
                  <a:pt x="4196" y="1698"/>
                </a:lnTo>
                <a:lnTo>
                  <a:pt x="4196" y="1696"/>
                </a:lnTo>
                <a:lnTo>
                  <a:pt x="4197" y="1696"/>
                </a:lnTo>
                <a:lnTo>
                  <a:pt x="4199" y="1695"/>
                </a:lnTo>
                <a:lnTo>
                  <a:pt x="4197" y="1692"/>
                </a:lnTo>
                <a:lnTo>
                  <a:pt x="4196" y="1690"/>
                </a:lnTo>
                <a:lnTo>
                  <a:pt x="4196" y="1688"/>
                </a:lnTo>
                <a:lnTo>
                  <a:pt x="4192" y="1688"/>
                </a:lnTo>
                <a:lnTo>
                  <a:pt x="4192" y="1684"/>
                </a:lnTo>
                <a:lnTo>
                  <a:pt x="4192" y="1680"/>
                </a:lnTo>
                <a:lnTo>
                  <a:pt x="4192" y="1679"/>
                </a:lnTo>
                <a:lnTo>
                  <a:pt x="4192" y="1675"/>
                </a:lnTo>
                <a:lnTo>
                  <a:pt x="4194" y="1673"/>
                </a:lnTo>
                <a:lnTo>
                  <a:pt x="4197" y="1670"/>
                </a:lnTo>
                <a:lnTo>
                  <a:pt x="4199" y="1668"/>
                </a:lnTo>
                <a:lnTo>
                  <a:pt x="4199" y="1666"/>
                </a:lnTo>
                <a:lnTo>
                  <a:pt x="4200" y="1664"/>
                </a:lnTo>
                <a:close/>
                <a:moveTo>
                  <a:pt x="4302" y="1629"/>
                </a:moveTo>
                <a:lnTo>
                  <a:pt x="4302" y="1629"/>
                </a:lnTo>
                <a:lnTo>
                  <a:pt x="4304" y="1630"/>
                </a:lnTo>
                <a:lnTo>
                  <a:pt x="4305" y="1630"/>
                </a:lnTo>
                <a:lnTo>
                  <a:pt x="4304" y="1629"/>
                </a:lnTo>
                <a:lnTo>
                  <a:pt x="4303" y="1628"/>
                </a:lnTo>
                <a:lnTo>
                  <a:pt x="4302" y="1629"/>
                </a:lnTo>
                <a:close/>
                <a:moveTo>
                  <a:pt x="4296" y="1629"/>
                </a:moveTo>
                <a:lnTo>
                  <a:pt x="4298" y="1630"/>
                </a:lnTo>
                <a:lnTo>
                  <a:pt x="4298" y="1629"/>
                </a:lnTo>
                <a:lnTo>
                  <a:pt x="4297" y="1628"/>
                </a:lnTo>
                <a:lnTo>
                  <a:pt x="4296" y="1629"/>
                </a:lnTo>
                <a:close/>
                <a:moveTo>
                  <a:pt x="4254" y="1670"/>
                </a:moveTo>
                <a:lnTo>
                  <a:pt x="4255" y="1673"/>
                </a:lnTo>
                <a:lnTo>
                  <a:pt x="4256" y="1673"/>
                </a:lnTo>
                <a:lnTo>
                  <a:pt x="4255" y="1670"/>
                </a:lnTo>
                <a:lnTo>
                  <a:pt x="4254" y="1670"/>
                </a:lnTo>
                <a:close/>
                <a:moveTo>
                  <a:pt x="4514" y="1802"/>
                </a:moveTo>
                <a:lnTo>
                  <a:pt x="4514" y="1804"/>
                </a:lnTo>
                <a:lnTo>
                  <a:pt x="4514" y="1804"/>
                </a:lnTo>
                <a:lnTo>
                  <a:pt x="4517" y="1802"/>
                </a:lnTo>
                <a:lnTo>
                  <a:pt x="4514" y="1802"/>
                </a:lnTo>
                <a:close/>
                <a:moveTo>
                  <a:pt x="4331" y="1322"/>
                </a:moveTo>
                <a:lnTo>
                  <a:pt x="4331" y="1322"/>
                </a:lnTo>
                <a:lnTo>
                  <a:pt x="4334" y="1322"/>
                </a:lnTo>
                <a:lnTo>
                  <a:pt x="4332" y="1321"/>
                </a:lnTo>
                <a:lnTo>
                  <a:pt x="4331" y="1322"/>
                </a:lnTo>
                <a:close/>
                <a:moveTo>
                  <a:pt x="4352" y="1307"/>
                </a:moveTo>
                <a:lnTo>
                  <a:pt x="4352" y="1303"/>
                </a:lnTo>
                <a:lnTo>
                  <a:pt x="4352" y="1302"/>
                </a:lnTo>
                <a:lnTo>
                  <a:pt x="4350" y="1303"/>
                </a:lnTo>
                <a:lnTo>
                  <a:pt x="4350" y="1306"/>
                </a:lnTo>
                <a:lnTo>
                  <a:pt x="4352" y="1307"/>
                </a:lnTo>
                <a:lnTo>
                  <a:pt x="4352" y="1307"/>
                </a:lnTo>
                <a:close/>
                <a:moveTo>
                  <a:pt x="4302" y="1748"/>
                </a:moveTo>
                <a:lnTo>
                  <a:pt x="4302" y="1748"/>
                </a:lnTo>
                <a:lnTo>
                  <a:pt x="4301" y="1747"/>
                </a:lnTo>
                <a:lnTo>
                  <a:pt x="4301" y="1748"/>
                </a:lnTo>
                <a:lnTo>
                  <a:pt x="4302" y="1748"/>
                </a:lnTo>
                <a:close/>
                <a:moveTo>
                  <a:pt x="4321" y="1634"/>
                </a:moveTo>
                <a:lnTo>
                  <a:pt x="4320" y="1632"/>
                </a:lnTo>
                <a:lnTo>
                  <a:pt x="4320" y="1632"/>
                </a:lnTo>
                <a:lnTo>
                  <a:pt x="4320" y="1632"/>
                </a:lnTo>
                <a:lnTo>
                  <a:pt x="4320" y="1634"/>
                </a:lnTo>
                <a:lnTo>
                  <a:pt x="4321" y="1634"/>
                </a:lnTo>
                <a:close/>
                <a:moveTo>
                  <a:pt x="4310" y="1588"/>
                </a:moveTo>
                <a:lnTo>
                  <a:pt x="4310" y="1588"/>
                </a:lnTo>
                <a:lnTo>
                  <a:pt x="4310" y="1588"/>
                </a:lnTo>
                <a:lnTo>
                  <a:pt x="4309" y="1589"/>
                </a:lnTo>
                <a:lnTo>
                  <a:pt x="4309" y="1591"/>
                </a:lnTo>
                <a:lnTo>
                  <a:pt x="4310" y="1588"/>
                </a:lnTo>
                <a:lnTo>
                  <a:pt x="4310" y="1588"/>
                </a:lnTo>
                <a:close/>
                <a:moveTo>
                  <a:pt x="4297" y="1744"/>
                </a:moveTo>
                <a:lnTo>
                  <a:pt x="4297" y="1745"/>
                </a:lnTo>
                <a:lnTo>
                  <a:pt x="4298" y="1745"/>
                </a:lnTo>
                <a:lnTo>
                  <a:pt x="4299" y="1741"/>
                </a:lnTo>
                <a:lnTo>
                  <a:pt x="4300" y="1741"/>
                </a:lnTo>
                <a:lnTo>
                  <a:pt x="4300" y="1740"/>
                </a:lnTo>
                <a:lnTo>
                  <a:pt x="4300" y="1740"/>
                </a:lnTo>
                <a:lnTo>
                  <a:pt x="4298" y="1742"/>
                </a:lnTo>
                <a:lnTo>
                  <a:pt x="4297" y="1744"/>
                </a:lnTo>
                <a:close/>
                <a:moveTo>
                  <a:pt x="4300" y="1746"/>
                </a:moveTo>
                <a:lnTo>
                  <a:pt x="4301" y="1747"/>
                </a:lnTo>
                <a:lnTo>
                  <a:pt x="4301" y="1745"/>
                </a:lnTo>
                <a:lnTo>
                  <a:pt x="4299" y="1744"/>
                </a:lnTo>
                <a:lnTo>
                  <a:pt x="4298" y="1745"/>
                </a:lnTo>
                <a:lnTo>
                  <a:pt x="4298" y="1745"/>
                </a:lnTo>
                <a:lnTo>
                  <a:pt x="4300" y="1746"/>
                </a:lnTo>
                <a:close/>
                <a:moveTo>
                  <a:pt x="4279" y="1756"/>
                </a:moveTo>
                <a:lnTo>
                  <a:pt x="4279" y="1756"/>
                </a:lnTo>
                <a:lnTo>
                  <a:pt x="4279" y="1756"/>
                </a:lnTo>
                <a:lnTo>
                  <a:pt x="4279" y="1756"/>
                </a:lnTo>
                <a:lnTo>
                  <a:pt x="4279" y="1756"/>
                </a:lnTo>
                <a:close/>
                <a:moveTo>
                  <a:pt x="4297" y="1747"/>
                </a:moveTo>
                <a:lnTo>
                  <a:pt x="4298" y="1745"/>
                </a:lnTo>
                <a:lnTo>
                  <a:pt x="4297" y="1745"/>
                </a:lnTo>
                <a:lnTo>
                  <a:pt x="4297" y="1747"/>
                </a:lnTo>
                <a:close/>
                <a:moveTo>
                  <a:pt x="4324" y="1555"/>
                </a:moveTo>
                <a:lnTo>
                  <a:pt x="4323" y="1555"/>
                </a:lnTo>
                <a:lnTo>
                  <a:pt x="4319" y="1556"/>
                </a:lnTo>
                <a:lnTo>
                  <a:pt x="4313" y="1562"/>
                </a:lnTo>
                <a:lnTo>
                  <a:pt x="4313" y="1565"/>
                </a:lnTo>
                <a:lnTo>
                  <a:pt x="4313" y="1567"/>
                </a:lnTo>
                <a:lnTo>
                  <a:pt x="4313" y="1567"/>
                </a:lnTo>
                <a:lnTo>
                  <a:pt x="4313" y="1567"/>
                </a:lnTo>
                <a:lnTo>
                  <a:pt x="4325" y="1559"/>
                </a:lnTo>
                <a:lnTo>
                  <a:pt x="4325" y="1557"/>
                </a:lnTo>
                <a:lnTo>
                  <a:pt x="4325" y="1555"/>
                </a:lnTo>
                <a:lnTo>
                  <a:pt x="4329" y="1555"/>
                </a:lnTo>
                <a:lnTo>
                  <a:pt x="4336" y="1548"/>
                </a:lnTo>
                <a:lnTo>
                  <a:pt x="4335" y="1547"/>
                </a:lnTo>
                <a:lnTo>
                  <a:pt x="4335" y="1546"/>
                </a:lnTo>
                <a:lnTo>
                  <a:pt x="4335" y="1544"/>
                </a:lnTo>
                <a:lnTo>
                  <a:pt x="4335" y="1543"/>
                </a:lnTo>
                <a:lnTo>
                  <a:pt x="4330" y="1549"/>
                </a:lnTo>
                <a:lnTo>
                  <a:pt x="4324" y="1555"/>
                </a:lnTo>
                <a:close/>
                <a:moveTo>
                  <a:pt x="4594" y="1928"/>
                </a:moveTo>
                <a:lnTo>
                  <a:pt x="4594" y="1927"/>
                </a:lnTo>
                <a:lnTo>
                  <a:pt x="4594" y="1926"/>
                </a:lnTo>
                <a:lnTo>
                  <a:pt x="4594" y="1926"/>
                </a:lnTo>
                <a:lnTo>
                  <a:pt x="4594" y="1928"/>
                </a:lnTo>
                <a:lnTo>
                  <a:pt x="4594" y="1928"/>
                </a:lnTo>
                <a:close/>
                <a:moveTo>
                  <a:pt x="4597" y="1930"/>
                </a:moveTo>
                <a:lnTo>
                  <a:pt x="4598" y="1929"/>
                </a:lnTo>
                <a:lnTo>
                  <a:pt x="4598" y="1928"/>
                </a:lnTo>
                <a:lnTo>
                  <a:pt x="4597" y="1928"/>
                </a:lnTo>
                <a:lnTo>
                  <a:pt x="4597" y="1930"/>
                </a:lnTo>
                <a:lnTo>
                  <a:pt x="4597" y="1930"/>
                </a:lnTo>
                <a:close/>
                <a:moveTo>
                  <a:pt x="4600" y="1905"/>
                </a:moveTo>
                <a:lnTo>
                  <a:pt x="4597" y="1905"/>
                </a:lnTo>
                <a:lnTo>
                  <a:pt x="4597" y="1903"/>
                </a:lnTo>
                <a:lnTo>
                  <a:pt x="4599" y="1902"/>
                </a:lnTo>
                <a:lnTo>
                  <a:pt x="4600" y="1901"/>
                </a:lnTo>
                <a:lnTo>
                  <a:pt x="4598" y="1899"/>
                </a:lnTo>
                <a:lnTo>
                  <a:pt x="4598" y="1899"/>
                </a:lnTo>
                <a:lnTo>
                  <a:pt x="4598" y="1901"/>
                </a:lnTo>
                <a:lnTo>
                  <a:pt x="4597" y="1901"/>
                </a:lnTo>
                <a:lnTo>
                  <a:pt x="4597" y="1899"/>
                </a:lnTo>
                <a:lnTo>
                  <a:pt x="4597" y="1899"/>
                </a:lnTo>
                <a:lnTo>
                  <a:pt x="4594" y="1901"/>
                </a:lnTo>
                <a:lnTo>
                  <a:pt x="4594" y="1901"/>
                </a:lnTo>
                <a:lnTo>
                  <a:pt x="4593" y="1904"/>
                </a:lnTo>
                <a:lnTo>
                  <a:pt x="4593" y="1906"/>
                </a:lnTo>
                <a:lnTo>
                  <a:pt x="4598" y="1906"/>
                </a:lnTo>
                <a:lnTo>
                  <a:pt x="4600" y="1905"/>
                </a:lnTo>
                <a:close/>
                <a:moveTo>
                  <a:pt x="4569" y="1790"/>
                </a:moveTo>
                <a:lnTo>
                  <a:pt x="4569" y="1786"/>
                </a:lnTo>
                <a:lnTo>
                  <a:pt x="4567" y="1787"/>
                </a:lnTo>
                <a:lnTo>
                  <a:pt x="4569" y="1790"/>
                </a:lnTo>
                <a:lnTo>
                  <a:pt x="4569" y="1790"/>
                </a:lnTo>
                <a:close/>
                <a:moveTo>
                  <a:pt x="4601" y="1932"/>
                </a:moveTo>
                <a:lnTo>
                  <a:pt x="4601" y="1926"/>
                </a:lnTo>
                <a:lnTo>
                  <a:pt x="4601" y="1926"/>
                </a:lnTo>
                <a:lnTo>
                  <a:pt x="4600" y="1928"/>
                </a:lnTo>
                <a:lnTo>
                  <a:pt x="4601" y="1932"/>
                </a:lnTo>
                <a:lnTo>
                  <a:pt x="4601" y="1932"/>
                </a:lnTo>
                <a:close/>
                <a:moveTo>
                  <a:pt x="4586" y="1869"/>
                </a:moveTo>
                <a:lnTo>
                  <a:pt x="4586" y="1868"/>
                </a:lnTo>
                <a:lnTo>
                  <a:pt x="4587" y="1867"/>
                </a:lnTo>
                <a:lnTo>
                  <a:pt x="4586" y="1867"/>
                </a:lnTo>
                <a:lnTo>
                  <a:pt x="4586" y="1869"/>
                </a:lnTo>
                <a:lnTo>
                  <a:pt x="4586" y="1869"/>
                </a:lnTo>
                <a:close/>
                <a:moveTo>
                  <a:pt x="4636" y="1950"/>
                </a:moveTo>
                <a:lnTo>
                  <a:pt x="4637" y="1951"/>
                </a:lnTo>
                <a:lnTo>
                  <a:pt x="4638" y="1951"/>
                </a:lnTo>
                <a:lnTo>
                  <a:pt x="4638" y="1949"/>
                </a:lnTo>
                <a:lnTo>
                  <a:pt x="4634" y="1949"/>
                </a:lnTo>
                <a:lnTo>
                  <a:pt x="4636" y="1950"/>
                </a:lnTo>
                <a:close/>
                <a:moveTo>
                  <a:pt x="4595" y="1863"/>
                </a:moveTo>
                <a:lnTo>
                  <a:pt x="4597" y="1861"/>
                </a:lnTo>
                <a:lnTo>
                  <a:pt x="4597" y="1858"/>
                </a:lnTo>
                <a:lnTo>
                  <a:pt x="4597" y="1858"/>
                </a:lnTo>
                <a:lnTo>
                  <a:pt x="4595" y="1861"/>
                </a:lnTo>
                <a:lnTo>
                  <a:pt x="4594" y="1865"/>
                </a:lnTo>
                <a:lnTo>
                  <a:pt x="4595" y="1863"/>
                </a:lnTo>
                <a:close/>
                <a:moveTo>
                  <a:pt x="4629" y="1806"/>
                </a:moveTo>
                <a:lnTo>
                  <a:pt x="4626" y="1804"/>
                </a:lnTo>
                <a:lnTo>
                  <a:pt x="4622" y="1804"/>
                </a:lnTo>
                <a:lnTo>
                  <a:pt x="4615" y="1806"/>
                </a:lnTo>
                <a:lnTo>
                  <a:pt x="4611" y="1813"/>
                </a:lnTo>
                <a:lnTo>
                  <a:pt x="4608" y="1820"/>
                </a:lnTo>
                <a:lnTo>
                  <a:pt x="4612" y="1820"/>
                </a:lnTo>
                <a:lnTo>
                  <a:pt x="4619" y="1820"/>
                </a:lnTo>
                <a:lnTo>
                  <a:pt x="4626" y="1815"/>
                </a:lnTo>
                <a:lnTo>
                  <a:pt x="4629" y="1806"/>
                </a:lnTo>
                <a:close/>
                <a:moveTo>
                  <a:pt x="4698" y="1816"/>
                </a:moveTo>
                <a:lnTo>
                  <a:pt x="4698" y="1816"/>
                </a:lnTo>
                <a:lnTo>
                  <a:pt x="4698" y="1816"/>
                </a:lnTo>
                <a:lnTo>
                  <a:pt x="4698" y="1816"/>
                </a:lnTo>
                <a:lnTo>
                  <a:pt x="4698" y="1816"/>
                </a:lnTo>
                <a:close/>
                <a:moveTo>
                  <a:pt x="4743" y="1983"/>
                </a:moveTo>
                <a:lnTo>
                  <a:pt x="4743" y="1982"/>
                </a:lnTo>
                <a:lnTo>
                  <a:pt x="4743" y="1982"/>
                </a:lnTo>
                <a:lnTo>
                  <a:pt x="4743" y="1982"/>
                </a:lnTo>
                <a:lnTo>
                  <a:pt x="4742" y="1983"/>
                </a:lnTo>
                <a:lnTo>
                  <a:pt x="4743" y="1983"/>
                </a:lnTo>
                <a:close/>
                <a:moveTo>
                  <a:pt x="4691" y="1817"/>
                </a:moveTo>
                <a:lnTo>
                  <a:pt x="4694" y="1820"/>
                </a:lnTo>
                <a:lnTo>
                  <a:pt x="4697" y="1822"/>
                </a:lnTo>
                <a:lnTo>
                  <a:pt x="4695" y="1819"/>
                </a:lnTo>
                <a:lnTo>
                  <a:pt x="4693" y="1818"/>
                </a:lnTo>
                <a:lnTo>
                  <a:pt x="4691" y="1817"/>
                </a:lnTo>
                <a:close/>
                <a:moveTo>
                  <a:pt x="4773" y="2001"/>
                </a:moveTo>
                <a:lnTo>
                  <a:pt x="4775" y="1999"/>
                </a:lnTo>
                <a:lnTo>
                  <a:pt x="4773" y="1998"/>
                </a:lnTo>
                <a:lnTo>
                  <a:pt x="4773" y="1995"/>
                </a:lnTo>
                <a:lnTo>
                  <a:pt x="4773" y="1995"/>
                </a:lnTo>
                <a:lnTo>
                  <a:pt x="4773" y="1996"/>
                </a:lnTo>
                <a:lnTo>
                  <a:pt x="4773" y="1998"/>
                </a:lnTo>
                <a:lnTo>
                  <a:pt x="4773" y="1998"/>
                </a:lnTo>
                <a:lnTo>
                  <a:pt x="4773" y="1999"/>
                </a:lnTo>
                <a:lnTo>
                  <a:pt x="4773" y="2001"/>
                </a:lnTo>
                <a:lnTo>
                  <a:pt x="4773" y="2001"/>
                </a:lnTo>
                <a:close/>
                <a:moveTo>
                  <a:pt x="4696" y="1819"/>
                </a:moveTo>
                <a:lnTo>
                  <a:pt x="4696" y="1817"/>
                </a:lnTo>
                <a:lnTo>
                  <a:pt x="4694" y="1817"/>
                </a:lnTo>
                <a:lnTo>
                  <a:pt x="4695" y="1818"/>
                </a:lnTo>
                <a:lnTo>
                  <a:pt x="4696" y="1819"/>
                </a:lnTo>
                <a:lnTo>
                  <a:pt x="4696" y="1819"/>
                </a:lnTo>
                <a:close/>
                <a:moveTo>
                  <a:pt x="4795" y="2032"/>
                </a:moveTo>
                <a:lnTo>
                  <a:pt x="4797" y="2032"/>
                </a:lnTo>
                <a:lnTo>
                  <a:pt x="4795" y="2030"/>
                </a:lnTo>
                <a:lnTo>
                  <a:pt x="4795" y="2030"/>
                </a:lnTo>
                <a:lnTo>
                  <a:pt x="4795" y="2032"/>
                </a:lnTo>
                <a:close/>
                <a:moveTo>
                  <a:pt x="4675" y="1855"/>
                </a:moveTo>
                <a:lnTo>
                  <a:pt x="4675" y="1853"/>
                </a:lnTo>
                <a:lnTo>
                  <a:pt x="4675" y="1852"/>
                </a:lnTo>
                <a:lnTo>
                  <a:pt x="4675" y="1852"/>
                </a:lnTo>
                <a:lnTo>
                  <a:pt x="4674" y="1853"/>
                </a:lnTo>
                <a:lnTo>
                  <a:pt x="4675" y="1855"/>
                </a:lnTo>
                <a:lnTo>
                  <a:pt x="4675" y="1855"/>
                </a:lnTo>
                <a:close/>
                <a:moveTo>
                  <a:pt x="4675" y="1845"/>
                </a:moveTo>
                <a:lnTo>
                  <a:pt x="4675" y="1846"/>
                </a:lnTo>
                <a:lnTo>
                  <a:pt x="4678" y="1846"/>
                </a:lnTo>
                <a:lnTo>
                  <a:pt x="4677" y="1846"/>
                </a:lnTo>
                <a:lnTo>
                  <a:pt x="4675" y="1845"/>
                </a:lnTo>
                <a:lnTo>
                  <a:pt x="4675" y="1845"/>
                </a:lnTo>
                <a:close/>
                <a:moveTo>
                  <a:pt x="4351" y="1522"/>
                </a:moveTo>
                <a:lnTo>
                  <a:pt x="4351" y="1521"/>
                </a:lnTo>
                <a:lnTo>
                  <a:pt x="4352" y="1520"/>
                </a:lnTo>
                <a:lnTo>
                  <a:pt x="4349" y="1520"/>
                </a:lnTo>
                <a:lnTo>
                  <a:pt x="4351" y="1522"/>
                </a:lnTo>
                <a:close/>
                <a:moveTo>
                  <a:pt x="4560" y="1796"/>
                </a:moveTo>
                <a:lnTo>
                  <a:pt x="4560" y="1796"/>
                </a:lnTo>
                <a:lnTo>
                  <a:pt x="4560" y="1796"/>
                </a:lnTo>
                <a:lnTo>
                  <a:pt x="4560" y="1796"/>
                </a:lnTo>
                <a:lnTo>
                  <a:pt x="4560" y="1796"/>
                </a:lnTo>
                <a:close/>
                <a:moveTo>
                  <a:pt x="4538" y="1781"/>
                </a:moveTo>
                <a:lnTo>
                  <a:pt x="4538" y="1781"/>
                </a:lnTo>
                <a:lnTo>
                  <a:pt x="4538" y="1779"/>
                </a:lnTo>
                <a:lnTo>
                  <a:pt x="4538" y="1775"/>
                </a:lnTo>
                <a:lnTo>
                  <a:pt x="4538" y="1775"/>
                </a:lnTo>
                <a:lnTo>
                  <a:pt x="4538" y="1778"/>
                </a:lnTo>
                <a:lnTo>
                  <a:pt x="4538" y="1781"/>
                </a:lnTo>
                <a:close/>
                <a:moveTo>
                  <a:pt x="4547" y="1752"/>
                </a:moveTo>
                <a:lnTo>
                  <a:pt x="4547" y="1755"/>
                </a:lnTo>
                <a:lnTo>
                  <a:pt x="4549" y="1756"/>
                </a:lnTo>
                <a:lnTo>
                  <a:pt x="4552" y="1756"/>
                </a:lnTo>
                <a:lnTo>
                  <a:pt x="4549" y="1754"/>
                </a:lnTo>
                <a:lnTo>
                  <a:pt x="4547" y="1752"/>
                </a:lnTo>
                <a:lnTo>
                  <a:pt x="4547" y="1752"/>
                </a:lnTo>
                <a:close/>
                <a:moveTo>
                  <a:pt x="4567" y="1792"/>
                </a:moveTo>
                <a:lnTo>
                  <a:pt x="4567" y="1789"/>
                </a:lnTo>
                <a:lnTo>
                  <a:pt x="4566" y="1787"/>
                </a:lnTo>
                <a:lnTo>
                  <a:pt x="4566" y="1787"/>
                </a:lnTo>
                <a:lnTo>
                  <a:pt x="4566" y="1787"/>
                </a:lnTo>
                <a:lnTo>
                  <a:pt x="4566" y="1787"/>
                </a:lnTo>
                <a:lnTo>
                  <a:pt x="4566" y="1792"/>
                </a:lnTo>
                <a:lnTo>
                  <a:pt x="4567" y="1792"/>
                </a:lnTo>
                <a:close/>
                <a:moveTo>
                  <a:pt x="4526" y="1797"/>
                </a:moveTo>
                <a:lnTo>
                  <a:pt x="4525" y="1797"/>
                </a:lnTo>
                <a:lnTo>
                  <a:pt x="4527" y="1801"/>
                </a:lnTo>
                <a:lnTo>
                  <a:pt x="4527" y="1799"/>
                </a:lnTo>
                <a:lnTo>
                  <a:pt x="4526" y="1797"/>
                </a:lnTo>
                <a:close/>
                <a:moveTo>
                  <a:pt x="4497" y="1171"/>
                </a:moveTo>
                <a:lnTo>
                  <a:pt x="4496" y="1169"/>
                </a:lnTo>
                <a:lnTo>
                  <a:pt x="4496" y="1169"/>
                </a:lnTo>
                <a:lnTo>
                  <a:pt x="4496" y="1172"/>
                </a:lnTo>
                <a:lnTo>
                  <a:pt x="4499" y="1172"/>
                </a:lnTo>
                <a:lnTo>
                  <a:pt x="4497" y="1171"/>
                </a:lnTo>
                <a:close/>
                <a:moveTo>
                  <a:pt x="4519" y="1869"/>
                </a:moveTo>
                <a:lnTo>
                  <a:pt x="4522" y="1865"/>
                </a:lnTo>
                <a:lnTo>
                  <a:pt x="4517" y="1861"/>
                </a:lnTo>
                <a:lnTo>
                  <a:pt x="4517" y="1861"/>
                </a:lnTo>
                <a:lnTo>
                  <a:pt x="4515" y="1861"/>
                </a:lnTo>
                <a:lnTo>
                  <a:pt x="4515" y="1861"/>
                </a:lnTo>
                <a:lnTo>
                  <a:pt x="4514" y="1861"/>
                </a:lnTo>
                <a:lnTo>
                  <a:pt x="4514" y="1861"/>
                </a:lnTo>
                <a:lnTo>
                  <a:pt x="4514" y="1861"/>
                </a:lnTo>
                <a:lnTo>
                  <a:pt x="4508" y="1865"/>
                </a:lnTo>
                <a:lnTo>
                  <a:pt x="4507" y="1863"/>
                </a:lnTo>
                <a:lnTo>
                  <a:pt x="4505" y="1861"/>
                </a:lnTo>
                <a:lnTo>
                  <a:pt x="4506" y="1868"/>
                </a:lnTo>
                <a:lnTo>
                  <a:pt x="4505" y="1865"/>
                </a:lnTo>
                <a:lnTo>
                  <a:pt x="4502" y="1865"/>
                </a:lnTo>
                <a:lnTo>
                  <a:pt x="4502" y="1869"/>
                </a:lnTo>
                <a:lnTo>
                  <a:pt x="4501" y="1869"/>
                </a:lnTo>
                <a:lnTo>
                  <a:pt x="4500" y="1870"/>
                </a:lnTo>
                <a:lnTo>
                  <a:pt x="4506" y="1872"/>
                </a:lnTo>
                <a:lnTo>
                  <a:pt x="4507" y="1870"/>
                </a:lnTo>
                <a:lnTo>
                  <a:pt x="4509" y="1869"/>
                </a:lnTo>
                <a:lnTo>
                  <a:pt x="4507" y="1868"/>
                </a:lnTo>
                <a:lnTo>
                  <a:pt x="4506" y="1867"/>
                </a:lnTo>
                <a:lnTo>
                  <a:pt x="4515" y="1872"/>
                </a:lnTo>
                <a:lnTo>
                  <a:pt x="4519" y="1869"/>
                </a:lnTo>
                <a:close/>
                <a:moveTo>
                  <a:pt x="4505" y="1861"/>
                </a:moveTo>
                <a:lnTo>
                  <a:pt x="4505" y="1861"/>
                </a:lnTo>
                <a:lnTo>
                  <a:pt x="4505" y="1861"/>
                </a:lnTo>
                <a:lnTo>
                  <a:pt x="4505" y="1861"/>
                </a:lnTo>
                <a:lnTo>
                  <a:pt x="4505" y="1861"/>
                </a:lnTo>
                <a:close/>
                <a:moveTo>
                  <a:pt x="4542" y="1781"/>
                </a:moveTo>
                <a:lnTo>
                  <a:pt x="4542" y="1781"/>
                </a:lnTo>
                <a:lnTo>
                  <a:pt x="4545" y="1775"/>
                </a:lnTo>
                <a:lnTo>
                  <a:pt x="4545" y="1774"/>
                </a:lnTo>
                <a:lnTo>
                  <a:pt x="4545" y="1772"/>
                </a:lnTo>
                <a:lnTo>
                  <a:pt x="4544" y="1772"/>
                </a:lnTo>
                <a:lnTo>
                  <a:pt x="4542" y="1780"/>
                </a:lnTo>
                <a:lnTo>
                  <a:pt x="4542" y="1781"/>
                </a:lnTo>
                <a:close/>
                <a:moveTo>
                  <a:pt x="4560" y="1787"/>
                </a:moveTo>
                <a:lnTo>
                  <a:pt x="4560" y="1787"/>
                </a:lnTo>
                <a:lnTo>
                  <a:pt x="4560" y="1787"/>
                </a:lnTo>
                <a:lnTo>
                  <a:pt x="4560" y="1787"/>
                </a:lnTo>
                <a:close/>
                <a:moveTo>
                  <a:pt x="4559" y="1785"/>
                </a:moveTo>
                <a:lnTo>
                  <a:pt x="4559" y="1784"/>
                </a:lnTo>
                <a:lnTo>
                  <a:pt x="4558" y="1785"/>
                </a:lnTo>
                <a:lnTo>
                  <a:pt x="4558" y="1792"/>
                </a:lnTo>
                <a:lnTo>
                  <a:pt x="4559" y="1794"/>
                </a:lnTo>
                <a:lnTo>
                  <a:pt x="4560" y="1796"/>
                </a:lnTo>
                <a:lnTo>
                  <a:pt x="4562" y="1793"/>
                </a:lnTo>
                <a:lnTo>
                  <a:pt x="4564" y="1790"/>
                </a:lnTo>
                <a:lnTo>
                  <a:pt x="4561" y="1788"/>
                </a:lnTo>
                <a:lnTo>
                  <a:pt x="4560" y="1787"/>
                </a:lnTo>
                <a:lnTo>
                  <a:pt x="4560" y="1787"/>
                </a:lnTo>
                <a:lnTo>
                  <a:pt x="4559" y="1785"/>
                </a:lnTo>
                <a:close/>
                <a:moveTo>
                  <a:pt x="4566" y="1787"/>
                </a:moveTo>
                <a:lnTo>
                  <a:pt x="4566" y="1787"/>
                </a:lnTo>
                <a:lnTo>
                  <a:pt x="4566" y="1787"/>
                </a:lnTo>
                <a:lnTo>
                  <a:pt x="4566" y="1787"/>
                </a:lnTo>
                <a:lnTo>
                  <a:pt x="4566" y="1787"/>
                </a:lnTo>
                <a:close/>
                <a:moveTo>
                  <a:pt x="4558" y="1784"/>
                </a:moveTo>
                <a:lnTo>
                  <a:pt x="4559" y="1784"/>
                </a:lnTo>
                <a:lnTo>
                  <a:pt x="4559" y="1784"/>
                </a:lnTo>
                <a:lnTo>
                  <a:pt x="4558" y="1784"/>
                </a:lnTo>
                <a:close/>
                <a:moveTo>
                  <a:pt x="4566" y="1786"/>
                </a:moveTo>
                <a:lnTo>
                  <a:pt x="4566" y="1786"/>
                </a:lnTo>
                <a:lnTo>
                  <a:pt x="4566" y="1784"/>
                </a:lnTo>
                <a:lnTo>
                  <a:pt x="4566" y="1784"/>
                </a:lnTo>
                <a:lnTo>
                  <a:pt x="4566" y="1783"/>
                </a:lnTo>
                <a:lnTo>
                  <a:pt x="4566" y="1782"/>
                </a:lnTo>
                <a:lnTo>
                  <a:pt x="4566" y="1779"/>
                </a:lnTo>
                <a:lnTo>
                  <a:pt x="4566" y="1778"/>
                </a:lnTo>
                <a:lnTo>
                  <a:pt x="4566" y="1776"/>
                </a:lnTo>
                <a:lnTo>
                  <a:pt x="4565" y="1776"/>
                </a:lnTo>
                <a:lnTo>
                  <a:pt x="4562" y="1781"/>
                </a:lnTo>
                <a:lnTo>
                  <a:pt x="4562" y="1781"/>
                </a:lnTo>
                <a:lnTo>
                  <a:pt x="4561" y="1783"/>
                </a:lnTo>
                <a:lnTo>
                  <a:pt x="4560" y="1783"/>
                </a:lnTo>
                <a:lnTo>
                  <a:pt x="4558" y="1782"/>
                </a:lnTo>
                <a:lnTo>
                  <a:pt x="4560" y="1784"/>
                </a:lnTo>
                <a:lnTo>
                  <a:pt x="4561" y="1784"/>
                </a:lnTo>
                <a:lnTo>
                  <a:pt x="4561" y="1784"/>
                </a:lnTo>
                <a:lnTo>
                  <a:pt x="4566" y="1787"/>
                </a:lnTo>
                <a:lnTo>
                  <a:pt x="4566" y="1787"/>
                </a:lnTo>
                <a:lnTo>
                  <a:pt x="4566" y="1786"/>
                </a:lnTo>
                <a:close/>
                <a:moveTo>
                  <a:pt x="4561" y="1786"/>
                </a:moveTo>
                <a:lnTo>
                  <a:pt x="4560" y="1787"/>
                </a:lnTo>
                <a:lnTo>
                  <a:pt x="4561" y="1787"/>
                </a:lnTo>
                <a:lnTo>
                  <a:pt x="4564" y="1789"/>
                </a:lnTo>
                <a:lnTo>
                  <a:pt x="4566" y="1787"/>
                </a:lnTo>
                <a:lnTo>
                  <a:pt x="4562" y="1786"/>
                </a:lnTo>
                <a:lnTo>
                  <a:pt x="4561" y="1786"/>
                </a:lnTo>
                <a:close/>
                <a:moveTo>
                  <a:pt x="4562" y="1780"/>
                </a:moveTo>
                <a:lnTo>
                  <a:pt x="4562" y="1781"/>
                </a:lnTo>
                <a:lnTo>
                  <a:pt x="4562" y="1780"/>
                </a:lnTo>
                <a:lnTo>
                  <a:pt x="4562" y="1780"/>
                </a:lnTo>
                <a:close/>
                <a:moveTo>
                  <a:pt x="4523" y="1797"/>
                </a:moveTo>
                <a:lnTo>
                  <a:pt x="4516" y="1804"/>
                </a:lnTo>
                <a:lnTo>
                  <a:pt x="4514" y="1809"/>
                </a:lnTo>
                <a:lnTo>
                  <a:pt x="4514" y="1812"/>
                </a:lnTo>
                <a:lnTo>
                  <a:pt x="4514" y="1812"/>
                </a:lnTo>
                <a:lnTo>
                  <a:pt x="4511" y="1816"/>
                </a:lnTo>
                <a:lnTo>
                  <a:pt x="4514" y="1815"/>
                </a:lnTo>
                <a:lnTo>
                  <a:pt x="4514" y="1816"/>
                </a:lnTo>
                <a:lnTo>
                  <a:pt x="4518" y="1816"/>
                </a:lnTo>
                <a:lnTo>
                  <a:pt x="4519" y="1812"/>
                </a:lnTo>
                <a:lnTo>
                  <a:pt x="4519" y="1809"/>
                </a:lnTo>
                <a:lnTo>
                  <a:pt x="4522" y="1805"/>
                </a:lnTo>
                <a:lnTo>
                  <a:pt x="4522" y="1801"/>
                </a:lnTo>
                <a:lnTo>
                  <a:pt x="4525" y="1798"/>
                </a:lnTo>
                <a:lnTo>
                  <a:pt x="4523" y="1797"/>
                </a:lnTo>
                <a:close/>
                <a:moveTo>
                  <a:pt x="4832" y="1764"/>
                </a:moveTo>
                <a:lnTo>
                  <a:pt x="4832" y="1764"/>
                </a:lnTo>
                <a:lnTo>
                  <a:pt x="4832" y="1764"/>
                </a:lnTo>
                <a:lnTo>
                  <a:pt x="4832" y="1764"/>
                </a:lnTo>
                <a:lnTo>
                  <a:pt x="4832" y="1764"/>
                </a:lnTo>
                <a:close/>
                <a:moveTo>
                  <a:pt x="4806" y="1740"/>
                </a:moveTo>
                <a:lnTo>
                  <a:pt x="4817" y="1748"/>
                </a:lnTo>
                <a:lnTo>
                  <a:pt x="4820" y="1748"/>
                </a:lnTo>
                <a:lnTo>
                  <a:pt x="4822" y="1749"/>
                </a:lnTo>
                <a:lnTo>
                  <a:pt x="4824" y="1750"/>
                </a:lnTo>
                <a:lnTo>
                  <a:pt x="4826" y="1754"/>
                </a:lnTo>
                <a:lnTo>
                  <a:pt x="4827" y="1757"/>
                </a:lnTo>
                <a:lnTo>
                  <a:pt x="4827" y="1760"/>
                </a:lnTo>
                <a:lnTo>
                  <a:pt x="4830" y="1764"/>
                </a:lnTo>
                <a:lnTo>
                  <a:pt x="4831" y="1764"/>
                </a:lnTo>
                <a:lnTo>
                  <a:pt x="4832" y="1764"/>
                </a:lnTo>
                <a:lnTo>
                  <a:pt x="4834" y="1761"/>
                </a:lnTo>
                <a:lnTo>
                  <a:pt x="4834" y="1760"/>
                </a:lnTo>
                <a:lnTo>
                  <a:pt x="4833" y="1760"/>
                </a:lnTo>
                <a:lnTo>
                  <a:pt x="4834" y="1759"/>
                </a:lnTo>
                <a:lnTo>
                  <a:pt x="4834" y="1757"/>
                </a:lnTo>
                <a:lnTo>
                  <a:pt x="4831" y="1755"/>
                </a:lnTo>
                <a:lnTo>
                  <a:pt x="4828" y="1753"/>
                </a:lnTo>
                <a:lnTo>
                  <a:pt x="4824" y="1748"/>
                </a:lnTo>
                <a:lnTo>
                  <a:pt x="4819" y="1744"/>
                </a:lnTo>
                <a:lnTo>
                  <a:pt x="4816" y="1744"/>
                </a:lnTo>
                <a:lnTo>
                  <a:pt x="4803" y="1732"/>
                </a:lnTo>
                <a:lnTo>
                  <a:pt x="4803" y="1732"/>
                </a:lnTo>
                <a:lnTo>
                  <a:pt x="4803" y="1732"/>
                </a:lnTo>
                <a:lnTo>
                  <a:pt x="4803" y="1736"/>
                </a:lnTo>
                <a:lnTo>
                  <a:pt x="4799" y="1740"/>
                </a:lnTo>
                <a:lnTo>
                  <a:pt x="4806" y="1740"/>
                </a:lnTo>
                <a:close/>
                <a:moveTo>
                  <a:pt x="4774" y="1776"/>
                </a:moveTo>
                <a:lnTo>
                  <a:pt x="4766" y="1776"/>
                </a:lnTo>
                <a:lnTo>
                  <a:pt x="4765" y="1777"/>
                </a:lnTo>
                <a:lnTo>
                  <a:pt x="4765" y="1777"/>
                </a:lnTo>
                <a:lnTo>
                  <a:pt x="4765" y="1778"/>
                </a:lnTo>
                <a:lnTo>
                  <a:pt x="4766" y="1779"/>
                </a:lnTo>
                <a:lnTo>
                  <a:pt x="4771" y="1780"/>
                </a:lnTo>
                <a:lnTo>
                  <a:pt x="4775" y="1784"/>
                </a:lnTo>
                <a:lnTo>
                  <a:pt x="4775" y="1786"/>
                </a:lnTo>
                <a:lnTo>
                  <a:pt x="4778" y="1785"/>
                </a:lnTo>
                <a:lnTo>
                  <a:pt x="4780" y="1784"/>
                </a:lnTo>
                <a:lnTo>
                  <a:pt x="4782" y="1786"/>
                </a:lnTo>
                <a:lnTo>
                  <a:pt x="4784" y="1788"/>
                </a:lnTo>
                <a:lnTo>
                  <a:pt x="4795" y="1788"/>
                </a:lnTo>
                <a:lnTo>
                  <a:pt x="4799" y="1785"/>
                </a:lnTo>
                <a:lnTo>
                  <a:pt x="4810" y="1779"/>
                </a:lnTo>
                <a:lnTo>
                  <a:pt x="4810" y="1778"/>
                </a:lnTo>
                <a:lnTo>
                  <a:pt x="4811" y="1776"/>
                </a:lnTo>
                <a:lnTo>
                  <a:pt x="4814" y="1777"/>
                </a:lnTo>
                <a:lnTo>
                  <a:pt x="4816" y="1777"/>
                </a:lnTo>
                <a:lnTo>
                  <a:pt x="4818" y="1776"/>
                </a:lnTo>
                <a:lnTo>
                  <a:pt x="4819" y="1775"/>
                </a:lnTo>
                <a:lnTo>
                  <a:pt x="4819" y="1772"/>
                </a:lnTo>
                <a:lnTo>
                  <a:pt x="4819" y="1772"/>
                </a:lnTo>
                <a:lnTo>
                  <a:pt x="4819" y="1772"/>
                </a:lnTo>
                <a:lnTo>
                  <a:pt x="4821" y="1772"/>
                </a:lnTo>
                <a:lnTo>
                  <a:pt x="4823" y="1768"/>
                </a:lnTo>
                <a:lnTo>
                  <a:pt x="4825" y="1765"/>
                </a:lnTo>
                <a:lnTo>
                  <a:pt x="4824" y="1762"/>
                </a:lnTo>
                <a:lnTo>
                  <a:pt x="4824" y="1760"/>
                </a:lnTo>
                <a:lnTo>
                  <a:pt x="4820" y="1760"/>
                </a:lnTo>
                <a:lnTo>
                  <a:pt x="4822" y="1759"/>
                </a:lnTo>
                <a:lnTo>
                  <a:pt x="4823" y="1757"/>
                </a:lnTo>
                <a:lnTo>
                  <a:pt x="4820" y="1760"/>
                </a:lnTo>
                <a:lnTo>
                  <a:pt x="4816" y="1760"/>
                </a:lnTo>
                <a:lnTo>
                  <a:pt x="4811" y="1760"/>
                </a:lnTo>
                <a:lnTo>
                  <a:pt x="4812" y="1763"/>
                </a:lnTo>
                <a:lnTo>
                  <a:pt x="4814" y="1767"/>
                </a:lnTo>
                <a:lnTo>
                  <a:pt x="4811" y="1768"/>
                </a:lnTo>
                <a:lnTo>
                  <a:pt x="4808" y="1769"/>
                </a:lnTo>
                <a:lnTo>
                  <a:pt x="4805" y="1774"/>
                </a:lnTo>
                <a:lnTo>
                  <a:pt x="4802" y="1780"/>
                </a:lnTo>
                <a:lnTo>
                  <a:pt x="4798" y="1780"/>
                </a:lnTo>
                <a:lnTo>
                  <a:pt x="4797" y="1778"/>
                </a:lnTo>
                <a:lnTo>
                  <a:pt x="4796" y="1778"/>
                </a:lnTo>
                <a:lnTo>
                  <a:pt x="4794" y="1780"/>
                </a:lnTo>
                <a:lnTo>
                  <a:pt x="4792" y="1780"/>
                </a:lnTo>
                <a:lnTo>
                  <a:pt x="4789" y="1776"/>
                </a:lnTo>
                <a:lnTo>
                  <a:pt x="4787" y="1772"/>
                </a:lnTo>
                <a:lnTo>
                  <a:pt x="4787" y="1775"/>
                </a:lnTo>
                <a:lnTo>
                  <a:pt x="4787" y="1776"/>
                </a:lnTo>
                <a:lnTo>
                  <a:pt x="4783" y="1777"/>
                </a:lnTo>
                <a:lnTo>
                  <a:pt x="4779" y="1778"/>
                </a:lnTo>
                <a:lnTo>
                  <a:pt x="4774" y="1776"/>
                </a:lnTo>
                <a:close/>
                <a:moveTo>
                  <a:pt x="4792" y="1770"/>
                </a:moveTo>
                <a:lnTo>
                  <a:pt x="4790" y="1769"/>
                </a:lnTo>
                <a:lnTo>
                  <a:pt x="4788" y="1772"/>
                </a:lnTo>
                <a:lnTo>
                  <a:pt x="4794" y="1772"/>
                </a:lnTo>
                <a:lnTo>
                  <a:pt x="4792" y="1770"/>
                </a:lnTo>
                <a:close/>
                <a:moveTo>
                  <a:pt x="4823" y="1757"/>
                </a:moveTo>
                <a:lnTo>
                  <a:pt x="4823" y="1757"/>
                </a:lnTo>
                <a:lnTo>
                  <a:pt x="4823" y="1757"/>
                </a:lnTo>
                <a:lnTo>
                  <a:pt x="4823" y="1757"/>
                </a:lnTo>
                <a:lnTo>
                  <a:pt x="4823" y="1757"/>
                </a:lnTo>
                <a:close/>
                <a:moveTo>
                  <a:pt x="4821" y="937"/>
                </a:moveTo>
                <a:lnTo>
                  <a:pt x="4822" y="934"/>
                </a:lnTo>
                <a:lnTo>
                  <a:pt x="4818" y="937"/>
                </a:lnTo>
                <a:lnTo>
                  <a:pt x="4814" y="941"/>
                </a:lnTo>
                <a:lnTo>
                  <a:pt x="4820" y="940"/>
                </a:lnTo>
                <a:lnTo>
                  <a:pt x="4821" y="937"/>
                </a:lnTo>
                <a:close/>
                <a:moveTo>
                  <a:pt x="4828" y="1743"/>
                </a:moveTo>
                <a:lnTo>
                  <a:pt x="4828" y="1739"/>
                </a:lnTo>
                <a:lnTo>
                  <a:pt x="4828" y="1739"/>
                </a:lnTo>
                <a:lnTo>
                  <a:pt x="4827" y="1740"/>
                </a:lnTo>
                <a:lnTo>
                  <a:pt x="4827" y="1741"/>
                </a:lnTo>
                <a:lnTo>
                  <a:pt x="4827" y="1742"/>
                </a:lnTo>
                <a:lnTo>
                  <a:pt x="4828" y="1743"/>
                </a:lnTo>
                <a:lnTo>
                  <a:pt x="4828" y="1743"/>
                </a:lnTo>
                <a:close/>
                <a:moveTo>
                  <a:pt x="4817" y="1734"/>
                </a:moveTo>
                <a:lnTo>
                  <a:pt x="4817" y="1736"/>
                </a:lnTo>
                <a:lnTo>
                  <a:pt x="4819" y="1736"/>
                </a:lnTo>
                <a:lnTo>
                  <a:pt x="4818" y="1735"/>
                </a:lnTo>
                <a:lnTo>
                  <a:pt x="4817" y="1734"/>
                </a:lnTo>
                <a:lnTo>
                  <a:pt x="4817" y="1734"/>
                </a:lnTo>
                <a:close/>
                <a:moveTo>
                  <a:pt x="4787" y="1772"/>
                </a:moveTo>
                <a:lnTo>
                  <a:pt x="4787" y="1772"/>
                </a:lnTo>
                <a:lnTo>
                  <a:pt x="4788" y="1772"/>
                </a:lnTo>
                <a:lnTo>
                  <a:pt x="4787" y="1772"/>
                </a:lnTo>
                <a:close/>
                <a:moveTo>
                  <a:pt x="4825" y="1829"/>
                </a:moveTo>
                <a:lnTo>
                  <a:pt x="4831" y="1831"/>
                </a:lnTo>
                <a:lnTo>
                  <a:pt x="4833" y="1830"/>
                </a:lnTo>
                <a:lnTo>
                  <a:pt x="4831" y="1826"/>
                </a:lnTo>
                <a:lnTo>
                  <a:pt x="4825" y="1829"/>
                </a:lnTo>
                <a:close/>
                <a:moveTo>
                  <a:pt x="4692" y="1029"/>
                </a:moveTo>
                <a:lnTo>
                  <a:pt x="4692" y="1029"/>
                </a:lnTo>
                <a:lnTo>
                  <a:pt x="4692" y="1029"/>
                </a:lnTo>
                <a:lnTo>
                  <a:pt x="4692" y="1029"/>
                </a:lnTo>
                <a:lnTo>
                  <a:pt x="4692" y="1029"/>
                </a:lnTo>
                <a:close/>
                <a:moveTo>
                  <a:pt x="4527" y="1009"/>
                </a:moveTo>
                <a:lnTo>
                  <a:pt x="4526" y="1011"/>
                </a:lnTo>
                <a:lnTo>
                  <a:pt x="4527" y="1011"/>
                </a:lnTo>
                <a:lnTo>
                  <a:pt x="4527" y="1009"/>
                </a:lnTo>
                <a:lnTo>
                  <a:pt x="4527" y="1009"/>
                </a:lnTo>
                <a:close/>
                <a:moveTo>
                  <a:pt x="4743" y="985"/>
                </a:moveTo>
                <a:lnTo>
                  <a:pt x="4744" y="985"/>
                </a:lnTo>
                <a:lnTo>
                  <a:pt x="4749" y="982"/>
                </a:lnTo>
                <a:lnTo>
                  <a:pt x="4755" y="980"/>
                </a:lnTo>
                <a:lnTo>
                  <a:pt x="4755" y="977"/>
                </a:lnTo>
                <a:lnTo>
                  <a:pt x="4757" y="977"/>
                </a:lnTo>
                <a:lnTo>
                  <a:pt x="4761" y="975"/>
                </a:lnTo>
                <a:lnTo>
                  <a:pt x="4765" y="973"/>
                </a:lnTo>
                <a:lnTo>
                  <a:pt x="4762" y="973"/>
                </a:lnTo>
                <a:lnTo>
                  <a:pt x="4762" y="970"/>
                </a:lnTo>
                <a:lnTo>
                  <a:pt x="4760" y="968"/>
                </a:lnTo>
                <a:lnTo>
                  <a:pt x="4755" y="968"/>
                </a:lnTo>
                <a:lnTo>
                  <a:pt x="4755" y="970"/>
                </a:lnTo>
                <a:lnTo>
                  <a:pt x="4751" y="974"/>
                </a:lnTo>
                <a:lnTo>
                  <a:pt x="4747" y="979"/>
                </a:lnTo>
                <a:lnTo>
                  <a:pt x="4749" y="980"/>
                </a:lnTo>
                <a:lnTo>
                  <a:pt x="4743" y="983"/>
                </a:lnTo>
                <a:lnTo>
                  <a:pt x="4743" y="985"/>
                </a:lnTo>
                <a:close/>
                <a:moveTo>
                  <a:pt x="4651" y="1011"/>
                </a:moveTo>
                <a:lnTo>
                  <a:pt x="4646" y="1013"/>
                </a:lnTo>
                <a:lnTo>
                  <a:pt x="4642" y="1014"/>
                </a:lnTo>
                <a:lnTo>
                  <a:pt x="4642" y="1022"/>
                </a:lnTo>
                <a:lnTo>
                  <a:pt x="4646" y="1025"/>
                </a:lnTo>
                <a:lnTo>
                  <a:pt x="4646" y="1033"/>
                </a:lnTo>
                <a:lnTo>
                  <a:pt x="4646" y="1037"/>
                </a:lnTo>
                <a:lnTo>
                  <a:pt x="4650" y="1037"/>
                </a:lnTo>
                <a:lnTo>
                  <a:pt x="4650" y="1036"/>
                </a:lnTo>
                <a:lnTo>
                  <a:pt x="4650" y="1034"/>
                </a:lnTo>
                <a:lnTo>
                  <a:pt x="4650" y="1032"/>
                </a:lnTo>
                <a:lnTo>
                  <a:pt x="4653" y="1031"/>
                </a:lnTo>
                <a:lnTo>
                  <a:pt x="4655" y="1029"/>
                </a:lnTo>
                <a:lnTo>
                  <a:pt x="4658" y="1031"/>
                </a:lnTo>
                <a:lnTo>
                  <a:pt x="4660" y="1032"/>
                </a:lnTo>
                <a:lnTo>
                  <a:pt x="4662" y="1031"/>
                </a:lnTo>
                <a:lnTo>
                  <a:pt x="4663" y="1030"/>
                </a:lnTo>
                <a:lnTo>
                  <a:pt x="4656" y="1025"/>
                </a:lnTo>
                <a:lnTo>
                  <a:pt x="4654" y="1025"/>
                </a:lnTo>
                <a:lnTo>
                  <a:pt x="4650" y="1022"/>
                </a:lnTo>
                <a:lnTo>
                  <a:pt x="4650" y="1020"/>
                </a:lnTo>
                <a:lnTo>
                  <a:pt x="4651" y="1018"/>
                </a:lnTo>
                <a:lnTo>
                  <a:pt x="4652" y="1017"/>
                </a:lnTo>
                <a:lnTo>
                  <a:pt x="4658" y="1017"/>
                </a:lnTo>
                <a:lnTo>
                  <a:pt x="4662" y="1021"/>
                </a:lnTo>
                <a:lnTo>
                  <a:pt x="4662" y="1021"/>
                </a:lnTo>
                <a:lnTo>
                  <a:pt x="4662" y="1021"/>
                </a:lnTo>
                <a:lnTo>
                  <a:pt x="4664" y="1019"/>
                </a:lnTo>
                <a:lnTo>
                  <a:pt x="4667" y="1017"/>
                </a:lnTo>
                <a:lnTo>
                  <a:pt x="4669" y="1015"/>
                </a:lnTo>
                <a:lnTo>
                  <a:pt x="4672" y="1014"/>
                </a:lnTo>
                <a:lnTo>
                  <a:pt x="4682" y="1022"/>
                </a:lnTo>
                <a:lnTo>
                  <a:pt x="4692" y="1029"/>
                </a:lnTo>
                <a:lnTo>
                  <a:pt x="4696" y="1018"/>
                </a:lnTo>
                <a:lnTo>
                  <a:pt x="4699" y="1014"/>
                </a:lnTo>
                <a:lnTo>
                  <a:pt x="4703" y="1009"/>
                </a:lnTo>
                <a:lnTo>
                  <a:pt x="4708" y="1007"/>
                </a:lnTo>
                <a:lnTo>
                  <a:pt x="4710" y="1008"/>
                </a:lnTo>
                <a:lnTo>
                  <a:pt x="4713" y="1009"/>
                </a:lnTo>
                <a:lnTo>
                  <a:pt x="4715" y="1006"/>
                </a:lnTo>
                <a:lnTo>
                  <a:pt x="4716" y="1007"/>
                </a:lnTo>
                <a:lnTo>
                  <a:pt x="4718" y="1007"/>
                </a:lnTo>
                <a:lnTo>
                  <a:pt x="4719" y="1008"/>
                </a:lnTo>
                <a:lnTo>
                  <a:pt x="4721" y="1009"/>
                </a:lnTo>
                <a:lnTo>
                  <a:pt x="4725" y="1009"/>
                </a:lnTo>
                <a:lnTo>
                  <a:pt x="4728" y="1003"/>
                </a:lnTo>
                <a:lnTo>
                  <a:pt x="4725" y="1003"/>
                </a:lnTo>
                <a:lnTo>
                  <a:pt x="4722" y="1002"/>
                </a:lnTo>
                <a:lnTo>
                  <a:pt x="4721" y="996"/>
                </a:lnTo>
                <a:lnTo>
                  <a:pt x="4719" y="993"/>
                </a:lnTo>
                <a:lnTo>
                  <a:pt x="4721" y="989"/>
                </a:lnTo>
                <a:lnTo>
                  <a:pt x="4724" y="985"/>
                </a:lnTo>
                <a:lnTo>
                  <a:pt x="4723" y="984"/>
                </a:lnTo>
                <a:lnTo>
                  <a:pt x="4722" y="983"/>
                </a:lnTo>
                <a:lnTo>
                  <a:pt x="4722" y="983"/>
                </a:lnTo>
                <a:lnTo>
                  <a:pt x="4722" y="983"/>
                </a:lnTo>
                <a:lnTo>
                  <a:pt x="4715" y="991"/>
                </a:lnTo>
                <a:lnTo>
                  <a:pt x="4711" y="991"/>
                </a:lnTo>
                <a:lnTo>
                  <a:pt x="4708" y="990"/>
                </a:lnTo>
                <a:lnTo>
                  <a:pt x="4707" y="990"/>
                </a:lnTo>
                <a:lnTo>
                  <a:pt x="4706" y="989"/>
                </a:lnTo>
                <a:lnTo>
                  <a:pt x="4699" y="989"/>
                </a:lnTo>
                <a:lnTo>
                  <a:pt x="4699" y="985"/>
                </a:lnTo>
                <a:lnTo>
                  <a:pt x="4695" y="983"/>
                </a:lnTo>
                <a:lnTo>
                  <a:pt x="4691" y="980"/>
                </a:lnTo>
                <a:lnTo>
                  <a:pt x="4674" y="961"/>
                </a:lnTo>
                <a:lnTo>
                  <a:pt x="4672" y="962"/>
                </a:lnTo>
                <a:lnTo>
                  <a:pt x="4670" y="964"/>
                </a:lnTo>
                <a:lnTo>
                  <a:pt x="4669" y="966"/>
                </a:lnTo>
                <a:lnTo>
                  <a:pt x="4670" y="972"/>
                </a:lnTo>
                <a:lnTo>
                  <a:pt x="4672" y="978"/>
                </a:lnTo>
                <a:lnTo>
                  <a:pt x="4669" y="981"/>
                </a:lnTo>
                <a:lnTo>
                  <a:pt x="4666" y="985"/>
                </a:lnTo>
                <a:lnTo>
                  <a:pt x="4666" y="990"/>
                </a:lnTo>
                <a:lnTo>
                  <a:pt x="4666" y="993"/>
                </a:lnTo>
                <a:lnTo>
                  <a:pt x="4664" y="995"/>
                </a:lnTo>
                <a:lnTo>
                  <a:pt x="4665" y="998"/>
                </a:lnTo>
                <a:lnTo>
                  <a:pt x="4666" y="1003"/>
                </a:lnTo>
                <a:lnTo>
                  <a:pt x="4662" y="1009"/>
                </a:lnTo>
                <a:lnTo>
                  <a:pt x="4658" y="1009"/>
                </a:lnTo>
                <a:lnTo>
                  <a:pt x="4652" y="1003"/>
                </a:lnTo>
                <a:lnTo>
                  <a:pt x="4651" y="1003"/>
                </a:lnTo>
                <a:lnTo>
                  <a:pt x="4652" y="1005"/>
                </a:lnTo>
                <a:lnTo>
                  <a:pt x="4654" y="1008"/>
                </a:lnTo>
                <a:lnTo>
                  <a:pt x="4652" y="1009"/>
                </a:lnTo>
                <a:lnTo>
                  <a:pt x="4651" y="1011"/>
                </a:lnTo>
                <a:close/>
                <a:moveTo>
                  <a:pt x="4785" y="1719"/>
                </a:moveTo>
                <a:lnTo>
                  <a:pt x="4787" y="1719"/>
                </a:lnTo>
                <a:lnTo>
                  <a:pt x="4786" y="1718"/>
                </a:lnTo>
                <a:lnTo>
                  <a:pt x="4785" y="1717"/>
                </a:lnTo>
                <a:lnTo>
                  <a:pt x="4785" y="1717"/>
                </a:lnTo>
                <a:lnTo>
                  <a:pt x="4784" y="1716"/>
                </a:lnTo>
                <a:lnTo>
                  <a:pt x="4784" y="1717"/>
                </a:lnTo>
                <a:lnTo>
                  <a:pt x="4783" y="1717"/>
                </a:lnTo>
                <a:lnTo>
                  <a:pt x="4785" y="1719"/>
                </a:lnTo>
                <a:close/>
                <a:moveTo>
                  <a:pt x="4792" y="954"/>
                </a:moveTo>
                <a:lnTo>
                  <a:pt x="4789" y="956"/>
                </a:lnTo>
                <a:lnTo>
                  <a:pt x="4787" y="958"/>
                </a:lnTo>
                <a:lnTo>
                  <a:pt x="4786" y="959"/>
                </a:lnTo>
                <a:lnTo>
                  <a:pt x="4783" y="964"/>
                </a:lnTo>
                <a:lnTo>
                  <a:pt x="4786" y="963"/>
                </a:lnTo>
                <a:lnTo>
                  <a:pt x="4789" y="960"/>
                </a:lnTo>
                <a:lnTo>
                  <a:pt x="4792" y="957"/>
                </a:lnTo>
                <a:lnTo>
                  <a:pt x="4794" y="955"/>
                </a:lnTo>
                <a:lnTo>
                  <a:pt x="4796" y="953"/>
                </a:lnTo>
                <a:lnTo>
                  <a:pt x="4795" y="953"/>
                </a:lnTo>
                <a:lnTo>
                  <a:pt x="4792" y="954"/>
                </a:lnTo>
                <a:close/>
                <a:moveTo>
                  <a:pt x="4791" y="1731"/>
                </a:moveTo>
                <a:lnTo>
                  <a:pt x="4788" y="1732"/>
                </a:lnTo>
                <a:lnTo>
                  <a:pt x="4790" y="1734"/>
                </a:lnTo>
                <a:lnTo>
                  <a:pt x="4792" y="1736"/>
                </a:lnTo>
                <a:lnTo>
                  <a:pt x="4795" y="1736"/>
                </a:lnTo>
                <a:lnTo>
                  <a:pt x="4796" y="1736"/>
                </a:lnTo>
                <a:lnTo>
                  <a:pt x="4795" y="1732"/>
                </a:lnTo>
                <a:lnTo>
                  <a:pt x="4794" y="1731"/>
                </a:lnTo>
                <a:lnTo>
                  <a:pt x="4791" y="1731"/>
                </a:lnTo>
                <a:close/>
                <a:moveTo>
                  <a:pt x="4747" y="1772"/>
                </a:moveTo>
                <a:lnTo>
                  <a:pt x="4746" y="1772"/>
                </a:lnTo>
                <a:lnTo>
                  <a:pt x="4748" y="1774"/>
                </a:lnTo>
                <a:lnTo>
                  <a:pt x="4750" y="1775"/>
                </a:lnTo>
                <a:lnTo>
                  <a:pt x="4750" y="1775"/>
                </a:lnTo>
                <a:lnTo>
                  <a:pt x="4750" y="1772"/>
                </a:lnTo>
                <a:lnTo>
                  <a:pt x="4748" y="1772"/>
                </a:lnTo>
                <a:lnTo>
                  <a:pt x="4747" y="1772"/>
                </a:lnTo>
                <a:close/>
                <a:moveTo>
                  <a:pt x="4656" y="1829"/>
                </a:moveTo>
                <a:lnTo>
                  <a:pt x="4657" y="1829"/>
                </a:lnTo>
                <a:lnTo>
                  <a:pt x="4654" y="1824"/>
                </a:lnTo>
                <a:lnTo>
                  <a:pt x="4654" y="1829"/>
                </a:lnTo>
                <a:lnTo>
                  <a:pt x="4656" y="1829"/>
                </a:lnTo>
                <a:close/>
                <a:moveTo>
                  <a:pt x="4757" y="1776"/>
                </a:moveTo>
                <a:lnTo>
                  <a:pt x="4757" y="1777"/>
                </a:lnTo>
                <a:lnTo>
                  <a:pt x="4760" y="1780"/>
                </a:lnTo>
                <a:lnTo>
                  <a:pt x="4761" y="1779"/>
                </a:lnTo>
                <a:lnTo>
                  <a:pt x="4761" y="1777"/>
                </a:lnTo>
                <a:lnTo>
                  <a:pt x="4759" y="1777"/>
                </a:lnTo>
                <a:lnTo>
                  <a:pt x="4757" y="1776"/>
                </a:lnTo>
                <a:close/>
                <a:moveTo>
                  <a:pt x="4741" y="998"/>
                </a:moveTo>
                <a:lnTo>
                  <a:pt x="4743" y="998"/>
                </a:lnTo>
                <a:lnTo>
                  <a:pt x="4744" y="995"/>
                </a:lnTo>
                <a:lnTo>
                  <a:pt x="4741" y="997"/>
                </a:lnTo>
                <a:lnTo>
                  <a:pt x="4741" y="998"/>
                </a:lnTo>
                <a:close/>
                <a:moveTo>
                  <a:pt x="4739" y="1778"/>
                </a:moveTo>
                <a:lnTo>
                  <a:pt x="4747" y="1784"/>
                </a:lnTo>
                <a:lnTo>
                  <a:pt x="4754" y="1784"/>
                </a:lnTo>
                <a:lnTo>
                  <a:pt x="4755" y="1787"/>
                </a:lnTo>
                <a:lnTo>
                  <a:pt x="4755" y="1792"/>
                </a:lnTo>
                <a:lnTo>
                  <a:pt x="4755" y="1794"/>
                </a:lnTo>
                <a:lnTo>
                  <a:pt x="4755" y="1796"/>
                </a:lnTo>
                <a:lnTo>
                  <a:pt x="4743" y="1796"/>
                </a:lnTo>
                <a:lnTo>
                  <a:pt x="4743" y="1797"/>
                </a:lnTo>
                <a:lnTo>
                  <a:pt x="4745" y="1798"/>
                </a:lnTo>
                <a:lnTo>
                  <a:pt x="4747" y="1799"/>
                </a:lnTo>
                <a:lnTo>
                  <a:pt x="4747" y="1805"/>
                </a:lnTo>
                <a:lnTo>
                  <a:pt x="4750" y="1805"/>
                </a:lnTo>
                <a:lnTo>
                  <a:pt x="4754" y="1806"/>
                </a:lnTo>
                <a:lnTo>
                  <a:pt x="4755" y="1808"/>
                </a:lnTo>
                <a:lnTo>
                  <a:pt x="4757" y="1811"/>
                </a:lnTo>
                <a:lnTo>
                  <a:pt x="4763" y="1812"/>
                </a:lnTo>
                <a:lnTo>
                  <a:pt x="4765" y="1820"/>
                </a:lnTo>
                <a:lnTo>
                  <a:pt x="4765" y="1821"/>
                </a:lnTo>
                <a:lnTo>
                  <a:pt x="4766" y="1822"/>
                </a:lnTo>
                <a:lnTo>
                  <a:pt x="4768" y="1826"/>
                </a:lnTo>
                <a:lnTo>
                  <a:pt x="4770" y="1829"/>
                </a:lnTo>
                <a:lnTo>
                  <a:pt x="4779" y="1829"/>
                </a:lnTo>
                <a:lnTo>
                  <a:pt x="4780" y="1829"/>
                </a:lnTo>
                <a:lnTo>
                  <a:pt x="4780" y="1830"/>
                </a:lnTo>
                <a:lnTo>
                  <a:pt x="4777" y="1832"/>
                </a:lnTo>
                <a:lnTo>
                  <a:pt x="4778" y="1833"/>
                </a:lnTo>
                <a:lnTo>
                  <a:pt x="4779" y="1834"/>
                </a:lnTo>
                <a:lnTo>
                  <a:pt x="4781" y="1835"/>
                </a:lnTo>
                <a:lnTo>
                  <a:pt x="4783" y="1837"/>
                </a:lnTo>
                <a:lnTo>
                  <a:pt x="4787" y="1837"/>
                </a:lnTo>
                <a:lnTo>
                  <a:pt x="4787" y="1837"/>
                </a:lnTo>
                <a:lnTo>
                  <a:pt x="4783" y="1839"/>
                </a:lnTo>
                <a:lnTo>
                  <a:pt x="4788" y="1843"/>
                </a:lnTo>
                <a:lnTo>
                  <a:pt x="4798" y="1845"/>
                </a:lnTo>
                <a:lnTo>
                  <a:pt x="4802" y="1845"/>
                </a:lnTo>
                <a:lnTo>
                  <a:pt x="4800" y="1847"/>
                </a:lnTo>
                <a:lnTo>
                  <a:pt x="4799" y="1849"/>
                </a:lnTo>
                <a:lnTo>
                  <a:pt x="4799" y="1849"/>
                </a:lnTo>
                <a:lnTo>
                  <a:pt x="4799" y="1851"/>
                </a:lnTo>
                <a:lnTo>
                  <a:pt x="4793" y="1851"/>
                </a:lnTo>
                <a:lnTo>
                  <a:pt x="4787" y="1851"/>
                </a:lnTo>
                <a:lnTo>
                  <a:pt x="4789" y="1850"/>
                </a:lnTo>
                <a:lnTo>
                  <a:pt x="4791" y="1849"/>
                </a:lnTo>
                <a:lnTo>
                  <a:pt x="4785" y="1847"/>
                </a:lnTo>
                <a:lnTo>
                  <a:pt x="4779" y="1846"/>
                </a:lnTo>
                <a:lnTo>
                  <a:pt x="4774" y="1845"/>
                </a:lnTo>
                <a:lnTo>
                  <a:pt x="4772" y="1844"/>
                </a:lnTo>
                <a:lnTo>
                  <a:pt x="4766" y="1845"/>
                </a:lnTo>
                <a:lnTo>
                  <a:pt x="4765" y="1845"/>
                </a:lnTo>
                <a:lnTo>
                  <a:pt x="4763" y="1845"/>
                </a:lnTo>
                <a:lnTo>
                  <a:pt x="4760" y="1845"/>
                </a:lnTo>
                <a:lnTo>
                  <a:pt x="4755" y="1843"/>
                </a:lnTo>
                <a:lnTo>
                  <a:pt x="4753" y="1840"/>
                </a:lnTo>
                <a:lnTo>
                  <a:pt x="4751" y="1836"/>
                </a:lnTo>
                <a:lnTo>
                  <a:pt x="4747" y="1833"/>
                </a:lnTo>
                <a:lnTo>
                  <a:pt x="4744" y="1831"/>
                </a:lnTo>
                <a:lnTo>
                  <a:pt x="4745" y="1829"/>
                </a:lnTo>
                <a:lnTo>
                  <a:pt x="4742" y="1829"/>
                </a:lnTo>
                <a:lnTo>
                  <a:pt x="4740" y="1829"/>
                </a:lnTo>
                <a:lnTo>
                  <a:pt x="4740" y="1827"/>
                </a:lnTo>
                <a:lnTo>
                  <a:pt x="4739" y="1824"/>
                </a:lnTo>
                <a:lnTo>
                  <a:pt x="4736" y="1818"/>
                </a:lnTo>
                <a:lnTo>
                  <a:pt x="4731" y="1812"/>
                </a:lnTo>
                <a:lnTo>
                  <a:pt x="4723" y="1811"/>
                </a:lnTo>
                <a:lnTo>
                  <a:pt x="4714" y="1810"/>
                </a:lnTo>
                <a:lnTo>
                  <a:pt x="4714" y="1809"/>
                </a:lnTo>
                <a:lnTo>
                  <a:pt x="4708" y="1806"/>
                </a:lnTo>
                <a:lnTo>
                  <a:pt x="4708" y="1805"/>
                </a:lnTo>
                <a:lnTo>
                  <a:pt x="4706" y="1805"/>
                </a:lnTo>
                <a:lnTo>
                  <a:pt x="4706" y="1806"/>
                </a:lnTo>
                <a:lnTo>
                  <a:pt x="4706" y="1808"/>
                </a:lnTo>
                <a:lnTo>
                  <a:pt x="4705" y="1810"/>
                </a:lnTo>
                <a:lnTo>
                  <a:pt x="4703" y="1809"/>
                </a:lnTo>
                <a:lnTo>
                  <a:pt x="4701" y="1809"/>
                </a:lnTo>
                <a:lnTo>
                  <a:pt x="4699" y="1807"/>
                </a:lnTo>
                <a:lnTo>
                  <a:pt x="4697" y="1805"/>
                </a:lnTo>
                <a:lnTo>
                  <a:pt x="4702" y="1811"/>
                </a:lnTo>
                <a:lnTo>
                  <a:pt x="4700" y="1811"/>
                </a:lnTo>
                <a:lnTo>
                  <a:pt x="4698" y="1812"/>
                </a:lnTo>
                <a:lnTo>
                  <a:pt x="4693" y="1811"/>
                </a:lnTo>
                <a:lnTo>
                  <a:pt x="4694" y="1811"/>
                </a:lnTo>
                <a:lnTo>
                  <a:pt x="4694" y="1812"/>
                </a:lnTo>
                <a:lnTo>
                  <a:pt x="4694" y="1816"/>
                </a:lnTo>
                <a:lnTo>
                  <a:pt x="4694" y="1816"/>
                </a:lnTo>
                <a:lnTo>
                  <a:pt x="4697" y="1816"/>
                </a:lnTo>
                <a:lnTo>
                  <a:pt x="4697" y="1816"/>
                </a:lnTo>
                <a:lnTo>
                  <a:pt x="4688" y="1817"/>
                </a:lnTo>
                <a:lnTo>
                  <a:pt x="4686" y="1817"/>
                </a:lnTo>
                <a:lnTo>
                  <a:pt x="4685" y="1817"/>
                </a:lnTo>
                <a:lnTo>
                  <a:pt x="4685" y="1817"/>
                </a:lnTo>
                <a:lnTo>
                  <a:pt x="4690" y="1819"/>
                </a:lnTo>
                <a:lnTo>
                  <a:pt x="4694" y="1824"/>
                </a:lnTo>
                <a:lnTo>
                  <a:pt x="4694" y="1826"/>
                </a:lnTo>
                <a:lnTo>
                  <a:pt x="4694" y="1827"/>
                </a:lnTo>
                <a:lnTo>
                  <a:pt x="4694" y="1829"/>
                </a:lnTo>
                <a:lnTo>
                  <a:pt x="4688" y="1829"/>
                </a:lnTo>
                <a:lnTo>
                  <a:pt x="4683" y="1833"/>
                </a:lnTo>
                <a:lnTo>
                  <a:pt x="4680" y="1831"/>
                </a:lnTo>
                <a:lnTo>
                  <a:pt x="4676" y="1830"/>
                </a:lnTo>
                <a:lnTo>
                  <a:pt x="4672" y="1831"/>
                </a:lnTo>
                <a:lnTo>
                  <a:pt x="4668" y="1831"/>
                </a:lnTo>
                <a:lnTo>
                  <a:pt x="4666" y="1831"/>
                </a:lnTo>
                <a:lnTo>
                  <a:pt x="4664" y="1830"/>
                </a:lnTo>
                <a:lnTo>
                  <a:pt x="4661" y="1831"/>
                </a:lnTo>
                <a:lnTo>
                  <a:pt x="4660" y="1831"/>
                </a:lnTo>
                <a:lnTo>
                  <a:pt x="4658" y="1830"/>
                </a:lnTo>
                <a:lnTo>
                  <a:pt x="4658" y="1796"/>
                </a:lnTo>
                <a:lnTo>
                  <a:pt x="4654" y="1796"/>
                </a:lnTo>
                <a:lnTo>
                  <a:pt x="4654" y="1824"/>
                </a:lnTo>
                <a:lnTo>
                  <a:pt x="4650" y="1820"/>
                </a:lnTo>
                <a:lnTo>
                  <a:pt x="4643" y="1813"/>
                </a:lnTo>
                <a:lnTo>
                  <a:pt x="4644" y="1811"/>
                </a:lnTo>
                <a:lnTo>
                  <a:pt x="4644" y="1809"/>
                </a:lnTo>
                <a:lnTo>
                  <a:pt x="4643" y="1812"/>
                </a:lnTo>
                <a:lnTo>
                  <a:pt x="4641" y="1816"/>
                </a:lnTo>
                <a:lnTo>
                  <a:pt x="4634" y="1816"/>
                </a:lnTo>
                <a:lnTo>
                  <a:pt x="4633" y="1814"/>
                </a:lnTo>
                <a:lnTo>
                  <a:pt x="4633" y="1813"/>
                </a:lnTo>
                <a:lnTo>
                  <a:pt x="4627" y="1816"/>
                </a:lnTo>
                <a:lnTo>
                  <a:pt x="4626" y="1815"/>
                </a:lnTo>
                <a:lnTo>
                  <a:pt x="4628" y="1810"/>
                </a:lnTo>
                <a:lnTo>
                  <a:pt x="4630" y="1805"/>
                </a:lnTo>
                <a:lnTo>
                  <a:pt x="4628" y="1802"/>
                </a:lnTo>
                <a:lnTo>
                  <a:pt x="4626" y="1800"/>
                </a:lnTo>
                <a:lnTo>
                  <a:pt x="4626" y="1800"/>
                </a:lnTo>
                <a:lnTo>
                  <a:pt x="4626" y="1800"/>
                </a:lnTo>
                <a:lnTo>
                  <a:pt x="4622" y="1797"/>
                </a:lnTo>
                <a:lnTo>
                  <a:pt x="4626" y="1793"/>
                </a:lnTo>
                <a:lnTo>
                  <a:pt x="4625" y="1792"/>
                </a:lnTo>
                <a:lnTo>
                  <a:pt x="4626" y="1792"/>
                </a:lnTo>
                <a:lnTo>
                  <a:pt x="4622" y="1792"/>
                </a:lnTo>
                <a:lnTo>
                  <a:pt x="4624" y="1793"/>
                </a:lnTo>
                <a:lnTo>
                  <a:pt x="4622" y="1792"/>
                </a:lnTo>
                <a:lnTo>
                  <a:pt x="4622" y="1790"/>
                </a:lnTo>
                <a:lnTo>
                  <a:pt x="4618" y="1786"/>
                </a:lnTo>
                <a:lnTo>
                  <a:pt x="4618" y="1779"/>
                </a:lnTo>
                <a:lnTo>
                  <a:pt x="4616" y="1779"/>
                </a:lnTo>
                <a:lnTo>
                  <a:pt x="4615" y="1780"/>
                </a:lnTo>
                <a:lnTo>
                  <a:pt x="4614" y="1780"/>
                </a:lnTo>
                <a:lnTo>
                  <a:pt x="4614" y="1776"/>
                </a:lnTo>
                <a:lnTo>
                  <a:pt x="4614" y="1776"/>
                </a:lnTo>
                <a:lnTo>
                  <a:pt x="4608" y="1771"/>
                </a:lnTo>
                <a:lnTo>
                  <a:pt x="4603" y="1767"/>
                </a:lnTo>
                <a:lnTo>
                  <a:pt x="4597" y="1764"/>
                </a:lnTo>
                <a:lnTo>
                  <a:pt x="4591" y="1762"/>
                </a:lnTo>
                <a:lnTo>
                  <a:pt x="4585" y="1760"/>
                </a:lnTo>
                <a:lnTo>
                  <a:pt x="4574" y="1758"/>
                </a:lnTo>
                <a:lnTo>
                  <a:pt x="4566" y="1753"/>
                </a:lnTo>
                <a:lnTo>
                  <a:pt x="4567" y="1752"/>
                </a:lnTo>
                <a:lnTo>
                  <a:pt x="4567" y="1752"/>
                </a:lnTo>
                <a:lnTo>
                  <a:pt x="4566" y="1752"/>
                </a:lnTo>
                <a:lnTo>
                  <a:pt x="4564" y="1752"/>
                </a:lnTo>
                <a:lnTo>
                  <a:pt x="4562" y="1751"/>
                </a:lnTo>
                <a:lnTo>
                  <a:pt x="4560" y="1752"/>
                </a:lnTo>
                <a:lnTo>
                  <a:pt x="4560" y="1752"/>
                </a:lnTo>
                <a:lnTo>
                  <a:pt x="4557" y="1752"/>
                </a:lnTo>
                <a:lnTo>
                  <a:pt x="4555" y="1746"/>
                </a:lnTo>
                <a:lnTo>
                  <a:pt x="4554" y="1747"/>
                </a:lnTo>
                <a:lnTo>
                  <a:pt x="4554" y="1746"/>
                </a:lnTo>
                <a:lnTo>
                  <a:pt x="4554" y="1746"/>
                </a:lnTo>
                <a:lnTo>
                  <a:pt x="4553" y="1745"/>
                </a:lnTo>
                <a:lnTo>
                  <a:pt x="4552" y="1744"/>
                </a:lnTo>
                <a:lnTo>
                  <a:pt x="4546" y="1744"/>
                </a:lnTo>
                <a:lnTo>
                  <a:pt x="4546" y="1745"/>
                </a:lnTo>
                <a:lnTo>
                  <a:pt x="4546" y="1747"/>
                </a:lnTo>
                <a:lnTo>
                  <a:pt x="4546" y="1749"/>
                </a:lnTo>
                <a:lnTo>
                  <a:pt x="4546" y="1751"/>
                </a:lnTo>
                <a:lnTo>
                  <a:pt x="4546" y="1753"/>
                </a:lnTo>
                <a:lnTo>
                  <a:pt x="4545" y="1756"/>
                </a:lnTo>
                <a:lnTo>
                  <a:pt x="4540" y="1756"/>
                </a:lnTo>
                <a:lnTo>
                  <a:pt x="4537" y="1749"/>
                </a:lnTo>
                <a:lnTo>
                  <a:pt x="4538" y="1745"/>
                </a:lnTo>
                <a:lnTo>
                  <a:pt x="4538" y="1744"/>
                </a:lnTo>
                <a:lnTo>
                  <a:pt x="4538" y="1744"/>
                </a:lnTo>
                <a:lnTo>
                  <a:pt x="4537" y="1742"/>
                </a:lnTo>
                <a:lnTo>
                  <a:pt x="4537" y="1739"/>
                </a:lnTo>
                <a:lnTo>
                  <a:pt x="4533" y="1736"/>
                </a:lnTo>
                <a:lnTo>
                  <a:pt x="4531" y="1737"/>
                </a:lnTo>
                <a:lnTo>
                  <a:pt x="4530" y="1737"/>
                </a:lnTo>
                <a:lnTo>
                  <a:pt x="4528" y="1735"/>
                </a:lnTo>
                <a:lnTo>
                  <a:pt x="4527" y="1734"/>
                </a:lnTo>
                <a:lnTo>
                  <a:pt x="4533" y="1733"/>
                </a:lnTo>
                <a:lnTo>
                  <a:pt x="4538" y="1734"/>
                </a:lnTo>
                <a:lnTo>
                  <a:pt x="4540" y="1733"/>
                </a:lnTo>
                <a:lnTo>
                  <a:pt x="4541" y="1732"/>
                </a:lnTo>
                <a:lnTo>
                  <a:pt x="4545" y="1732"/>
                </a:lnTo>
                <a:lnTo>
                  <a:pt x="4549" y="1732"/>
                </a:lnTo>
                <a:lnTo>
                  <a:pt x="4550" y="1732"/>
                </a:lnTo>
                <a:lnTo>
                  <a:pt x="4550" y="1732"/>
                </a:lnTo>
                <a:lnTo>
                  <a:pt x="4551" y="1731"/>
                </a:lnTo>
                <a:lnTo>
                  <a:pt x="4551" y="1729"/>
                </a:lnTo>
                <a:lnTo>
                  <a:pt x="4554" y="1728"/>
                </a:lnTo>
                <a:lnTo>
                  <a:pt x="4554" y="1727"/>
                </a:lnTo>
                <a:lnTo>
                  <a:pt x="4554" y="1727"/>
                </a:lnTo>
                <a:lnTo>
                  <a:pt x="4553" y="1728"/>
                </a:lnTo>
                <a:lnTo>
                  <a:pt x="4553" y="1727"/>
                </a:lnTo>
                <a:lnTo>
                  <a:pt x="4552" y="1728"/>
                </a:lnTo>
                <a:lnTo>
                  <a:pt x="4547" y="1728"/>
                </a:lnTo>
                <a:lnTo>
                  <a:pt x="4538" y="1729"/>
                </a:lnTo>
                <a:lnTo>
                  <a:pt x="4537" y="1728"/>
                </a:lnTo>
                <a:lnTo>
                  <a:pt x="4537" y="1728"/>
                </a:lnTo>
                <a:lnTo>
                  <a:pt x="4533" y="1728"/>
                </a:lnTo>
                <a:lnTo>
                  <a:pt x="4527" y="1726"/>
                </a:lnTo>
                <a:lnTo>
                  <a:pt x="4527" y="1721"/>
                </a:lnTo>
                <a:lnTo>
                  <a:pt x="4526" y="1717"/>
                </a:lnTo>
                <a:lnTo>
                  <a:pt x="4521" y="1716"/>
                </a:lnTo>
                <a:lnTo>
                  <a:pt x="4517" y="1714"/>
                </a:lnTo>
                <a:lnTo>
                  <a:pt x="4518" y="1715"/>
                </a:lnTo>
                <a:lnTo>
                  <a:pt x="4518" y="1716"/>
                </a:lnTo>
                <a:lnTo>
                  <a:pt x="4517" y="1716"/>
                </a:lnTo>
                <a:lnTo>
                  <a:pt x="4514" y="1713"/>
                </a:lnTo>
                <a:lnTo>
                  <a:pt x="4514" y="1713"/>
                </a:lnTo>
                <a:lnTo>
                  <a:pt x="4514" y="1713"/>
                </a:lnTo>
                <a:lnTo>
                  <a:pt x="4513" y="1713"/>
                </a:lnTo>
                <a:lnTo>
                  <a:pt x="4512" y="1715"/>
                </a:lnTo>
                <a:lnTo>
                  <a:pt x="4513" y="1713"/>
                </a:lnTo>
                <a:lnTo>
                  <a:pt x="4511" y="1711"/>
                </a:lnTo>
                <a:lnTo>
                  <a:pt x="4508" y="1709"/>
                </a:lnTo>
                <a:lnTo>
                  <a:pt x="4512" y="1708"/>
                </a:lnTo>
                <a:lnTo>
                  <a:pt x="4514" y="1708"/>
                </a:lnTo>
                <a:lnTo>
                  <a:pt x="4514" y="1705"/>
                </a:lnTo>
                <a:lnTo>
                  <a:pt x="4520" y="1704"/>
                </a:lnTo>
                <a:lnTo>
                  <a:pt x="4526" y="1703"/>
                </a:lnTo>
                <a:lnTo>
                  <a:pt x="4530" y="1699"/>
                </a:lnTo>
                <a:lnTo>
                  <a:pt x="4534" y="1698"/>
                </a:lnTo>
                <a:lnTo>
                  <a:pt x="4545" y="1702"/>
                </a:lnTo>
                <a:lnTo>
                  <a:pt x="4547" y="1703"/>
                </a:lnTo>
                <a:lnTo>
                  <a:pt x="4548" y="1704"/>
                </a:lnTo>
                <a:lnTo>
                  <a:pt x="4557" y="1704"/>
                </a:lnTo>
                <a:lnTo>
                  <a:pt x="4558" y="1705"/>
                </a:lnTo>
                <a:lnTo>
                  <a:pt x="4557" y="1706"/>
                </a:lnTo>
                <a:lnTo>
                  <a:pt x="4560" y="1713"/>
                </a:lnTo>
                <a:lnTo>
                  <a:pt x="4558" y="1717"/>
                </a:lnTo>
                <a:lnTo>
                  <a:pt x="4559" y="1722"/>
                </a:lnTo>
                <a:lnTo>
                  <a:pt x="4559" y="1728"/>
                </a:lnTo>
                <a:lnTo>
                  <a:pt x="4560" y="1732"/>
                </a:lnTo>
                <a:lnTo>
                  <a:pt x="4561" y="1736"/>
                </a:lnTo>
                <a:lnTo>
                  <a:pt x="4562" y="1733"/>
                </a:lnTo>
                <a:lnTo>
                  <a:pt x="4562" y="1732"/>
                </a:lnTo>
                <a:lnTo>
                  <a:pt x="4566" y="1732"/>
                </a:lnTo>
                <a:lnTo>
                  <a:pt x="4566" y="1735"/>
                </a:lnTo>
                <a:lnTo>
                  <a:pt x="4566" y="1737"/>
                </a:lnTo>
                <a:lnTo>
                  <a:pt x="4566" y="1736"/>
                </a:lnTo>
                <a:lnTo>
                  <a:pt x="4566" y="1739"/>
                </a:lnTo>
                <a:lnTo>
                  <a:pt x="4566" y="1740"/>
                </a:lnTo>
                <a:lnTo>
                  <a:pt x="4569" y="1742"/>
                </a:lnTo>
                <a:lnTo>
                  <a:pt x="4572" y="1744"/>
                </a:lnTo>
                <a:lnTo>
                  <a:pt x="4578" y="1744"/>
                </a:lnTo>
                <a:lnTo>
                  <a:pt x="4582" y="1741"/>
                </a:lnTo>
                <a:lnTo>
                  <a:pt x="4585" y="1737"/>
                </a:lnTo>
                <a:lnTo>
                  <a:pt x="4586" y="1735"/>
                </a:lnTo>
                <a:lnTo>
                  <a:pt x="4586" y="1733"/>
                </a:lnTo>
                <a:lnTo>
                  <a:pt x="4587" y="1732"/>
                </a:lnTo>
                <a:lnTo>
                  <a:pt x="4589" y="1731"/>
                </a:lnTo>
                <a:lnTo>
                  <a:pt x="4590" y="1729"/>
                </a:lnTo>
                <a:lnTo>
                  <a:pt x="4592" y="1728"/>
                </a:lnTo>
                <a:lnTo>
                  <a:pt x="4596" y="1728"/>
                </a:lnTo>
                <a:lnTo>
                  <a:pt x="4599" y="1726"/>
                </a:lnTo>
                <a:lnTo>
                  <a:pt x="4602" y="1725"/>
                </a:lnTo>
                <a:lnTo>
                  <a:pt x="4602" y="1719"/>
                </a:lnTo>
                <a:lnTo>
                  <a:pt x="4612" y="1714"/>
                </a:lnTo>
                <a:lnTo>
                  <a:pt x="4626" y="1721"/>
                </a:lnTo>
                <a:lnTo>
                  <a:pt x="4640" y="1728"/>
                </a:lnTo>
                <a:lnTo>
                  <a:pt x="4644" y="1728"/>
                </a:lnTo>
                <a:lnTo>
                  <a:pt x="4648" y="1732"/>
                </a:lnTo>
                <a:lnTo>
                  <a:pt x="4650" y="1732"/>
                </a:lnTo>
                <a:lnTo>
                  <a:pt x="4650" y="1732"/>
                </a:lnTo>
                <a:lnTo>
                  <a:pt x="4652" y="1732"/>
                </a:lnTo>
                <a:lnTo>
                  <a:pt x="4654" y="1731"/>
                </a:lnTo>
                <a:lnTo>
                  <a:pt x="4654" y="1786"/>
                </a:lnTo>
                <a:lnTo>
                  <a:pt x="4654" y="1790"/>
                </a:lnTo>
                <a:lnTo>
                  <a:pt x="4654" y="1792"/>
                </a:lnTo>
                <a:lnTo>
                  <a:pt x="4658" y="1787"/>
                </a:lnTo>
                <a:lnTo>
                  <a:pt x="4658" y="1736"/>
                </a:lnTo>
                <a:lnTo>
                  <a:pt x="4662" y="1736"/>
                </a:lnTo>
                <a:lnTo>
                  <a:pt x="4682" y="1745"/>
                </a:lnTo>
                <a:lnTo>
                  <a:pt x="4696" y="1746"/>
                </a:lnTo>
                <a:lnTo>
                  <a:pt x="4702" y="1751"/>
                </a:lnTo>
                <a:lnTo>
                  <a:pt x="4705" y="1753"/>
                </a:lnTo>
                <a:lnTo>
                  <a:pt x="4706" y="1752"/>
                </a:lnTo>
                <a:lnTo>
                  <a:pt x="4706" y="1752"/>
                </a:lnTo>
                <a:lnTo>
                  <a:pt x="4706" y="1753"/>
                </a:lnTo>
                <a:lnTo>
                  <a:pt x="4714" y="1755"/>
                </a:lnTo>
                <a:lnTo>
                  <a:pt x="4717" y="1758"/>
                </a:lnTo>
                <a:lnTo>
                  <a:pt x="4719" y="1759"/>
                </a:lnTo>
                <a:lnTo>
                  <a:pt x="4721" y="1760"/>
                </a:lnTo>
                <a:lnTo>
                  <a:pt x="4725" y="1763"/>
                </a:lnTo>
                <a:lnTo>
                  <a:pt x="4728" y="1765"/>
                </a:lnTo>
                <a:lnTo>
                  <a:pt x="4728" y="1767"/>
                </a:lnTo>
                <a:lnTo>
                  <a:pt x="4729" y="1770"/>
                </a:lnTo>
                <a:lnTo>
                  <a:pt x="4728" y="1773"/>
                </a:lnTo>
                <a:lnTo>
                  <a:pt x="4728" y="1777"/>
                </a:lnTo>
                <a:lnTo>
                  <a:pt x="4739" y="1778"/>
                </a:lnTo>
                <a:close/>
                <a:moveTo>
                  <a:pt x="4554" y="1726"/>
                </a:moveTo>
                <a:lnTo>
                  <a:pt x="4554" y="1726"/>
                </a:lnTo>
                <a:lnTo>
                  <a:pt x="4554" y="1726"/>
                </a:lnTo>
                <a:lnTo>
                  <a:pt x="4554" y="1726"/>
                </a:lnTo>
                <a:close/>
                <a:moveTo>
                  <a:pt x="4555" y="1737"/>
                </a:moveTo>
                <a:lnTo>
                  <a:pt x="4553" y="1738"/>
                </a:lnTo>
                <a:lnTo>
                  <a:pt x="4552" y="1739"/>
                </a:lnTo>
                <a:lnTo>
                  <a:pt x="4552" y="1744"/>
                </a:lnTo>
                <a:lnTo>
                  <a:pt x="4552" y="1742"/>
                </a:lnTo>
                <a:lnTo>
                  <a:pt x="4553" y="1740"/>
                </a:lnTo>
                <a:lnTo>
                  <a:pt x="4555" y="1739"/>
                </a:lnTo>
                <a:lnTo>
                  <a:pt x="4555" y="1737"/>
                </a:lnTo>
                <a:close/>
                <a:moveTo>
                  <a:pt x="4633" y="1800"/>
                </a:moveTo>
                <a:lnTo>
                  <a:pt x="4629" y="1800"/>
                </a:lnTo>
                <a:lnTo>
                  <a:pt x="4628" y="1800"/>
                </a:lnTo>
                <a:lnTo>
                  <a:pt x="4629" y="1802"/>
                </a:lnTo>
                <a:lnTo>
                  <a:pt x="4633" y="1800"/>
                </a:lnTo>
                <a:close/>
                <a:moveTo>
                  <a:pt x="4684" y="1816"/>
                </a:moveTo>
                <a:lnTo>
                  <a:pt x="4683" y="1816"/>
                </a:lnTo>
                <a:lnTo>
                  <a:pt x="4683" y="1816"/>
                </a:lnTo>
                <a:lnTo>
                  <a:pt x="4680" y="1817"/>
                </a:lnTo>
                <a:lnTo>
                  <a:pt x="4683" y="1817"/>
                </a:lnTo>
                <a:lnTo>
                  <a:pt x="4684" y="1816"/>
                </a:lnTo>
                <a:close/>
                <a:moveTo>
                  <a:pt x="4625" y="1816"/>
                </a:moveTo>
                <a:lnTo>
                  <a:pt x="4622" y="1820"/>
                </a:lnTo>
                <a:lnTo>
                  <a:pt x="4627" y="1820"/>
                </a:lnTo>
                <a:lnTo>
                  <a:pt x="4626" y="1816"/>
                </a:lnTo>
                <a:lnTo>
                  <a:pt x="4626" y="1816"/>
                </a:lnTo>
                <a:lnTo>
                  <a:pt x="4625" y="1816"/>
                </a:lnTo>
                <a:close/>
                <a:moveTo>
                  <a:pt x="4706" y="1752"/>
                </a:moveTo>
                <a:lnTo>
                  <a:pt x="4706" y="1752"/>
                </a:lnTo>
                <a:lnTo>
                  <a:pt x="4707" y="1752"/>
                </a:lnTo>
                <a:lnTo>
                  <a:pt x="4706" y="1752"/>
                </a:lnTo>
                <a:close/>
                <a:moveTo>
                  <a:pt x="4626" y="1816"/>
                </a:moveTo>
                <a:lnTo>
                  <a:pt x="4626" y="1815"/>
                </a:lnTo>
                <a:lnTo>
                  <a:pt x="4626" y="1815"/>
                </a:lnTo>
                <a:lnTo>
                  <a:pt x="4626" y="1816"/>
                </a:lnTo>
                <a:close/>
                <a:moveTo>
                  <a:pt x="4625" y="1793"/>
                </a:moveTo>
                <a:lnTo>
                  <a:pt x="4624" y="1793"/>
                </a:lnTo>
                <a:lnTo>
                  <a:pt x="4624" y="1793"/>
                </a:lnTo>
                <a:lnTo>
                  <a:pt x="4625" y="1793"/>
                </a:lnTo>
                <a:lnTo>
                  <a:pt x="4625" y="1793"/>
                </a:lnTo>
                <a:close/>
                <a:moveTo>
                  <a:pt x="4801" y="1833"/>
                </a:moveTo>
                <a:lnTo>
                  <a:pt x="4796" y="1832"/>
                </a:lnTo>
                <a:lnTo>
                  <a:pt x="4796" y="1836"/>
                </a:lnTo>
                <a:lnTo>
                  <a:pt x="4801" y="1837"/>
                </a:lnTo>
                <a:lnTo>
                  <a:pt x="4802" y="1837"/>
                </a:lnTo>
                <a:lnTo>
                  <a:pt x="4801" y="1833"/>
                </a:lnTo>
                <a:close/>
                <a:moveTo>
                  <a:pt x="4801" y="1851"/>
                </a:moveTo>
                <a:lnTo>
                  <a:pt x="4801" y="1851"/>
                </a:lnTo>
                <a:lnTo>
                  <a:pt x="4802" y="1851"/>
                </a:lnTo>
                <a:lnTo>
                  <a:pt x="4805" y="1851"/>
                </a:lnTo>
                <a:lnTo>
                  <a:pt x="4805" y="1851"/>
                </a:lnTo>
                <a:lnTo>
                  <a:pt x="4802" y="1851"/>
                </a:lnTo>
                <a:lnTo>
                  <a:pt x="4801" y="1851"/>
                </a:lnTo>
                <a:close/>
                <a:moveTo>
                  <a:pt x="4806" y="1824"/>
                </a:moveTo>
                <a:lnTo>
                  <a:pt x="4806" y="1817"/>
                </a:lnTo>
                <a:lnTo>
                  <a:pt x="4806" y="1817"/>
                </a:lnTo>
                <a:lnTo>
                  <a:pt x="4805" y="1819"/>
                </a:lnTo>
                <a:lnTo>
                  <a:pt x="4806" y="1824"/>
                </a:lnTo>
                <a:lnTo>
                  <a:pt x="4806" y="1824"/>
                </a:lnTo>
                <a:close/>
                <a:moveTo>
                  <a:pt x="4771" y="966"/>
                </a:moveTo>
                <a:lnTo>
                  <a:pt x="4773" y="965"/>
                </a:lnTo>
                <a:lnTo>
                  <a:pt x="4771" y="965"/>
                </a:lnTo>
                <a:lnTo>
                  <a:pt x="4771" y="966"/>
                </a:lnTo>
                <a:close/>
                <a:moveTo>
                  <a:pt x="4805" y="1844"/>
                </a:moveTo>
                <a:lnTo>
                  <a:pt x="4808" y="1845"/>
                </a:lnTo>
                <a:lnTo>
                  <a:pt x="4808" y="1840"/>
                </a:lnTo>
                <a:lnTo>
                  <a:pt x="4808" y="1840"/>
                </a:lnTo>
                <a:lnTo>
                  <a:pt x="4806" y="1843"/>
                </a:lnTo>
                <a:lnTo>
                  <a:pt x="4804" y="1840"/>
                </a:lnTo>
                <a:lnTo>
                  <a:pt x="4801" y="1837"/>
                </a:lnTo>
                <a:lnTo>
                  <a:pt x="4802" y="1844"/>
                </a:lnTo>
                <a:lnTo>
                  <a:pt x="4805" y="1844"/>
                </a:lnTo>
                <a:close/>
                <a:moveTo>
                  <a:pt x="4771" y="968"/>
                </a:moveTo>
                <a:lnTo>
                  <a:pt x="4771" y="966"/>
                </a:lnTo>
                <a:lnTo>
                  <a:pt x="4764" y="970"/>
                </a:lnTo>
                <a:lnTo>
                  <a:pt x="4771" y="968"/>
                </a:lnTo>
                <a:close/>
                <a:moveTo>
                  <a:pt x="4808" y="2055"/>
                </a:moveTo>
                <a:lnTo>
                  <a:pt x="4809" y="2055"/>
                </a:lnTo>
                <a:lnTo>
                  <a:pt x="4808" y="2051"/>
                </a:lnTo>
                <a:lnTo>
                  <a:pt x="4806" y="2051"/>
                </a:lnTo>
                <a:lnTo>
                  <a:pt x="4805" y="2050"/>
                </a:lnTo>
                <a:lnTo>
                  <a:pt x="4806" y="2053"/>
                </a:lnTo>
                <a:lnTo>
                  <a:pt x="4808" y="2055"/>
                </a:lnTo>
                <a:close/>
                <a:moveTo>
                  <a:pt x="4795" y="1833"/>
                </a:moveTo>
                <a:lnTo>
                  <a:pt x="4795" y="1831"/>
                </a:lnTo>
                <a:lnTo>
                  <a:pt x="4792" y="1831"/>
                </a:lnTo>
                <a:lnTo>
                  <a:pt x="4792" y="1832"/>
                </a:lnTo>
                <a:lnTo>
                  <a:pt x="4795" y="1833"/>
                </a:lnTo>
                <a:close/>
              </a:path>
            </a:pathLst>
          </a:custGeom>
          <a:solidFill>
            <a:schemeClr val="bg2"/>
          </a:solidFill>
          <a:ln w="952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smtClean="0"/>
              <a:t>At a glance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/>
              <a:t>The MANN+HUMMEL Group</a:t>
            </a:r>
            <a:endParaRPr lang="en-US" dirty="0"/>
          </a:p>
        </p:txBody>
      </p:sp>
      <p:grpSp>
        <p:nvGrpSpPr>
          <p:cNvPr id="36881" name="Gruppieren 36880"/>
          <p:cNvGrpSpPr/>
          <p:nvPr>
            <p:custDataLst>
              <p:tags r:id="rId3"/>
            </p:custDataLst>
          </p:nvPr>
        </p:nvGrpSpPr>
        <p:grpSpPr>
          <a:xfrm>
            <a:off x="595065" y="2914707"/>
            <a:ext cx="1800200" cy="1163395"/>
            <a:chOff x="4336916" y="877453"/>
            <a:chExt cx="1533092" cy="1163395"/>
          </a:xfrm>
        </p:grpSpPr>
        <p:sp>
          <p:nvSpPr>
            <p:cNvPr id="36872" name="Freeform 26"/>
            <p:cNvSpPr>
              <a:spLocks noChangeAspect="1" noEditPoints="1"/>
            </p:cNvSpPr>
            <p:nvPr/>
          </p:nvSpPr>
          <p:spPr bwMode="auto">
            <a:xfrm>
              <a:off x="5033473" y="1191176"/>
              <a:ext cx="824980" cy="739215"/>
            </a:xfrm>
            <a:custGeom>
              <a:avLst/>
              <a:gdLst>
                <a:gd name="T0" fmla="*/ 2991 w 6672"/>
                <a:gd name="T1" fmla="*/ 546 h 5981"/>
                <a:gd name="T2" fmla="*/ 2992 w 6672"/>
                <a:gd name="T3" fmla="*/ 2406 h 5981"/>
                <a:gd name="T4" fmla="*/ 2 w 6672"/>
                <a:gd name="T5" fmla="*/ 2870 h 5981"/>
                <a:gd name="T6" fmla="*/ 688 w 6672"/>
                <a:gd name="T7" fmla="*/ 3862 h 5981"/>
                <a:gd name="T8" fmla="*/ 459 w 6672"/>
                <a:gd name="T9" fmla="*/ 4860 h 5981"/>
                <a:gd name="T10" fmla="*/ 460 w 6672"/>
                <a:gd name="T11" fmla="*/ 5436 h 5981"/>
                <a:gd name="T12" fmla="*/ 4140 w 6672"/>
                <a:gd name="T13" fmla="*/ 5236 h 5981"/>
                <a:gd name="T14" fmla="*/ 6672 w 6672"/>
                <a:gd name="T15" fmla="*/ 4803 h 5981"/>
                <a:gd name="T16" fmla="*/ 6672 w 6672"/>
                <a:gd name="T17" fmla="*/ 546 h 5981"/>
                <a:gd name="T18" fmla="*/ 4832 w 6672"/>
                <a:gd name="T19" fmla="*/ 4314 h 5981"/>
                <a:gd name="T20" fmla="*/ 4372 w 6672"/>
                <a:gd name="T21" fmla="*/ 3986 h 5981"/>
                <a:gd name="T22" fmla="*/ 4330 w 6672"/>
                <a:gd name="T23" fmla="*/ 3663 h 5981"/>
                <a:gd name="T24" fmla="*/ 6444 w 6672"/>
                <a:gd name="T25" fmla="*/ 3997 h 5981"/>
                <a:gd name="T26" fmla="*/ 4205 w 6672"/>
                <a:gd name="T27" fmla="*/ 4970 h 5981"/>
                <a:gd name="T28" fmla="*/ 2532 w 6672"/>
                <a:gd name="T29" fmla="*/ 5170 h 5981"/>
                <a:gd name="T30" fmla="*/ 1152 w 6672"/>
                <a:gd name="T31" fmla="*/ 4666 h 5981"/>
                <a:gd name="T32" fmla="*/ 2760 w 6672"/>
                <a:gd name="T33" fmla="*/ 4831 h 5981"/>
                <a:gd name="T34" fmla="*/ 3607 w 6672"/>
                <a:gd name="T35" fmla="*/ 3592 h 5981"/>
                <a:gd name="T36" fmla="*/ 4108 w 6672"/>
                <a:gd name="T37" fmla="*/ 3709 h 5981"/>
                <a:gd name="T38" fmla="*/ 1840 w 6672"/>
                <a:gd name="T39" fmla="*/ 3967 h 5981"/>
                <a:gd name="T40" fmla="*/ 4372 w 6672"/>
                <a:gd name="T41" fmla="*/ 4256 h 5981"/>
                <a:gd name="T42" fmla="*/ 4368 w 6672"/>
                <a:gd name="T43" fmla="*/ 4322 h 5981"/>
                <a:gd name="T44" fmla="*/ 4140 w 6672"/>
                <a:gd name="T45" fmla="*/ 3980 h 5981"/>
                <a:gd name="T46" fmla="*/ 920 w 6672"/>
                <a:gd name="T47" fmla="*/ 4285 h 5981"/>
                <a:gd name="T48" fmla="*/ 6444 w 6672"/>
                <a:gd name="T49" fmla="*/ 3134 h 5981"/>
                <a:gd name="T50" fmla="*/ 3680 w 6672"/>
                <a:gd name="T51" fmla="*/ 3376 h 5981"/>
                <a:gd name="T52" fmla="*/ 3681 w 6672"/>
                <a:gd name="T53" fmla="*/ 2847 h 5981"/>
                <a:gd name="T54" fmla="*/ 6444 w 6672"/>
                <a:gd name="T55" fmla="*/ 2561 h 5981"/>
                <a:gd name="T56" fmla="*/ 4832 w 6672"/>
                <a:gd name="T57" fmla="*/ 2588 h 5981"/>
                <a:gd name="T58" fmla="*/ 4832 w 6672"/>
                <a:gd name="T59" fmla="*/ 1955 h 5981"/>
                <a:gd name="T60" fmla="*/ 6444 w 6672"/>
                <a:gd name="T61" fmla="*/ 1408 h 5981"/>
                <a:gd name="T62" fmla="*/ 3220 w 6672"/>
                <a:gd name="T63" fmla="*/ 835 h 5981"/>
                <a:gd name="T64" fmla="*/ 6444 w 6672"/>
                <a:gd name="T65" fmla="*/ 1408 h 5981"/>
                <a:gd name="T66" fmla="*/ 4832 w 6672"/>
                <a:gd name="T67" fmla="*/ 862 h 5981"/>
                <a:gd name="T68" fmla="*/ 1840 w 6672"/>
                <a:gd name="T69" fmla="*/ 2531 h 5981"/>
                <a:gd name="T70" fmla="*/ 230 w 6672"/>
                <a:gd name="T71" fmla="*/ 2848 h 5981"/>
                <a:gd name="T72" fmla="*/ 228 w 6672"/>
                <a:gd name="T73" fmla="*/ 3136 h 5981"/>
                <a:gd name="T74" fmla="*/ 3452 w 6672"/>
                <a:gd name="T75" fmla="*/ 3419 h 5981"/>
                <a:gd name="T76" fmla="*/ 920 w 6672"/>
                <a:gd name="T77" fmla="*/ 4748 h 5981"/>
                <a:gd name="T78" fmla="*/ 690 w 6672"/>
                <a:gd name="T79" fmla="*/ 4860 h 5981"/>
                <a:gd name="T80" fmla="*/ 2300 w 6672"/>
                <a:gd name="T81" fmla="*/ 5751 h 5981"/>
                <a:gd name="T82" fmla="*/ 2455 w 6672"/>
                <a:gd name="T83" fmla="*/ 5402 h 5981"/>
                <a:gd name="T84" fmla="*/ 3912 w 6672"/>
                <a:gd name="T85" fmla="*/ 5296 h 5981"/>
                <a:gd name="T86" fmla="*/ 4492 w 6672"/>
                <a:gd name="T87" fmla="*/ 5064 h 5981"/>
                <a:gd name="T88" fmla="*/ 4832 w 6672"/>
                <a:gd name="T89" fmla="*/ 4544 h 5981"/>
                <a:gd name="T90" fmla="*/ 4814 w 6672"/>
                <a:gd name="T91" fmla="*/ 5118 h 59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6672" h="5981">
                  <a:moveTo>
                    <a:pt x="6672" y="546"/>
                  </a:moveTo>
                  <a:cubicBezTo>
                    <a:pt x="6672" y="115"/>
                    <a:pt x="5515" y="0"/>
                    <a:pt x="4832" y="0"/>
                  </a:cubicBezTo>
                  <a:cubicBezTo>
                    <a:pt x="4148" y="0"/>
                    <a:pt x="2991" y="115"/>
                    <a:pt x="2991" y="546"/>
                  </a:cubicBezTo>
                  <a:cubicBezTo>
                    <a:pt x="2991" y="554"/>
                    <a:pt x="2992" y="562"/>
                    <a:pt x="2993" y="570"/>
                  </a:cubicBezTo>
                  <a:cubicBezTo>
                    <a:pt x="2992" y="570"/>
                    <a:pt x="2992" y="570"/>
                    <a:pt x="2992" y="570"/>
                  </a:cubicBezTo>
                  <a:cubicBezTo>
                    <a:pt x="2992" y="2406"/>
                    <a:pt x="2992" y="2406"/>
                    <a:pt x="2992" y="2406"/>
                  </a:cubicBezTo>
                  <a:cubicBezTo>
                    <a:pt x="2620" y="2328"/>
                    <a:pt x="2175" y="2300"/>
                    <a:pt x="1841" y="2300"/>
                  </a:cubicBezTo>
                  <a:cubicBezTo>
                    <a:pt x="1157" y="2300"/>
                    <a:pt x="0" y="2415"/>
                    <a:pt x="0" y="2847"/>
                  </a:cubicBezTo>
                  <a:cubicBezTo>
                    <a:pt x="0" y="2855"/>
                    <a:pt x="1" y="2862"/>
                    <a:pt x="2" y="2870"/>
                  </a:cubicBezTo>
                  <a:cubicBezTo>
                    <a:pt x="0" y="2870"/>
                    <a:pt x="0" y="2870"/>
                    <a:pt x="0" y="2870"/>
                  </a:cubicBezTo>
                  <a:cubicBezTo>
                    <a:pt x="0" y="3422"/>
                    <a:pt x="0" y="3422"/>
                    <a:pt x="0" y="3422"/>
                  </a:cubicBezTo>
                  <a:cubicBezTo>
                    <a:pt x="0" y="3642"/>
                    <a:pt x="304" y="3780"/>
                    <a:pt x="688" y="3862"/>
                  </a:cubicBezTo>
                  <a:cubicBezTo>
                    <a:pt x="688" y="4285"/>
                    <a:pt x="688" y="4285"/>
                    <a:pt x="688" y="4285"/>
                  </a:cubicBezTo>
                  <a:cubicBezTo>
                    <a:pt x="688" y="4381"/>
                    <a:pt x="747" y="4462"/>
                    <a:pt x="844" y="4529"/>
                  </a:cubicBezTo>
                  <a:cubicBezTo>
                    <a:pt x="669" y="4575"/>
                    <a:pt x="459" y="4667"/>
                    <a:pt x="459" y="4860"/>
                  </a:cubicBezTo>
                  <a:cubicBezTo>
                    <a:pt x="459" y="4874"/>
                    <a:pt x="462" y="4891"/>
                    <a:pt x="466" y="4908"/>
                  </a:cubicBezTo>
                  <a:cubicBezTo>
                    <a:pt x="463" y="4919"/>
                    <a:pt x="460" y="4930"/>
                    <a:pt x="460" y="4941"/>
                  </a:cubicBezTo>
                  <a:cubicBezTo>
                    <a:pt x="460" y="5436"/>
                    <a:pt x="460" y="5436"/>
                    <a:pt x="460" y="5436"/>
                  </a:cubicBezTo>
                  <a:cubicBezTo>
                    <a:pt x="460" y="5866"/>
                    <a:pt x="1616" y="5981"/>
                    <a:pt x="2300" y="5981"/>
                  </a:cubicBezTo>
                  <a:cubicBezTo>
                    <a:pt x="2937" y="5981"/>
                    <a:pt x="4140" y="5866"/>
                    <a:pt x="4140" y="5433"/>
                  </a:cubicBezTo>
                  <a:cubicBezTo>
                    <a:pt x="4140" y="5236"/>
                    <a:pt x="4140" y="5236"/>
                    <a:pt x="4140" y="5236"/>
                  </a:cubicBezTo>
                  <a:cubicBezTo>
                    <a:pt x="4176" y="5226"/>
                    <a:pt x="4208" y="5214"/>
                    <a:pt x="4239" y="5202"/>
                  </a:cubicBezTo>
                  <a:cubicBezTo>
                    <a:pt x="4429" y="5321"/>
                    <a:pt x="4738" y="5348"/>
                    <a:pt x="4812" y="5348"/>
                  </a:cubicBezTo>
                  <a:cubicBezTo>
                    <a:pt x="5456" y="5348"/>
                    <a:pt x="6672" y="5234"/>
                    <a:pt x="6672" y="4803"/>
                  </a:cubicBezTo>
                  <a:cubicBezTo>
                    <a:pt x="6672" y="570"/>
                    <a:pt x="6672" y="570"/>
                    <a:pt x="6672" y="570"/>
                  </a:cubicBezTo>
                  <a:cubicBezTo>
                    <a:pt x="6672" y="567"/>
                    <a:pt x="6671" y="565"/>
                    <a:pt x="6671" y="563"/>
                  </a:cubicBezTo>
                  <a:cubicBezTo>
                    <a:pt x="6671" y="557"/>
                    <a:pt x="6672" y="552"/>
                    <a:pt x="6672" y="546"/>
                  </a:cubicBezTo>
                  <a:close/>
                  <a:moveTo>
                    <a:pt x="6444" y="3997"/>
                  </a:moveTo>
                  <a:cubicBezTo>
                    <a:pt x="6444" y="3997"/>
                    <a:pt x="6444" y="3997"/>
                    <a:pt x="6444" y="3997"/>
                  </a:cubicBezTo>
                  <a:cubicBezTo>
                    <a:pt x="6444" y="4104"/>
                    <a:pt x="5835" y="4314"/>
                    <a:pt x="4832" y="4314"/>
                  </a:cubicBezTo>
                  <a:cubicBezTo>
                    <a:pt x="4761" y="4314"/>
                    <a:pt x="4692" y="4312"/>
                    <a:pt x="4624" y="4310"/>
                  </a:cubicBezTo>
                  <a:cubicBezTo>
                    <a:pt x="4625" y="4301"/>
                    <a:pt x="4626" y="4294"/>
                    <a:pt x="4626" y="4285"/>
                  </a:cubicBezTo>
                  <a:cubicBezTo>
                    <a:pt x="4626" y="4169"/>
                    <a:pt x="4540" y="4069"/>
                    <a:pt x="4372" y="3986"/>
                  </a:cubicBezTo>
                  <a:cubicBezTo>
                    <a:pt x="4372" y="3791"/>
                    <a:pt x="4372" y="3791"/>
                    <a:pt x="4372" y="3791"/>
                  </a:cubicBezTo>
                  <a:cubicBezTo>
                    <a:pt x="4372" y="3759"/>
                    <a:pt x="4359" y="3730"/>
                    <a:pt x="4338" y="3709"/>
                  </a:cubicBezTo>
                  <a:cubicBezTo>
                    <a:pt x="4338" y="3694"/>
                    <a:pt x="4333" y="3678"/>
                    <a:pt x="4330" y="3663"/>
                  </a:cubicBezTo>
                  <a:cubicBezTo>
                    <a:pt x="4518" y="3674"/>
                    <a:pt x="4701" y="3681"/>
                    <a:pt x="4833" y="3681"/>
                  </a:cubicBezTo>
                  <a:cubicBezTo>
                    <a:pt x="5328" y="3681"/>
                    <a:pt x="6096" y="3621"/>
                    <a:pt x="6444" y="3423"/>
                  </a:cubicBezTo>
                  <a:lnTo>
                    <a:pt x="6444" y="3997"/>
                  </a:lnTo>
                  <a:close/>
                  <a:moveTo>
                    <a:pt x="4372" y="4857"/>
                  </a:moveTo>
                  <a:cubicBezTo>
                    <a:pt x="4372" y="4884"/>
                    <a:pt x="4312" y="4926"/>
                    <a:pt x="4208" y="4969"/>
                  </a:cubicBezTo>
                  <a:cubicBezTo>
                    <a:pt x="4207" y="4970"/>
                    <a:pt x="4206" y="4970"/>
                    <a:pt x="4205" y="4970"/>
                  </a:cubicBezTo>
                  <a:cubicBezTo>
                    <a:pt x="3974" y="5067"/>
                    <a:pt x="3515" y="5175"/>
                    <a:pt x="2779" y="5175"/>
                  </a:cubicBezTo>
                  <a:cubicBezTo>
                    <a:pt x="2687" y="5175"/>
                    <a:pt x="2532" y="5173"/>
                    <a:pt x="2532" y="5170"/>
                  </a:cubicBezTo>
                  <a:cubicBezTo>
                    <a:pt x="2532" y="5170"/>
                    <a:pt x="2532" y="5170"/>
                    <a:pt x="2532" y="5170"/>
                  </a:cubicBezTo>
                  <a:cubicBezTo>
                    <a:pt x="2532" y="5170"/>
                    <a:pt x="2491" y="5170"/>
                    <a:pt x="2488" y="5170"/>
                  </a:cubicBezTo>
                  <a:cubicBezTo>
                    <a:pt x="1654" y="5170"/>
                    <a:pt x="1168" y="4957"/>
                    <a:pt x="1152" y="4860"/>
                  </a:cubicBezTo>
                  <a:cubicBezTo>
                    <a:pt x="1152" y="4666"/>
                    <a:pt x="1152" y="4666"/>
                    <a:pt x="1152" y="4666"/>
                  </a:cubicBezTo>
                  <a:cubicBezTo>
                    <a:pt x="1548" y="4790"/>
                    <a:pt x="2112" y="4830"/>
                    <a:pt x="2519" y="4830"/>
                  </a:cubicBezTo>
                  <a:cubicBezTo>
                    <a:pt x="2597" y="4830"/>
                    <a:pt x="2644" y="4829"/>
                    <a:pt x="2760" y="4825"/>
                  </a:cubicBezTo>
                  <a:cubicBezTo>
                    <a:pt x="2760" y="4831"/>
                    <a:pt x="2760" y="4831"/>
                    <a:pt x="2760" y="4831"/>
                  </a:cubicBezTo>
                  <a:cubicBezTo>
                    <a:pt x="3220" y="4831"/>
                    <a:pt x="4028" y="4773"/>
                    <a:pt x="4372" y="4586"/>
                  </a:cubicBezTo>
                  <a:lnTo>
                    <a:pt x="4372" y="4857"/>
                  </a:lnTo>
                  <a:close/>
                  <a:moveTo>
                    <a:pt x="3607" y="3592"/>
                  </a:moveTo>
                  <a:cubicBezTo>
                    <a:pt x="3617" y="3596"/>
                    <a:pt x="3626" y="3601"/>
                    <a:pt x="3637" y="3603"/>
                  </a:cubicBezTo>
                  <a:cubicBezTo>
                    <a:pt x="3733" y="3617"/>
                    <a:pt x="3875" y="3631"/>
                    <a:pt x="4031" y="3643"/>
                  </a:cubicBezTo>
                  <a:cubicBezTo>
                    <a:pt x="4088" y="3677"/>
                    <a:pt x="4106" y="3704"/>
                    <a:pt x="4108" y="3709"/>
                  </a:cubicBezTo>
                  <a:cubicBezTo>
                    <a:pt x="4087" y="3817"/>
                    <a:pt x="3499" y="4026"/>
                    <a:pt x="2497" y="4026"/>
                  </a:cubicBezTo>
                  <a:cubicBezTo>
                    <a:pt x="2150" y="4026"/>
                    <a:pt x="1854" y="4001"/>
                    <a:pt x="1612" y="3963"/>
                  </a:cubicBezTo>
                  <a:cubicBezTo>
                    <a:pt x="1692" y="3966"/>
                    <a:pt x="1769" y="3967"/>
                    <a:pt x="1840" y="3967"/>
                  </a:cubicBezTo>
                  <a:cubicBezTo>
                    <a:pt x="2383" y="3967"/>
                    <a:pt x="3336" y="3884"/>
                    <a:pt x="3607" y="3592"/>
                  </a:cubicBezTo>
                  <a:close/>
                  <a:moveTo>
                    <a:pt x="4372" y="4283"/>
                  </a:moveTo>
                  <a:cubicBezTo>
                    <a:pt x="4372" y="4256"/>
                    <a:pt x="4372" y="4256"/>
                    <a:pt x="4372" y="4256"/>
                  </a:cubicBezTo>
                  <a:cubicBezTo>
                    <a:pt x="4372" y="4256"/>
                    <a:pt x="4372" y="4256"/>
                    <a:pt x="4372" y="4256"/>
                  </a:cubicBezTo>
                  <a:cubicBezTo>
                    <a:pt x="4372" y="4319"/>
                    <a:pt x="4372" y="4319"/>
                    <a:pt x="4372" y="4319"/>
                  </a:cubicBezTo>
                  <a:cubicBezTo>
                    <a:pt x="4371" y="4320"/>
                    <a:pt x="4370" y="4321"/>
                    <a:pt x="4368" y="4322"/>
                  </a:cubicBezTo>
                  <a:cubicBezTo>
                    <a:pt x="4371" y="4309"/>
                    <a:pt x="4372" y="4296"/>
                    <a:pt x="4372" y="4283"/>
                  </a:cubicBezTo>
                  <a:close/>
                  <a:moveTo>
                    <a:pt x="2496" y="4256"/>
                  </a:moveTo>
                  <a:cubicBezTo>
                    <a:pt x="3007" y="4256"/>
                    <a:pt x="3796" y="4192"/>
                    <a:pt x="4140" y="3980"/>
                  </a:cubicBezTo>
                  <a:cubicBezTo>
                    <a:pt x="4140" y="4282"/>
                    <a:pt x="4140" y="4282"/>
                    <a:pt x="4140" y="4282"/>
                  </a:cubicBezTo>
                  <a:cubicBezTo>
                    <a:pt x="4140" y="4370"/>
                    <a:pt x="3603" y="4600"/>
                    <a:pt x="2530" y="4600"/>
                  </a:cubicBezTo>
                  <a:cubicBezTo>
                    <a:pt x="1528" y="4600"/>
                    <a:pt x="940" y="4392"/>
                    <a:pt x="920" y="4285"/>
                  </a:cubicBezTo>
                  <a:cubicBezTo>
                    <a:pt x="920" y="4016"/>
                    <a:pt x="920" y="4016"/>
                    <a:pt x="920" y="4016"/>
                  </a:cubicBezTo>
                  <a:cubicBezTo>
                    <a:pt x="1304" y="4199"/>
                    <a:pt x="2016" y="4256"/>
                    <a:pt x="2496" y="4256"/>
                  </a:cubicBezTo>
                  <a:close/>
                  <a:moveTo>
                    <a:pt x="6444" y="3134"/>
                  </a:moveTo>
                  <a:cubicBezTo>
                    <a:pt x="6444" y="3134"/>
                    <a:pt x="6443" y="3134"/>
                    <a:pt x="6443" y="3134"/>
                  </a:cubicBezTo>
                  <a:cubicBezTo>
                    <a:pt x="6422" y="3242"/>
                    <a:pt x="5834" y="3451"/>
                    <a:pt x="4831" y="3451"/>
                  </a:cubicBezTo>
                  <a:cubicBezTo>
                    <a:pt x="4533" y="3451"/>
                    <a:pt x="3940" y="3412"/>
                    <a:pt x="3680" y="3376"/>
                  </a:cubicBezTo>
                  <a:cubicBezTo>
                    <a:pt x="3680" y="2870"/>
                    <a:pt x="3680" y="2870"/>
                    <a:pt x="3680" y="2870"/>
                  </a:cubicBezTo>
                  <a:cubicBezTo>
                    <a:pt x="3679" y="2870"/>
                    <a:pt x="3679" y="2870"/>
                    <a:pt x="3679" y="2870"/>
                  </a:cubicBezTo>
                  <a:cubicBezTo>
                    <a:pt x="3680" y="2862"/>
                    <a:pt x="3681" y="2855"/>
                    <a:pt x="3681" y="2847"/>
                  </a:cubicBezTo>
                  <a:cubicBezTo>
                    <a:pt x="3681" y="2794"/>
                    <a:pt x="3663" y="2745"/>
                    <a:pt x="3631" y="2701"/>
                  </a:cubicBezTo>
                  <a:cubicBezTo>
                    <a:pt x="4010" y="2788"/>
                    <a:pt x="4483" y="2818"/>
                    <a:pt x="4832" y="2818"/>
                  </a:cubicBezTo>
                  <a:cubicBezTo>
                    <a:pt x="5328" y="2818"/>
                    <a:pt x="6096" y="2758"/>
                    <a:pt x="6444" y="2561"/>
                  </a:cubicBezTo>
                  <a:lnTo>
                    <a:pt x="6444" y="3134"/>
                  </a:lnTo>
                  <a:close/>
                  <a:moveTo>
                    <a:pt x="6444" y="2271"/>
                  </a:moveTo>
                  <a:cubicBezTo>
                    <a:pt x="6444" y="2379"/>
                    <a:pt x="5834" y="2588"/>
                    <a:pt x="4832" y="2588"/>
                  </a:cubicBezTo>
                  <a:cubicBezTo>
                    <a:pt x="3830" y="2588"/>
                    <a:pt x="3240" y="2379"/>
                    <a:pt x="3220" y="2272"/>
                  </a:cubicBezTo>
                  <a:cubicBezTo>
                    <a:pt x="3220" y="1698"/>
                    <a:pt x="3220" y="1698"/>
                    <a:pt x="3220" y="1698"/>
                  </a:cubicBezTo>
                  <a:cubicBezTo>
                    <a:pt x="3592" y="1895"/>
                    <a:pt x="4337" y="1955"/>
                    <a:pt x="4832" y="1955"/>
                  </a:cubicBezTo>
                  <a:cubicBezTo>
                    <a:pt x="5327" y="1955"/>
                    <a:pt x="6096" y="1895"/>
                    <a:pt x="6444" y="1698"/>
                  </a:cubicBezTo>
                  <a:lnTo>
                    <a:pt x="6444" y="2271"/>
                  </a:lnTo>
                  <a:close/>
                  <a:moveTo>
                    <a:pt x="6444" y="1408"/>
                  </a:moveTo>
                  <a:cubicBezTo>
                    <a:pt x="6444" y="1516"/>
                    <a:pt x="5834" y="1725"/>
                    <a:pt x="4832" y="1725"/>
                  </a:cubicBezTo>
                  <a:cubicBezTo>
                    <a:pt x="3830" y="1725"/>
                    <a:pt x="3240" y="1516"/>
                    <a:pt x="3220" y="1409"/>
                  </a:cubicBezTo>
                  <a:cubicBezTo>
                    <a:pt x="3220" y="835"/>
                    <a:pt x="3220" y="835"/>
                    <a:pt x="3220" y="835"/>
                  </a:cubicBezTo>
                  <a:cubicBezTo>
                    <a:pt x="3592" y="1032"/>
                    <a:pt x="4337" y="1092"/>
                    <a:pt x="4832" y="1092"/>
                  </a:cubicBezTo>
                  <a:cubicBezTo>
                    <a:pt x="5327" y="1092"/>
                    <a:pt x="6096" y="1032"/>
                    <a:pt x="6444" y="835"/>
                  </a:cubicBezTo>
                  <a:lnTo>
                    <a:pt x="6444" y="1408"/>
                  </a:lnTo>
                  <a:close/>
                  <a:moveTo>
                    <a:pt x="4832" y="230"/>
                  </a:moveTo>
                  <a:cubicBezTo>
                    <a:pt x="5831" y="230"/>
                    <a:pt x="6419" y="438"/>
                    <a:pt x="6442" y="546"/>
                  </a:cubicBezTo>
                  <a:cubicBezTo>
                    <a:pt x="6419" y="654"/>
                    <a:pt x="5832" y="862"/>
                    <a:pt x="4832" y="862"/>
                  </a:cubicBezTo>
                  <a:cubicBezTo>
                    <a:pt x="3829" y="862"/>
                    <a:pt x="3242" y="653"/>
                    <a:pt x="3221" y="547"/>
                  </a:cubicBezTo>
                  <a:cubicBezTo>
                    <a:pt x="3242" y="439"/>
                    <a:pt x="3830" y="230"/>
                    <a:pt x="4832" y="230"/>
                  </a:cubicBezTo>
                  <a:close/>
                  <a:moveTo>
                    <a:pt x="1840" y="2531"/>
                  </a:moveTo>
                  <a:cubicBezTo>
                    <a:pt x="2840" y="2531"/>
                    <a:pt x="3428" y="2739"/>
                    <a:pt x="3451" y="2847"/>
                  </a:cubicBezTo>
                  <a:cubicBezTo>
                    <a:pt x="3428" y="2955"/>
                    <a:pt x="2840" y="3163"/>
                    <a:pt x="1840" y="3163"/>
                  </a:cubicBezTo>
                  <a:cubicBezTo>
                    <a:pt x="838" y="3163"/>
                    <a:pt x="251" y="2954"/>
                    <a:pt x="230" y="2848"/>
                  </a:cubicBezTo>
                  <a:cubicBezTo>
                    <a:pt x="251" y="2740"/>
                    <a:pt x="839" y="2531"/>
                    <a:pt x="1840" y="2531"/>
                  </a:cubicBezTo>
                  <a:close/>
                  <a:moveTo>
                    <a:pt x="228" y="3422"/>
                  </a:moveTo>
                  <a:cubicBezTo>
                    <a:pt x="228" y="3136"/>
                    <a:pt x="228" y="3136"/>
                    <a:pt x="228" y="3136"/>
                  </a:cubicBezTo>
                  <a:cubicBezTo>
                    <a:pt x="604" y="3333"/>
                    <a:pt x="1345" y="3393"/>
                    <a:pt x="1840" y="3393"/>
                  </a:cubicBezTo>
                  <a:cubicBezTo>
                    <a:pt x="2335" y="3393"/>
                    <a:pt x="3104" y="3333"/>
                    <a:pt x="3452" y="3136"/>
                  </a:cubicBezTo>
                  <a:cubicBezTo>
                    <a:pt x="3452" y="3419"/>
                    <a:pt x="3452" y="3419"/>
                    <a:pt x="3452" y="3419"/>
                  </a:cubicBezTo>
                  <a:cubicBezTo>
                    <a:pt x="3452" y="3507"/>
                    <a:pt x="2913" y="3737"/>
                    <a:pt x="1840" y="3737"/>
                  </a:cubicBezTo>
                  <a:cubicBezTo>
                    <a:pt x="838" y="3737"/>
                    <a:pt x="252" y="3529"/>
                    <a:pt x="228" y="3422"/>
                  </a:cubicBezTo>
                  <a:close/>
                  <a:moveTo>
                    <a:pt x="920" y="4748"/>
                  </a:moveTo>
                  <a:cubicBezTo>
                    <a:pt x="920" y="4860"/>
                    <a:pt x="920" y="4860"/>
                    <a:pt x="920" y="4860"/>
                  </a:cubicBezTo>
                  <a:cubicBezTo>
                    <a:pt x="920" y="4909"/>
                    <a:pt x="935" y="4953"/>
                    <a:pt x="962" y="4993"/>
                  </a:cubicBezTo>
                  <a:cubicBezTo>
                    <a:pt x="803" y="4946"/>
                    <a:pt x="707" y="4897"/>
                    <a:pt x="690" y="4860"/>
                  </a:cubicBezTo>
                  <a:cubicBezTo>
                    <a:pt x="690" y="4846"/>
                    <a:pt x="736" y="4795"/>
                    <a:pt x="920" y="4748"/>
                  </a:cubicBezTo>
                  <a:close/>
                  <a:moveTo>
                    <a:pt x="3912" y="5432"/>
                  </a:moveTo>
                  <a:cubicBezTo>
                    <a:pt x="3912" y="5520"/>
                    <a:pt x="3373" y="5751"/>
                    <a:pt x="2300" y="5751"/>
                  </a:cubicBezTo>
                  <a:cubicBezTo>
                    <a:pt x="1298" y="5751"/>
                    <a:pt x="712" y="5542"/>
                    <a:pt x="688" y="5436"/>
                  </a:cubicBezTo>
                  <a:cubicBezTo>
                    <a:pt x="688" y="5131"/>
                    <a:pt x="688" y="5131"/>
                    <a:pt x="688" y="5131"/>
                  </a:cubicBezTo>
                  <a:cubicBezTo>
                    <a:pt x="1048" y="5309"/>
                    <a:pt x="1796" y="5402"/>
                    <a:pt x="2455" y="5402"/>
                  </a:cubicBezTo>
                  <a:cubicBezTo>
                    <a:pt x="2465" y="5402"/>
                    <a:pt x="2475" y="5402"/>
                    <a:pt x="2485" y="5402"/>
                  </a:cubicBezTo>
                  <a:cubicBezTo>
                    <a:pt x="2582" y="5402"/>
                    <a:pt x="2675" y="5407"/>
                    <a:pt x="2761" y="5407"/>
                  </a:cubicBezTo>
                  <a:cubicBezTo>
                    <a:pt x="3077" y="5407"/>
                    <a:pt x="3568" y="5377"/>
                    <a:pt x="3912" y="5296"/>
                  </a:cubicBezTo>
                  <a:lnTo>
                    <a:pt x="3912" y="5432"/>
                  </a:lnTo>
                  <a:close/>
                  <a:moveTo>
                    <a:pt x="4814" y="5118"/>
                  </a:moveTo>
                  <a:cubicBezTo>
                    <a:pt x="4755" y="5118"/>
                    <a:pt x="4612" y="5101"/>
                    <a:pt x="4492" y="5064"/>
                  </a:cubicBezTo>
                  <a:cubicBezTo>
                    <a:pt x="4561" y="5005"/>
                    <a:pt x="4600" y="4937"/>
                    <a:pt x="4600" y="4858"/>
                  </a:cubicBezTo>
                  <a:cubicBezTo>
                    <a:pt x="4600" y="4539"/>
                    <a:pt x="4600" y="4539"/>
                    <a:pt x="4600" y="4539"/>
                  </a:cubicBezTo>
                  <a:cubicBezTo>
                    <a:pt x="4676" y="4542"/>
                    <a:pt x="4753" y="4544"/>
                    <a:pt x="4832" y="4544"/>
                  </a:cubicBezTo>
                  <a:cubicBezTo>
                    <a:pt x="5327" y="4544"/>
                    <a:pt x="6096" y="4483"/>
                    <a:pt x="6444" y="4286"/>
                  </a:cubicBezTo>
                  <a:cubicBezTo>
                    <a:pt x="6444" y="4802"/>
                    <a:pt x="6444" y="4802"/>
                    <a:pt x="6444" y="4802"/>
                  </a:cubicBezTo>
                  <a:cubicBezTo>
                    <a:pt x="6444" y="4909"/>
                    <a:pt x="5819" y="5118"/>
                    <a:pt x="4814" y="511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4" name="Textfeld 213"/>
            <p:cNvSpPr txBox="1"/>
            <p:nvPr/>
          </p:nvSpPr>
          <p:spPr bwMode="gray">
            <a:xfrm>
              <a:off x="4336916" y="877453"/>
              <a:ext cx="1533092" cy="116339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800" dirty="0" smtClean="0"/>
                <a:t>Sale</a:t>
              </a:r>
              <a:r>
                <a:rPr lang="en-US" dirty="0" smtClean="0"/>
                <a:t>s in </a:t>
              </a:r>
              <a:br>
                <a:rPr lang="en-US" dirty="0" smtClean="0"/>
              </a:br>
              <a:r>
                <a:rPr lang="en-US" dirty="0" smtClean="0"/>
                <a:t>billion €</a:t>
              </a:r>
            </a:p>
            <a:p>
              <a:pPr>
                <a:lnSpc>
                  <a:spcPct val="90000"/>
                </a:lnSpc>
                <a:buClr>
                  <a:schemeClr val="accent2"/>
                </a:buClr>
              </a:pPr>
              <a:r>
                <a:rPr lang="tr-TR" sz="4400" b="1" dirty="0" smtClean="0">
                  <a:solidFill>
                    <a:schemeClr val="accent2"/>
                  </a:solidFill>
                </a:rPr>
                <a:t>4</a:t>
              </a:r>
              <a:endParaRPr lang="en-US" sz="4400" b="1" dirty="0" smtClean="0">
                <a:solidFill>
                  <a:schemeClr val="accent2"/>
                </a:solidFill>
              </a:endParaRPr>
            </a:p>
          </p:txBody>
        </p:sp>
      </p:grpSp>
      <p:grpSp>
        <p:nvGrpSpPr>
          <p:cNvPr id="6" name="Gruppieren 5"/>
          <p:cNvGrpSpPr/>
          <p:nvPr>
            <p:custDataLst>
              <p:tags r:id="rId4"/>
            </p:custDataLst>
          </p:nvPr>
        </p:nvGrpSpPr>
        <p:grpSpPr>
          <a:xfrm>
            <a:off x="7880262" y="1243217"/>
            <a:ext cx="3312376" cy="1057675"/>
            <a:chOff x="6601435" y="1680281"/>
            <a:chExt cx="3312376" cy="1057675"/>
          </a:xfrm>
        </p:grpSpPr>
        <p:grpSp>
          <p:nvGrpSpPr>
            <p:cNvPr id="4" name="Gruppieren 3"/>
            <p:cNvGrpSpPr/>
            <p:nvPr>
              <p:custDataLst>
                <p:tags r:id="rId10"/>
              </p:custDataLst>
            </p:nvPr>
          </p:nvGrpSpPr>
          <p:grpSpPr>
            <a:xfrm>
              <a:off x="6601435" y="1680281"/>
              <a:ext cx="2088232" cy="929268"/>
              <a:chOff x="7537739" y="1700808"/>
              <a:chExt cx="2088232" cy="929268"/>
            </a:xfrm>
            <a:solidFill>
              <a:schemeClr val="tx1"/>
            </a:solidFill>
          </p:grpSpPr>
          <p:sp>
            <p:nvSpPr>
              <p:cNvPr id="230" name="Freeform 11"/>
              <p:cNvSpPr>
                <a:spLocks noChangeAspect="1" noEditPoints="1"/>
              </p:cNvSpPr>
              <p:nvPr/>
            </p:nvSpPr>
            <p:spPr bwMode="auto">
              <a:xfrm>
                <a:off x="7537739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3" name="Freeform 11"/>
              <p:cNvSpPr>
                <a:spLocks noChangeAspect="1" noEditPoints="1"/>
              </p:cNvSpPr>
              <p:nvPr/>
            </p:nvSpPr>
            <p:spPr bwMode="auto">
              <a:xfrm>
                <a:off x="7753779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4" name="Freeform 11"/>
              <p:cNvSpPr>
                <a:spLocks noChangeAspect="1" noEditPoints="1"/>
              </p:cNvSpPr>
              <p:nvPr/>
            </p:nvSpPr>
            <p:spPr bwMode="auto">
              <a:xfrm>
                <a:off x="7969787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5" name="Freeform 11"/>
              <p:cNvSpPr>
                <a:spLocks noChangeAspect="1" noEditPoints="1"/>
              </p:cNvSpPr>
              <p:nvPr/>
            </p:nvSpPr>
            <p:spPr bwMode="auto">
              <a:xfrm>
                <a:off x="8185827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6" name="Freeform 11"/>
              <p:cNvSpPr>
                <a:spLocks noChangeAspect="1" noEditPoints="1"/>
              </p:cNvSpPr>
              <p:nvPr/>
            </p:nvSpPr>
            <p:spPr bwMode="auto">
              <a:xfrm>
                <a:off x="8401835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7" name="Freeform 11"/>
              <p:cNvSpPr>
                <a:spLocks noChangeAspect="1" noEditPoints="1"/>
              </p:cNvSpPr>
              <p:nvPr/>
            </p:nvSpPr>
            <p:spPr bwMode="auto">
              <a:xfrm>
                <a:off x="8617875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8" name="Freeform 11"/>
              <p:cNvSpPr>
                <a:spLocks noChangeAspect="1" noEditPoints="1"/>
              </p:cNvSpPr>
              <p:nvPr/>
            </p:nvSpPr>
            <p:spPr bwMode="auto">
              <a:xfrm>
                <a:off x="8833883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39" name="Freeform 11"/>
              <p:cNvSpPr>
                <a:spLocks noChangeAspect="1" noEditPoints="1"/>
              </p:cNvSpPr>
              <p:nvPr/>
            </p:nvSpPr>
            <p:spPr bwMode="auto">
              <a:xfrm>
                <a:off x="9049923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0" name="Freeform 11"/>
              <p:cNvSpPr>
                <a:spLocks noChangeAspect="1" noEditPoints="1"/>
              </p:cNvSpPr>
              <p:nvPr/>
            </p:nvSpPr>
            <p:spPr bwMode="auto">
              <a:xfrm>
                <a:off x="9265931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1" name="Freeform 11"/>
              <p:cNvSpPr>
                <a:spLocks noChangeAspect="1" noEditPoints="1"/>
              </p:cNvSpPr>
              <p:nvPr/>
            </p:nvSpPr>
            <p:spPr bwMode="auto">
              <a:xfrm>
                <a:off x="9481971" y="170080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2" name="Freeform 11"/>
              <p:cNvSpPr>
                <a:spLocks noChangeAspect="1" noEditPoints="1"/>
              </p:cNvSpPr>
              <p:nvPr/>
            </p:nvSpPr>
            <p:spPr bwMode="auto">
              <a:xfrm>
                <a:off x="7537739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3" name="Freeform 11"/>
              <p:cNvSpPr>
                <a:spLocks noChangeAspect="1" noEditPoints="1"/>
              </p:cNvSpPr>
              <p:nvPr/>
            </p:nvSpPr>
            <p:spPr bwMode="auto">
              <a:xfrm>
                <a:off x="7753779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4" name="Freeform 11"/>
              <p:cNvSpPr>
                <a:spLocks noChangeAspect="1" noEditPoints="1"/>
              </p:cNvSpPr>
              <p:nvPr/>
            </p:nvSpPr>
            <p:spPr bwMode="auto">
              <a:xfrm>
                <a:off x="7969787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5" name="Freeform 11"/>
              <p:cNvSpPr>
                <a:spLocks noChangeAspect="1" noEditPoints="1"/>
              </p:cNvSpPr>
              <p:nvPr/>
            </p:nvSpPr>
            <p:spPr bwMode="auto">
              <a:xfrm>
                <a:off x="8185827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6" name="Freeform 11"/>
              <p:cNvSpPr>
                <a:spLocks noChangeAspect="1" noEditPoints="1"/>
              </p:cNvSpPr>
              <p:nvPr/>
            </p:nvSpPr>
            <p:spPr bwMode="auto">
              <a:xfrm>
                <a:off x="8401835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7" name="Freeform 11"/>
              <p:cNvSpPr>
                <a:spLocks noChangeAspect="1" noEditPoints="1"/>
              </p:cNvSpPr>
              <p:nvPr/>
            </p:nvSpPr>
            <p:spPr bwMode="auto">
              <a:xfrm>
                <a:off x="8617875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  <p:sp>
            <p:nvSpPr>
              <p:cNvPr id="248" name="Freeform 11"/>
              <p:cNvSpPr>
                <a:spLocks noChangeAspect="1" noEditPoints="1"/>
              </p:cNvSpPr>
              <p:nvPr/>
            </p:nvSpPr>
            <p:spPr bwMode="auto">
              <a:xfrm>
                <a:off x="8833883" y="2209258"/>
                <a:ext cx="144000" cy="420818"/>
              </a:xfrm>
              <a:custGeom>
                <a:avLst/>
                <a:gdLst>
                  <a:gd name="T0" fmla="*/ 1423 w 1674"/>
                  <a:gd name="T1" fmla="*/ 4890 h 4890"/>
                  <a:gd name="T2" fmla="*/ 251 w 1674"/>
                  <a:gd name="T3" fmla="*/ 4890 h 4890"/>
                  <a:gd name="T4" fmla="*/ 167 w 1674"/>
                  <a:gd name="T5" fmla="*/ 4806 h 4890"/>
                  <a:gd name="T6" fmla="*/ 167 w 1674"/>
                  <a:gd name="T7" fmla="*/ 3463 h 4890"/>
                  <a:gd name="T8" fmla="*/ 18 w 1674"/>
                  <a:gd name="T9" fmla="*/ 3276 h 4890"/>
                  <a:gd name="T10" fmla="*/ 0 w 1674"/>
                  <a:gd name="T11" fmla="*/ 3224 h 4890"/>
                  <a:gd name="T12" fmla="*/ 0 w 1674"/>
                  <a:gd name="T13" fmla="*/ 1857 h 4890"/>
                  <a:gd name="T14" fmla="*/ 514 w 1674"/>
                  <a:gd name="T15" fmla="*/ 1373 h 4890"/>
                  <a:gd name="T16" fmla="*/ 1156 w 1674"/>
                  <a:gd name="T17" fmla="*/ 1373 h 4890"/>
                  <a:gd name="T18" fmla="*/ 1674 w 1674"/>
                  <a:gd name="T19" fmla="*/ 1857 h 4890"/>
                  <a:gd name="T20" fmla="*/ 1674 w 1674"/>
                  <a:gd name="T21" fmla="*/ 3224 h 4890"/>
                  <a:gd name="T22" fmla="*/ 1656 w 1674"/>
                  <a:gd name="T23" fmla="*/ 3276 h 4890"/>
                  <a:gd name="T24" fmla="*/ 1507 w 1674"/>
                  <a:gd name="T25" fmla="*/ 3463 h 4890"/>
                  <a:gd name="T26" fmla="*/ 1507 w 1674"/>
                  <a:gd name="T27" fmla="*/ 4806 h 4890"/>
                  <a:gd name="T28" fmla="*/ 1423 w 1674"/>
                  <a:gd name="T29" fmla="*/ 4890 h 4890"/>
                  <a:gd name="T30" fmla="*/ 335 w 1674"/>
                  <a:gd name="T31" fmla="*/ 4723 h 4890"/>
                  <a:gd name="T32" fmla="*/ 1339 w 1674"/>
                  <a:gd name="T33" fmla="*/ 4723 h 4890"/>
                  <a:gd name="T34" fmla="*/ 1339 w 1674"/>
                  <a:gd name="T35" fmla="*/ 3433 h 4890"/>
                  <a:gd name="T36" fmla="*/ 1358 w 1674"/>
                  <a:gd name="T37" fmla="*/ 3381 h 4890"/>
                  <a:gd name="T38" fmla="*/ 1507 w 1674"/>
                  <a:gd name="T39" fmla="*/ 3195 h 4890"/>
                  <a:gd name="T40" fmla="*/ 1507 w 1674"/>
                  <a:gd name="T41" fmla="*/ 1857 h 4890"/>
                  <a:gd name="T42" fmla="*/ 1156 w 1674"/>
                  <a:gd name="T43" fmla="*/ 1541 h 4890"/>
                  <a:gd name="T44" fmla="*/ 514 w 1674"/>
                  <a:gd name="T45" fmla="*/ 1541 h 4890"/>
                  <a:gd name="T46" fmla="*/ 167 w 1674"/>
                  <a:gd name="T47" fmla="*/ 1857 h 4890"/>
                  <a:gd name="T48" fmla="*/ 167 w 1674"/>
                  <a:gd name="T49" fmla="*/ 3195 h 4890"/>
                  <a:gd name="T50" fmla="*/ 316 w 1674"/>
                  <a:gd name="T51" fmla="*/ 3381 h 4890"/>
                  <a:gd name="T52" fmla="*/ 335 w 1674"/>
                  <a:gd name="T53" fmla="*/ 3433 h 4890"/>
                  <a:gd name="T54" fmla="*/ 335 w 1674"/>
                  <a:gd name="T55" fmla="*/ 4723 h 4890"/>
                  <a:gd name="T56" fmla="*/ 835 w 1674"/>
                  <a:gd name="T57" fmla="*/ 1214 h 4890"/>
                  <a:gd name="T58" fmla="*/ 228 w 1674"/>
                  <a:gd name="T59" fmla="*/ 607 h 4890"/>
                  <a:gd name="T60" fmla="*/ 835 w 1674"/>
                  <a:gd name="T61" fmla="*/ 0 h 4890"/>
                  <a:gd name="T62" fmla="*/ 1442 w 1674"/>
                  <a:gd name="T63" fmla="*/ 607 h 4890"/>
                  <a:gd name="T64" fmla="*/ 835 w 1674"/>
                  <a:gd name="T65" fmla="*/ 1214 h 4890"/>
                  <a:gd name="T66" fmla="*/ 835 w 1674"/>
                  <a:gd name="T67" fmla="*/ 168 h 4890"/>
                  <a:gd name="T68" fmla="*/ 395 w 1674"/>
                  <a:gd name="T69" fmla="*/ 607 h 4890"/>
                  <a:gd name="T70" fmla="*/ 835 w 1674"/>
                  <a:gd name="T71" fmla="*/ 1047 h 4890"/>
                  <a:gd name="T72" fmla="*/ 1275 w 1674"/>
                  <a:gd name="T73" fmla="*/ 607 h 4890"/>
                  <a:gd name="T74" fmla="*/ 835 w 1674"/>
                  <a:gd name="T75" fmla="*/ 168 h 48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4" h="4890">
                    <a:moveTo>
                      <a:pt x="1423" y="4890"/>
                    </a:moveTo>
                    <a:cubicBezTo>
                      <a:pt x="251" y="4890"/>
                      <a:pt x="251" y="4890"/>
                      <a:pt x="251" y="4890"/>
                    </a:cubicBezTo>
                    <a:cubicBezTo>
                      <a:pt x="205" y="4890"/>
                      <a:pt x="167" y="4853"/>
                      <a:pt x="167" y="4806"/>
                    </a:cubicBezTo>
                    <a:cubicBezTo>
                      <a:pt x="167" y="3463"/>
                      <a:pt x="167" y="3463"/>
                      <a:pt x="167" y="3463"/>
                    </a:cubicBezTo>
                    <a:cubicBezTo>
                      <a:pt x="18" y="3276"/>
                      <a:pt x="18" y="3276"/>
                      <a:pt x="18" y="3276"/>
                    </a:cubicBezTo>
                    <a:cubicBezTo>
                      <a:pt x="6" y="3261"/>
                      <a:pt x="0" y="3243"/>
                      <a:pt x="0" y="3224"/>
                    </a:cubicBezTo>
                    <a:cubicBezTo>
                      <a:pt x="0" y="1857"/>
                      <a:pt x="0" y="1857"/>
                      <a:pt x="0" y="1857"/>
                    </a:cubicBezTo>
                    <a:cubicBezTo>
                      <a:pt x="0" y="1590"/>
                      <a:pt x="231" y="1373"/>
                      <a:pt x="514" y="1373"/>
                    </a:cubicBezTo>
                    <a:cubicBezTo>
                      <a:pt x="1156" y="1373"/>
                      <a:pt x="1156" y="1373"/>
                      <a:pt x="1156" y="1373"/>
                    </a:cubicBezTo>
                    <a:cubicBezTo>
                      <a:pt x="1442" y="1373"/>
                      <a:pt x="1674" y="1590"/>
                      <a:pt x="1674" y="1857"/>
                    </a:cubicBezTo>
                    <a:cubicBezTo>
                      <a:pt x="1674" y="3224"/>
                      <a:pt x="1674" y="3224"/>
                      <a:pt x="1674" y="3224"/>
                    </a:cubicBezTo>
                    <a:cubicBezTo>
                      <a:pt x="1674" y="3243"/>
                      <a:pt x="1668" y="3261"/>
                      <a:pt x="1656" y="3276"/>
                    </a:cubicBezTo>
                    <a:cubicBezTo>
                      <a:pt x="1507" y="3463"/>
                      <a:pt x="1507" y="3463"/>
                      <a:pt x="1507" y="3463"/>
                    </a:cubicBezTo>
                    <a:cubicBezTo>
                      <a:pt x="1507" y="4806"/>
                      <a:pt x="1507" y="4806"/>
                      <a:pt x="1507" y="4806"/>
                    </a:cubicBezTo>
                    <a:cubicBezTo>
                      <a:pt x="1507" y="4853"/>
                      <a:pt x="1469" y="4890"/>
                      <a:pt x="1423" y="4890"/>
                    </a:cubicBezTo>
                    <a:close/>
                    <a:moveTo>
                      <a:pt x="335" y="4723"/>
                    </a:moveTo>
                    <a:cubicBezTo>
                      <a:pt x="1339" y="4723"/>
                      <a:pt x="1339" y="4723"/>
                      <a:pt x="1339" y="4723"/>
                    </a:cubicBezTo>
                    <a:cubicBezTo>
                      <a:pt x="1339" y="3433"/>
                      <a:pt x="1339" y="3433"/>
                      <a:pt x="1339" y="3433"/>
                    </a:cubicBezTo>
                    <a:cubicBezTo>
                      <a:pt x="1339" y="3414"/>
                      <a:pt x="1346" y="3396"/>
                      <a:pt x="1358" y="3381"/>
                    </a:cubicBezTo>
                    <a:cubicBezTo>
                      <a:pt x="1507" y="3195"/>
                      <a:pt x="1507" y="3195"/>
                      <a:pt x="1507" y="3195"/>
                    </a:cubicBezTo>
                    <a:cubicBezTo>
                      <a:pt x="1507" y="1857"/>
                      <a:pt x="1507" y="1857"/>
                      <a:pt x="1507" y="1857"/>
                    </a:cubicBezTo>
                    <a:cubicBezTo>
                      <a:pt x="1507" y="1685"/>
                      <a:pt x="1346" y="1541"/>
                      <a:pt x="1156" y="1541"/>
                    </a:cubicBezTo>
                    <a:cubicBezTo>
                      <a:pt x="514" y="1541"/>
                      <a:pt x="514" y="1541"/>
                      <a:pt x="514" y="1541"/>
                    </a:cubicBezTo>
                    <a:cubicBezTo>
                      <a:pt x="323" y="1541"/>
                      <a:pt x="167" y="1683"/>
                      <a:pt x="167" y="1857"/>
                    </a:cubicBezTo>
                    <a:cubicBezTo>
                      <a:pt x="167" y="3195"/>
                      <a:pt x="167" y="3195"/>
                      <a:pt x="167" y="3195"/>
                    </a:cubicBezTo>
                    <a:cubicBezTo>
                      <a:pt x="316" y="3381"/>
                      <a:pt x="316" y="3381"/>
                      <a:pt x="316" y="3381"/>
                    </a:cubicBezTo>
                    <a:cubicBezTo>
                      <a:pt x="328" y="3396"/>
                      <a:pt x="335" y="3414"/>
                      <a:pt x="335" y="3433"/>
                    </a:cubicBezTo>
                    <a:lnTo>
                      <a:pt x="335" y="4723"/>
                    </a:lnTo>
                    <a:close/>
                    <a:moveTo>
                      <a:pt x="835" y="1214"/>
                    </a:moveTo>
                    <a:cubicBezTo>
                      <a:pt x="500" y="1214"/>
                      <a:pt x="228" y="942"/>
                      <a:pt x="228" y="607"/>
                    </a:cubicBezTo>
                    <a:cubicBezTo>
                      <a:pt x="228" y="273"/>
                      <a:pt x="500" y="0"/>
                      <a:pt x="835" y="0"/>
                    </a:cubicBezTo>
                    <a:cubicBezTo>
                      <a:pt x="1170" y="0"/>
                      <a:pt x="1442" y="273"/>
                      <a:pt x="1442" y="607"/>
                    </a:cubicBezTo>
                    <a:cubicBezTo>
                      <a:pt x="1442" y="942"/>
                      <a:pt x="1170" y="1214"/>
                      <a:pt x="835" y="1214"/>
                    </a:cubicBezTo>
                    <a:close/>
                    <a:moveTo>
                      <a:pt x="835" y="168"/>
                    </a:moveTo>
                    <a:cubicBezTo>
                      <a:pt x="593" y="168"/>
                      <a:pt x="395" y="365"/>
                      <a:pt x="395" y="607"/>
                    </a:cubicBezTo>
                    <a:cubicBezTo>
                      <a:pt x="395" y="850"/>
                      <a:pt x="593" y="1047"/>
                      <a:pt x="835" y="1047"/>
                    </a:cubicBezTo>
                    <a:cubicBezTo>
                      <a:pt x="1077" y="1047"/>
                      <a:pt x="1275" y="850"/>
                      <a:pt x="1275" y="607"/>
                    </a:cubicBezTo>
                    <a:cubicBezTo>
                      <a:pt x="1275" y="365"/>
                      <a:pt x="1077" y="168"/>
                      <a:pt x="835" y="16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5" name="Gruppieren 4"/>
            <p:cNvGrpSpPr/>
            <p:nvPr/>
          </p:nvGrpSpPr>
          <p:grpSpPr>
            <a:xfrm>
              <a:off x="8113811" y="1870626"/>
              <a:ext cx="1800000" cy="867330"/>
              <a:chOff x="8113811" y="1870626"/>
              <a:chExt cx="1800000" cy="867330"/>
            </a:xfrm>
          </p:grpSpPr>
          <p:sp>
            <p:nvSpPr>
              <p:cNvPr id="215" name="Textfeld 214"/>
              <p:cNvSpPr txBox="1"/>
              <p:nvPr>
                <p:custDataLst>
                  <p:tags r:id="rId11"/>
                </p:custDataLst>
              </p:nvPr>
            </p:nvSpPr>
            <p:spPr bwMode="gray">
              <a:xfrm>
                <a:off x="8113811" y="2060848"/>
                <a:ext cx="1800000" cy="67710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buClr>
                    <a:schemeClr val="accent2"/>
                  </a:buClr>
                </a:pPr>
                <a:r>
                  <a:rPr lang="en-US" sz="4400" b="1" dirty="0" smtClean="0">
                    <a:solidFill>
                      <a:schemeClr val="accent2"/>
                    </a:solidFill>
                  </a:rPr>
                  <a:t>20,000</a:t>
                </a:r>
                <a:endParaRPr lang="en-US" sz="1600" dirty="0" smtClean="0"/>
              </a:p>
            </p:txBody>
          </p:sp>
          <p:sp>
            <p:nvSpPr>
              <p:cNvPr id="252" name="Textfeld 251"/>
              <p:cNvSpPr txBox="1"/>
              <p:nvPr/>
            </p:nvSpPr>
            <p:spPr bwMode="gray">
              <a:xfrm>
                <a:off x="8689803" y="1870626"/>
                <a:ext cx="1152000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algn="r">
                  <a:buClr>
                    <a:schemeClr val="accent2"/>
                  </a:buClr>
                </a:pPr>
                <a:r>
                  <a:rPr lang="en-US" sz="1600" dirty="0" smtClean="0"/>
                  <a:t>Employees</a:t>
                </a:r>
              </a:p>
            </p:txBody>
          </p:sp>
        </p:grpSp>
      </p:grpSp>
      <p:grpSp>
        <p:nvGrpSpPr>
          <p:cNvPr id="36868" name="Gruppieren 36867"/>
          <p:cNvGrpSpPr/>
          <p:nvPr/>
        </p:nvGrpSpPr>
        <p:grpSpPr>
          <a:xfrm>
            <a:off x="1093031" y="4689141"/>
            <a:ext cx="2592288" cy="792087"/>
            <a:chOff x="7609755" y="5085184"/>
            <a:chExt cx="2592288" cy="792087"/>
          </a:xfrm>
        </p:grpSpPr>
        <p:sp>
          <p:nvSpPr>
            <p:cNvPr id="36864" name="Freeform 21"/>
            <p:cNvSpPr>
              <a:spLocks noChangeAspect="1" noEditPoints="1"/>
            </p:cNvSpPr>
            <p:nvPr/>
          </p:nvSpPr>
          <p:spPr bwMode="auto">
            <a:xfrm>
              <a:off x="7609755" y="5085184"/>
              <a:ext cx="540000" cy="682846"/>
            </a:xfrm>
            <a:custGeom>
              <a:avLst/>
              <a:gdLst>
                <a:gd name="T0" fmla="*/ 5051 w 5093"/>
                <a:gd name="T1" fmla="*/ 2323 h 6440"/>
                <a:gd name="T2" fmla="*/ 4512 w 5093"/>
                <a:gd name="T3" fmla="*/ 1784 h 6440"/>
                <a:gd name="T4" fmla="*/ 4359 w 5093"/>
                <a:gd name="T5" fmla="*/ 1784 h 6440"/>
                <a:gd name="T6" fmla="*/ 4359 w 5093"/>
                <a:gd name="T7" fmla="*/ 1936 h 6440"/>
                <a:gd name="T8" fmla="*/ 4553 w 5093"/>
                <a:gd name="T9" fmla="*/ 2130 h 6440"/>
                <a:gd name="T10" fmla="*/ 4315 w 5093"/>
                <a:gd name="T11" fmla="*/ 2366 h 6440"/>
                <a:gd name="T12" fmla="*/ 3141 w 5093"/>
                <a:gd name="T13" fmla="*/ 1671 h 6440"/>
                <a:gd name="T14" fmla="*/ 3141 w 5093"/>
                <a:gd name="T15" fmla="*/ 1292 h 6440"/>
                <a:gd name="T16" fmla="*/ 3251 w 5093"/>
                <a:gd name="T17" fmla="*/ 1292 h 6440"/>
                <a:gd name="T18" fmla="*/ 3357 w 5093"/>
                <a:gd name="T19" fmla="*/ 1186 h 6440"/>
                <a:gd name="T20" fmla="*/ 3357 w 5093"/>
                <a:gd name="T21" fmla="*/ 106 h 6440"/>
                <a:gd name="T22" fmla="*/ 3251 w 5093"/>
                <a:gd name="T23" fmla="*/ 0 h 6440"/>
                <a:gd name="T24" fmla="*/ 1956 w 5093"/>
                <a:gd name="T25" fmla="*/ 0 h 6440"/>
                <a:gd name="T26" fmla="*/ 1849 w 5093"/>
                <a:gd name="T27" fmla="*/ 106 h 6440"/>
                <a:gd name="T28" fmla="*/ 1849 w 5093"/>
                <a:gd name="T29" fmla="*/ 1186 h 6440"/>
                <a:gd name="T30" fmla="*/ 1956 w 5093"/>
                <a:gd name="T31" fmla="*/ 1292 h 6440"/>
                <a:gd name="T32" fmla="*/ 2065 w 5093"/>
                <a:gd name="T33" fmla="*/ 1292 h 6440"/>
                <a:gd name="T34" fmla="*/ 2065 w 5093"/>
                <a:gd name="T35" fmla="*/ 1645 h 6440"/>
                <a:gd name="T36" fmla="*/ 779 w 5093"/>
                <a:gd name="T37" fmla="*/ 2366 h 6440"/>
                <a:gd name="T38" fmla="*/ 542 w 5093"/>
                <a:gd name="T39" fmla="*/ 2130 h 6440"/>
                <a:gd name="T40" fmla="*/ 735 w 5093"/>
                <a:gd name="T41" fmla="*/ 1936 h 6440"/>
                <a:gd name="T42" fmla="*/ 735 w 5093"/>
                <a:gd name="T43" fmla="*/ 1784 h 6440"/>
                <a:gd name="T44" fmla="*/ 582 w 5093"/>
                <a:gd name="T45" fmla="*/ 1784 h 6440"/>
                <a:gd name="T46" fmla="*/ 43 w 5093"/>
                <a:gd name="T47" fmla="*/ 2323 h 6440"/>
                <a:gd name="T48" fmla="*/ 43 w 5093"/>
                <a:gd name="T49" fmla="*/ 2476 h 6440"/>
                <a:gd name="T50" fmla="*/ 119 w 5093"/>
                <a:gd name="T51" fmla="*/ 2508 h 6440"/>
                <a:gd name="T52" fmla="*/ 195 w 5093"/>
                <a:gd name="T53" fmla="*/ 2476 h 6440"/>
                <a:gd name="T54" fmla="*/ 389 w 5093"/>
                <a:gd name="T55" fmla="*/ 2282 h 6440"/>
                <a:gd name="T56" fmla="*/ 638 w 5093"/>
                <a:gd name="T57" fmla="*/ 2531 h 6440"/>
                <a:gd name="T58" fmla="*/ 125 w 5093"/>
                <a:gd name="T59" fmla="*/ 4018 h 6440"/>
                <a:gd name="T60" fmla="*/ 2547 w 5093"/>
                <a:gd name="T61" fmla="*/ 6440 h 6440"/>
                <a:gd name="T62" fmla="*/ 4969 w 5093"/>
                <a:gd name="T63" fmla="*/ 4018 h 6440"/>
                <a:gd name="T64" fmla="*/ 4456 w 5093"/>
                <a:gd name="T65" fmla="*/ 2531 h 6440"/>
                <a:gd name="T66" fmla="*/ 4705 w 5093"/>
                <a:gd name="T67" fmla="*/ 2282 h 6440"/>
                <a:gd name="T68" fmla="*/ 4899 w 5093"/>
                <a:gd name="T69" fmla="*/ 2476 h 6440"/>
                <a:gd name="T70" fmla="*/ 4975 w 5093"/>
                <a:gd name="T71" fmla="*/ 2508 h 6440"/>
                <a:gd name="T72" fmla="*/ 5051 w 5093"/>
                <a:gd name="T73" fmla="*/ 2476 h 6440"/>
                <a:gd name="T74" fmla="*/ 5051 w 5093"/>
                <a:gd name="T75" fmla="*/ 2323 h 6440"/>
                <a:gd name="T76" fmla="*/ 2065 w 5093"/>
                <a:gd name="T77" fmla="*/ 216 h 6440"/>
                <a:gd name="T78" fmla="*/ 3141 w 5093"/>
                <a:gd name="T79" fmla="*/ 216 h 6440"/>
                <a:gd name="T80" fmla="*/ 3141 w 5093"/>
                <a:gd name="T81" fmla="*/ 1076 h 6440"/>
                <a:gd name="T82" fmla="*/ 2065 w 5093"/>
                <a:gd name="T83" fmla="*/ 1076 h 6440"/>
                <a:gd name="T84" fmla="*/ 2065 w 5093"/>
                <a:gd name="T85" fmla="*/ 216 h 6440"/>
                <a:gd name="T86" fmla="*/ 2281 w 5093"/>
                <a:gd name="T87" fmla="*/ 1292 h 6440"/>
                <a:gd name="T88" fmla="*/ 2929 w 5093"/>
                <a:gd name="T89" fmla="*/ 1292 h 6440"/>
                <a:gd name="T90" fmla="*/ 2929 w 5093"/>
                <a:gd name="T91" fmla="*/ 1627 h 6440"/>
                <a:gd name="T92" fmla="*/ 2549 w 5093"/>
                <a:gd name="T93" fmla="*/ 1597 h 6440"/>
                <a:gd name="T94" fmla="*/ 2281 w 5093"/>
                <a:gd name="T95" fmla="*/ 1612 h 6440"/>
                <a:gd name="T96" fmla="*/ 2281 w 5093"/>
                <a:gd name="T97" fmla="*/ 1292 h 6440"/>
                <a:gd name="T98" fmla="*/ 2547 w 5093"/>
                <a:gd name="T99" fmla="*/ 6224 h 6440"/>
                <a:gd name="T100" fmla="*/ 341 w 5093"/>
                <a:gd name="T101" fmla="*/ 4018 h 6440"/>
                <a:gd name="T102" fmla="*/ 2547 w 5093"/>
                <a:gd name="T103" fmla="*/ 1812 h 6440"/>
                <a:gd name="T104" fmla="*/ 4753 w 5093"/>
                <a:gd name="T105" fmla="*/ 4018 h 6440"/>
                <a:gd name="T106" fmla="*/ 2547 w 5093"/>
                <a:gd name="T107" fmla="*/ 6224 h 6440"/>
                <a:gd name="T108" fmla="*/ 3694 w 5093"/>
                <a:gd name="T109" fmla="*/ 2597 h 6440"/>
                <a:gd name="T110" fmla="*/ 3710 w 5093"/>
                <a:gd name="T111" fmla="*/ 2749 h 6440"/>
                <a:gd name="T112" fmla="*/ 2631 w 5093"/>
                <a:gd name="T113" fmla="*/ 4086 h 6440"/>
                <a:gd name="T114" fmla="*/ 2547 w 5093"/>
                <a:gd name="T115" fmla="*/ 4126 h 6440"/>
                <a:gd name="T116" fmla="*/ 2479 w 5093"/>
                <a:gd name="T117" fmla="*/ 4102 h 6440"/>
                <a:gd name="T118" fmla="*/ 2463 w 5093"/>
                <a:gd name="T119" fmla="*/ 3951 h 6440"/>
                <a:gd name="T120" fmla="*/ 3542 w 5093"/>
                <a:gd name="T121" fmla="*/ 2613 h 6440"/>
                <a:gd name="T122" fmla="*/ 3694 w 5093"/>
                <a:gd name="T123" fmla="*/ 2597 h 6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93" h="6440">
                  <a:moveTo>
                    <a:pt x="5051" y="2323"/>
                  </a:moveTo>
                  <a:cubicBezTo>
                    <a:pt x="4512" y="1784"/>
                    <a:pt x="4512" y="1784"/>
                    <a:pt x="4512" y="1784"/>
                  </a:cubicBezTo>
                  <a:cubicBezTo>
                    <a:pt x="4470" y="1742"/>
                    <a:pt x="4401" y="1742"/>
                    <a:pt x="4359" y="1784"/>
                  </a:cubicBezTo>
                  <a:cubicBezTo>
                    <a:pt x="4317" y="1826"/>
                    <a:pt x="4317" y="1894"/>
                    <a:pt x="4359" y="1936"/>
                  </a:cubicBezTo>
                  <a:cubicBezTo>
                    <a:pt x="4553" y="2130"/>
                    <a:pt x="4553" y="2130"/>
                    <a:pt x="4553" y="2130"/>
                  </a:cubicBezTo>
                  <a:cubicBezTo>
                    <a:pt x="4315" y="2366"/>
                    <a:pt x="4315" y="2366"/>
                    <a:pt x="4315" y="2366"/>
                  </a:cubicBezTo>
                  <a:cubicBezTo>
                    <a:pt x="4003" y="2033"/>
                    <a:pt x="3601" y="1787"/>
                    <a:pt x="3141" y="1671"/>
                  </a:cubicBezTo>
                  <a:cubicBezTo>
                    <a:pt x="3141" y="1292"/>
                    <a:pt x="3141" y="1292"/>
                    <a:pt x="3141" y="1292"/>
                  </a:cubicBezTo>
                  <a:cubicBezTo>
                    <a:pt x="3251" y="1292"/>
                    <a:pt x="3251" y="1292"/>
                    <a:pt x="3251" y="1292"/>
                  </a:cubicBezTo>
                  <a:cubicBezTo>
                    <a:pt x="3311" y="1292"/>
                    <a:pt x="3357" y="1245"/>
                    <a:pt x="3357" y="1186"/>
                  </a:cubicBezTo>
                  <a:cubicBezTo>
                    <a:pt x="3357" y="106"/>
                    <a:pt x="3357" y="106"/>
                    <a:pt x="3357" y="106"/>
                  </a:cubicBezTo>
                  <a:cubicBezTo>
                    <a:pt x="3357" y="47"/>
                    <a:pt x="3311" y="0"/>
                    <a:pt x="3251" y="0"/>
                  </a:cubicBezTo>
                  <a:cubicBezTo>
                    <a:pt x="1956" y="0"/>
                    <a:pt x="1956" y="0"/>
                    <a:pt x="1956" y="0"/>
                  </a:cubicBezTo>
                  <a:cubicBezTo>
                    <a:pt x="1896" y="0"/>
                    <a:pt x="1849" y="47"/>
                    <a:pt x="1849" y="106"/>
                  </a:cubicBezTo>
                  <a:cubicBezTo>
                    <a:pt x="1849" y="1186"/>
                    <a:pt x="1849" y="1186"/>
                    <a:pt x="1849" y="1186"/>
                  </a:cubicBezTo>
                  <a:cubicBezTo>
                    <a:pt x="1849" y="1245"/>
                    <a:pt x="1896" y="1292"/>
                    <a:pt x="1956" y="1292"/>
                  </a:cubicBezTo>
                  <a:cubicBezTo>
                    <a:pt x="2065" y="1292"/>
                    <a:pt x="2065" y="1292"/>
                    <a:pt x="2065" y="1292"/>
                  </a:cubicBezTo>
                  <a:cubicBezTo>
                    <a:pt x="2065" y="1645"/>
                    <a:pt x="2065" y="1645"/>
                    <a:pt x="2065" y="1645"/>
                  </a:cubicBezTo>
                  <a:cubicBezTo>
                    <a:pt x="1561" y="1747"/>
                    <a:pt x="1116" y="2005"/>
                    <a:pt x="779" y="2366"/>
                  </a:cubicBezTo>
                  <a:cubicBezTo>
                    <a:pt x="542" y="2130"/>
                    <a:pt x="542" y="2130"/>
                    <a:pt x="542" y="2130"/>
                  </a:cubicBezTo>
                  <a:cubicBezTo>
                    <a:pt x="735" y="1936"/>
                    <a:pt x="735" y="1936"/>
                    <a:pt x="735" y="1936"/>
                  </a:cubicBezTo>
                  <a:cubicBezTo>
                    <a:pt x="777" y="1894"/>
                    <a:pt x="777" y="1826"/>
                    <a:pt x="735" y="1784"/>
                  </a:cubicBezTo>
                  <a:cubicBezTo>
                    <a:pt x="693" y="1742"/>
                    <a:pt x="624" y="1742"/>
                    <a:pt x="582" y="1784"/>
                  </a:cubicBezTo>
                  <a:cubicBezTo>
                    <a:pt x="43" y="2323"/>
                    <a:pt x="43" y="2323"/>
                    <a:pt x="43" y="2323"/>
                  </a:cubicBezTo>
                  <a:cubicBezTo>
                    <a:pt x="0" y="2365"/>
                    <a:pt x="0" y="2434"/>
                    <a:pt x="43" y="2476"/>
                  </a:cubicBezTo>
                  <a:cubicBezTo>
                    <a:pt x="64" y="2497"/>
                    <a:pt x="91" y="2508"/>
                    <a:pt x="119" y="2508"/>
                  </a:cubicBezTo>
                  <a:cubicBezTo>
                    <a:pt x="146" y="2508"/>
                    <a:pt x="174" y="2497"/>
                    <a:pt x="195" y="2476"/>
                  </a:cubicBezTo>
                  <a:cubicBezTo>
                    <a:pt x="389" y="2282"/>
                    <a:pt x="389" y="2282"/>
                    <a:pt x="389" y="2282"/>
                  </a:cubicBezTo>
                  <a:cubicBezTo>
                    <a:pt x="638" y="2531"/>
                    <a:pt x="638" y="2531"/>
                    <a:pt x="638" y="2531"/>
                  </a:cubicBezTo>
                  <a:cubicBezTo>
                    <a:pt x="317" y="2942"/>
                    <a:pt x="125" y="3458"/>
                    <a:pt x="125" y="4018"/>
                  </a:cubicBezTo>
                  <a:cubicBezTo>
                    <a:pt x="125" y="5354"/>
                    <a:pt x="1212" y="6440"/>
                    <a:pt x="2547" y="6440"/>
                  </a:cubicBezTo>
                  <a:cubicBezTo>
                    <a:pt x="3882" y="6440"/>
                    <a:pt x="4969" y="5354"/>
                    <a:pt x="4969" y="4018"/>
                  </a:cubicBezTo>
                  <a:cubicBezTo>
                    <a:pt x="4969" y="3458"/>
                    <a:pt x="4777" y="2942"/>
                    <a:pt x="4456" y="2531"/>
                  </a:cubicBezTo>
                  <a:cubicBezTo>
                    <a:pt x="4705" y="2282"/>
                    <a:pt x="4705" y="2282"/>
                    <a:pt x="4705" y="2282"/>
                  </a:cubicBezTo>
                  <a:cubicBezTo>
                    <a:pt x="4899" y="2476"/>
                    <a:pt x="4899" y="2476"/>
                    <a:pt x="4899" y="2476"/>
                  </a:cubicBezTo>
                  <a:cubicBezTo>
                    <a:pt x="4920" y="2497"/>
                    <a:pt x="4947" y="2508"/>
                    <a:pt x="4975" y="2508"/>
                  </a:cubicBezTo>
                  <a:cubicBezTo>
                    <a:pt x="5003" y="2508"/>
                    <a:pt x="5030" y="2497"/>
                    <a:pt x="5051" y="2476"/>
                  </a:cubicBezTo>
                  <a:cubicBezTo>
                    <a:pt x="5093" y="2434"/>
                    <a:pt x="5093" y="2365"/>
                    <a:pt x="5051" y="2323"/>
                  </a:cubicBezTo>
                  <a:close/>
                  <a:moveTo>
                    <a:pt x="2065" y="216"/>
                  </a:moveTo>
                  <a:cubicBezTo>
                    <a:pt x="3141" y="216"/>
                    <a:pt x="3141" y="216"/>
                    <a:pt x="3141" y="216"/>
                  </a:cubicBezTo>
                  <a:cubicBezTo>
                    <a:pt x="3141" y="1076"/>
                    <a:pt x="3141" y="1076"/>
                    <a:pt x="3141" y="1076"/>
                  </a:cubicBezTo>
                  <a:cubicBezTo>
                    <a:pt x="2065" y="1076"/>
                    <a:pt x="2065" y="1076"/>
                    <a:pt x="2065" y="1076"/>
                  </a:cubicBezTo>
                  <a:lnTo>
                    <a:pt x="2065" y="216"/>
                  </a:lnTo>
                  <a:close/>
                  <a:moveTo>
                    <a:pt x="2281" y="1292"/>
                  </a:moveTo>
                  <a:cubicBezTo>
                    <a:pt x="2929" y="1292"/>
                    <a:pt x="2929" y="1292"/>
                    <a:pt x="2929" y="1292"/>
                  </a:cubicBezTo>
                  <a:cubicBezTo>
                    <a:pt x="2929" y="1627"/>
                    <a:pt x="2929" y="1627"/>
                    <a:pt x="2929" y="1627"/>
                  </a:cubicBezTo>
                  <a:cubicBezTo>
                    <a:pt x="2805" y="1607"/>
                    <a:pt x="2678" y="1597"/>
                    <a:pt x="2549" y="1597"/>
                  </a:cubicBezTo>
                  <a:cubicBezTo>
                    <a:pt x="2458" y="1597"/>
                    <a:pt x="2369" y="1602"/>
                    <a:pt x="2281" y="1612"/>
                  </a:cubicBezTo>
                  <a:lnTo>
                    <a:pt x="2281" y="1292"/>
                  </a:lnTo>
                  <a:close/>
                  <a:moveTo>
                    <a:pt x="2547" y="6224"/>
                  </a:moveTo>
                  <a:cubicBezTo>
                    <a:pt x="1331" y="6224"/>
                    <a:pt x="341" y="5235"/>
                    <a:pt x="341" y="4018"/>
                  </a:cubicBezTo>
                  <a:cubicBezTo>
                    <a:pt x="341" y="2802"/>
                    <a:pt x="1331" y="1812"/>
                    <a:pt x="2547" y="1812"/>
                  </a:cubicBezTo>
                  <a:cubicBezTo>
                    <a:pt x="3763" y="1812"/>
                    <a:pt x="4753" y="2802"/>
                    <a:pt x="4753" y="4018"/>
                  </a:cubicBezTo>
                  <a:cubicBezTo>
                    <a:pt x="4753" y="5235"/>
                    <a:pt x="3763" y="6224"/>
                    <a:pt x="2547" y="6224"/>
                  </a:cubicBezTo>
                  <a:close/>
                  <a:moveTo>
                    <a:pt x="3694" y="2597"/>
                  </a:moveTo>
                  <a:cubicBezTo>
                    <a:pt x="3741" y="2634"/>
                    <a:pt x="3748" y="2702"/>
                    <a:pt x="3710" y="2749"/>
                  </a:cubicBezTo>
                  <a:cubicBezTo>
                    <a:pt x="2631" y="4086"/>
                    <a:pt x="2631" y="4086"/>
                    <a:pt x="2631" y="4086"/>
                  </a:cubicBezTo>
                  <a:cubicBezTo>
                    <a:pt x="2610" y="4113"/>
                    <a:pt x="2578" y="4126"/>
                    <a:pt x="2547" y="4126"/>
                  </a:cubicBezTo>
                  <a:cubicBezTo>
                    <a:pt x="2523" y="4126"/>
                    <a:pt x="2499" y="4118"/>
                    <a:pt x="2479" y="4102"/>
                  </a:cubicBezTo>
                  <a:cubicBezTo>
                    <a:pt x="2433" y="4065"/>
                    <a:pt x="2426" y="3997"/>
                    <a:pt x="2463" y="3951"/>
                  </a:cubicBezTo>
                  <a:cubicBezTo>
                    <a:pt x="3542" y="2613"/>
                    <a:pt x="3542" y="2613"/>
                    <a:pt x="3542" y="2613"/>
                  </a:cubicBezTo>
                  <a:cubicBezTo>
                    <a:pt x="3580" y="2567"/>
                    <a:pt x="3648" y="2559"/>
                    <a:pt x="3694" y="2597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7" name="Textfeld 216"/>
            <p:cNvSpPr txBox="1"/>
            <p:nvPr/>
          </p:nvSpPr>
          <p:spPr bwMode="gray">
            <a:xfrm>
              <a:off x="8185819" y="5138607"/>
              <a:ext cx="792088" cy="73866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4800" b="1" dirty="0" smtClean="0">
                  <a:solidFill>
                    <a:schemeClr val="accent2"/>
                  </a:solidFill>
                </a:rPr>
                <a:t>24</a:t>
              </a:r>
              <a:endParaRPr lang="en-US" sz="2000" dirty="0" smtClean="0"/>
            </a:p>
          </p:txBody>
        </p:sp>
        <p:sp>
          <p:nvSpPr>
            <p:cNvPr id="261" name="Textfeld 260"/>
            <p:cNvSpPr txBox="1"/>
            <p:nvPr/>
          </p:nvSpPr>
          <p:spPr bwMode="gray">
            <a:xfrm>
              <a:off x="8977907" y="5233493"/>
              <a:ext cx="1224136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dirty="0"/>
                <a:t>f</a:t>
              </a:r>
              <a:r>
                <a:rPr lang="en-US" sz="1800" dirty="0" smtClean="0"/>
                <a:t>ilters per</a:t>
              </a:r>
              <a:br>
                <a:rPr lang="en-US" sz="1800" dirty="0" smtClean="0"/>
              </a:br>
              <a:r>
                <a:rPr lang="en-US" sz="1800" dirty="0" smtClean="0"/>
                <a:t>second</a:t>
              </a:r>
            </a:p>
          </p:txBody>
        </p:sp>
      </p:grpSp>
      <p:grpSp>
        <p:nvGrpSpPr>
          <p:cNvPr id="36882" name="Gruppieren 36881"/>
          <p:cNvGrpSpPr/>
          <p:nvPr>
            <p:custDataLst>
              <p:tags r:id="rId5"/>
            </p:custDataLst>
          </p:nvPr>
        </p:nvGrpSpPr>
        <p:grpSpPr>
          <a:xfrm>
            <a:off x="3926269" y="4554646"/>
            <a:ext cx="3168352" cy="858697"/>
            <a:chOff x="3217267" y="4662798"/>
            <a:chExt cx="3168352" cy="858697"/>
          </a:xfrm>
        </p:grpSpPr>
        <p:sp>
          <p:nvSpPr>
            <p:cNvPr id="218" name="Textfeld 217"/>
            <p:cNvSpPr txBox="1"/>
            <p:nvPr/>
          </p:nvSpPr>
          <p:spPr bwMode="gray">
            <a:xfrm>
              <a:off x="4044663" y="4662798"/>
              <a:ext cx="2340956" cy="8586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90000"/>
                </a:lnSpc>
                <a:buClr>
                  <a:schemeClr val="accent2"/>
                </a:buClr>
              </a:pPr>
              <a:r>
                <a:rPr lang="en-US" sz="4400" b="1" dirty="0" smtClean="0">
                  <a:solidFill>
                    <a:schemeClr val="accent2"/>
                  </a:solidFill>
                </a:rPr>
                <a:t>3,000</a:t>
              </a:r>
              <a:r>
                <a:rPr lang="en-US" sz="1600" b="1" dirty="0" smtClean="0">
                  <a:solidFill>
                    <a:schemeClr val="accent2"/>
                  </a:solidFill>
                </a:rPr>
                <a:t> </a:t>
              </a:r>
              <a:r>
                <a:rPr lang="en-US" dirty="0" smtClean="0"/>
                <a:t>p</a:t>
              </a:r>
              <a:r>
                <a:rPr lang="en-US" sz="1800" dirty="0" smtClean="0"/>
                <a:t>atents</a:t>
              </a:r>
              <a:br>
                <a:rPr lang="en-US" sz="1800" dirty="0" smtClean="0"/>
              </a:br>
              <a:r>
                <a:rPr lang="en-US" sz="1800" dirty="0" smtClean="0"/>
                <a:t>and applications</a:t>
              </a:r>
            </a:p>
          </p:txBody>
        </p:sp>
        <p:sp>
          <p:nvSpPr>
            <p:cNvPr id="36875" name="Freeform 31"/>
            <p:cNvSpPr>
              <a:spLocks noChangeAspect="1" noEditPoints="1"/>
            </p:cNvSpPr>
            <p:nvPr/>
          </p:nvSpPr>
          <p:spPr bwMode="auto">
            <a:xfrm>
              <a:off x="3217267" y="4725144"/>
              <a:ext cx="629582" cy="756000"/>
            </a:xfrm>
            <a:custGeom>
              <a:avLst/>
              <a:gdLst>
                <a:gd name="T0" fmla="*/ 84 w 4280"/>
                <a:gd name="T1" fmla="*/ 0 h 5136"/>
                <a:gd name="T2" fmla="*/ 0 w 4280"/>
                <a:gd name="T3" fmla="*/ 5052 h 5136"/>
                <a:gd name="T4" fmla="*/ 4196 w 4280"/>
                <a:gd name="T5" fmla="*/ 5136 h 5136"/>
                <a:gd name="T6" fmla="*/ 4280 w 4280"/>
                <a:gd name="T7" fmla="*/ 84 h 5136"/>
                <a:gd name="T8" fmla="*/ 4108 w 4280"/>
                <a:gd name="T9" fmla="*/ 4968 h 5136"/>
                <a:gd name="T10" fmla="*/ 172 w 4280"/>
                <a:gd name="T11" fmla="*/ 168 h 5136"/>
                <a:gd name="T12" fmla="*/ 4108 w 4280"/>
                <a:gd name="T13" fmla="*/ 4968 h 5136"/>
                <a:gd name="T14" fmla="*/ 2890 w 4280"/>
                <a:gd name="T15" fmla="*/ 3352 h 5136"/>
                <a:gd name="T16" fmla="*/ 2181 w 4280"/>
                <a:gd name="T17" fmla="*/ 2461 h 5136"/>
                <a:gd name="T18" fmla="*/ 1472 w 4280"/>
                <a:gd name="T19" fmla="*/ 3352 h 5136"/>
                <a:gd name="T20" fmla="*/ 823 w 4280"/>
                <a:gd name="T21" fmla="*/ 4430 h 5136"/>
                <a:gd name="T22" fmla="*/ 923 w 4280"/>
                <a:gd name="T23" fmla="*/ 4555 h 5136"/>
                <a:gd name="T24" fmla="*/ 1906 w 4280"/>
                <a:gd name="T25" fmla="*/ 4748 h 5136"/>
                <a:gd name="T26" fmla="*/ 1990 w 4280"/>
                <a:gd name="T27" fmla="*/ 4770 h 5136"/>
                <a:gd name="T28" fmla="*/ 2181 w 4280"/>
                <a:gd name="T29" fmla="*/ 4185 h 5136"/>
                <a:gd name="T30" fmla="*/ 2372 w 4280"/>
                <a:gd name="T31" fmla="*/ 4770 h 5136"/>
                <a:gd name="T32" fmla="*/ 2456 w 4280"/>
                <a:gd name="T33" fmla="*/ 4748 h 5136"/>
                <a:gd name="T34" fmla="*/ 3438 w 4280"/>
                <a:gd name="T35" fmla="*/ 4555 h 5136"/>
                <a:gd name="T36" fmla="*/ 3539 w 4280"/>
                <a:gd name="T37" fmla="*/ 4430 h 5136"/>
                <a:gd name="T38" fmla="*/ 2181 w 4280"/>
                <a:gd name="T39" fmla="*/ 2632 h 5136"/>
                <a:gd name="T40" fmla="*/ 2181 w 4280"/>
                <a:gd name="T41" fmla="*/ 3746 h 5136"/>
                <a:gd name="T42" fmla="*/ 2181 w 4280"/>
                <a:gd name="T43" fmla="*/ 2632 h 5136"/>
                <a:gd name="T44" fmla="*/ 1599 w 4280"/>
                <a:gd name="T45" fmla="*/ 4199 h 5136"/>
                <a:gd name="T46" fmla="*/ 1089 w 4280"/>
                <a:gd name="T47" fmla="*/ 4319 h 5136"/>
                <a:gd name="T48" fmla="*/ 2073 w 4280"/>
                <a:gd name="T49" fmla="*/ 3908 h 5136"/>
                <a:gd name="T50" fmla="*/ 2850 w 4280"/>
                <a:gd name="T51" fmla="*/ 4178 h 5136"/>
                <a:gd name="T52" fmla="*/ 2441 w 4280"/>
                <a:gd name="T53" fmla="*/ 4520 h 5136"/>
                <a:gd name="T54" fmla="*/ 2812 w 4280"/>
                <a:gd name="T55" fmla="*/ 3551 h 5136"/>
                <a:gd name="T56" fmla="*/ 2850 w 4280"/>
                <a:gd name="T57" fmla="*/ 4178 h 5136"/>
                <a:gd name="T58" fmla="*/ 1369 w 4280"/>
                <a:gd name="T59" fmla="*/ 856 h 5136"/>
                <a:gd name="T60" fmla="*/ 3168 w 4280"/>
                <a:gd name="T61" fmla="*/ 942 h 5136"/>
                <a:gd name="T62" fmla="*/ 1369 w 4280"/>
                <a:gd name="T63" fmla="*/ 1028 h 5136"/>
                <a:gd name="T64" fmla="*/ 1369 w 4280"/>
                <a:gd name="T65" fmla="*/ 2056 h 5136"/>
                <a:gd name="T66" fmla="*/ 1369 w 4280"/>
                <a:gd name="T67" fmla="*/ 1884 h 5136"/>
                <a:gd name="T68" fmla="*/ 3168 w 4280"/>
                <a:gd name="T69" fmla="*/ 1970 h 5136"/>
                <a:gd name="T70" fmla="*/ 1369 w 4280"/>
                <a:gd name="T71" fmla="*/ 2056 h 5136"/>
                <a:gd name="T72" fmla="*/ 684 w 4280"/>
                <a:gd name="T73" fmla="*/ 1368 h 5136"/>
                <a:gd name="T74" fmla="*/ 3682 w 4280"/>
                <a:gd name="T75" fmla="*/ 1454 h 5136"/>
                <a:gd name="T76" fmla="*/ 684 w 4280"/>
                <a:gd name="T77" fmla="*/ 1540 h 5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80" h="5136">
                  <a:moveTo>
                    <a:pt x="4196" y="0"/>
                  </a:moveTo>
                  <a:cubicBezTo>
                    <a:pt x="84" y="0"/>
                    <a:pt x="84" y="0"/>
                    <a:pt x="84" y="0"/>
                  </a:cubicBezTo>
                  <a:cubicBezTo>
                    <a:pt x="37" y="0"/>
                    <a:pt x="0" y="37"/>
                    <a:pt x="0" y="84"/>
                  </a:cubicBezTo>
                  <a:cubicBezTo>
                    <a:pt x="0" y="5052"/>
                    <a:pt x="0" y="5052"/>
                    <a:pt x="0" y="5052"/>
                  </a:cubicBezTo>
                  <a:cubicBezTo>
                    <a:pt x="0" y="5099"/>
                    <a:pt x="37" y="5136"/>
                    <a:pt x="84" y="5136"/>
                  </a:cubicBezTo>
                  <a:cubicBezTo>
                    <a:pt x="4196" y="5136"/>
                    <a:pt x="4196" y="5136"/>
                    <a:pt x="4196" y="5136"/>
                  </a:cubicBezTo>
                  <a:cubicBezTo>
                    <a:pt x="4243" y="5136"/>
                    <a:pt x="4280" y="5099"/>
                    <a:pt x="4280" y="5052"/>
                  </a:cubicBezTo>
                  <a:cubicBezTo>
                    <a:pt x="4280" y="84"/>
                    <a:pt x="4280" y="84"/>
                    <a:pt x="4280" y="84"/>
                  </a:cubicBezTo>
                  <a:cubicBezTo>
                    <a:pt x="4280" y="37"/>
                    <a:pt x="4243" y="0"/>
                    <a:pt x="4196" y="0"/>
                  </a:cubicBezTo>
                  <a:close/>
                  <a:moveTo>
                    <a:pt x="4108" y="4968"/>
                  </a:moveTo>
                  <a:cubicBezTo>
                    <a:pt x="172" y="4968"/>
                    <a:pt x="172" y="4968"/>
                    <a:pt x="172" y="4968"/>
                  </a:cubicBezTo>
                  <a:cubicBezTo>
                    <a:pt x="172" y="168"/>
                    <a:pt x="172" y="168"/>
                    <a:pt x="172" y="168"/>
                  </a:cubicBezTo>
                  <a:cubicBezTo>
                    <a:pt x="4108" y="168"/>
                    <a:pt x="4108" y="168"/>
                    <a:pt x="4108" y="168"/>
                  </a:cubicBezTo>
                  <a:lnTo>
                    <a:pt x="4108" y="4968"/>
                  </a:lnTo>
                  <a:close/>
                  <a:moveTo>
                    <a:pt x="2897" y="3359"/>
                  </a:moveTo>
                  <a:cubicBezTo>
                    <a:pt x="2895" y="3356"/>
                    <a:pt x="2892" y="3354"/>
                    <a:pt x="2890" y="3352"/>
                  </a:cubicBezTo>
                  <a:cubicBezTo>
                    <a:pt x="2902" y="3299"/>
                    <a:pt x="2909" y="3245"/>
                    <a:pt x="2909" y="3189"/>
                  </a:cubicBezTo>
                  <a:cubicBezTo>
                    <a:pt x="2909" y="2788"/>
                    <a:pt x="2582" y="2461"/>
                    <a:pt x="2181" y="2461"/>
                  </a:cubicBezTo>
                  <a:cubicBezTo>
                    <a:pt x="1779" y="2461"/>
                    <a:pt x="1453" y="2788"/>
                    <a:pt x="1453" y="3189"/>
                  </a:cubicBezTo>
                  <a:cubicBezTo>
                    <a:pt x="1453" y="3245"/>
                    <a:pt x="1460" y="3299"/>
                    <a:pt x="1472" y="3352"/>
                  </a:cubicBezTo>
                  <a:cubicBezTo>
                    <a:pt x="1470" y="3354"/>
                    <a:pt x="1467" y="3356"/>
                    <a:pt x="1465" y="3359"/>
                  </a:cubicBezTo>
                  <a:cubicBezTo>
                    <a:pt x="823" y="4430"/>
                    <a:pt x="823" y="4430"/>
                    <a:pt x="823" y="4430"/>
                  </a:cubicBezTo>
                  <a:cubicBezTo>
                    <a:pt x="804" y="4460"/>
                    <a:pt x="807" y="4499"/>
                    <a:pt x="829" y="4527"/>
                  </a:cubicBezTo>
                  <a:cubicBezTo>
                    <a:pt x="852" y="4555"/>
                    <a:pt x="889" y="4566"/>
                    <a:pt x="923" y="4555"/>
                  </a:cubicBezTo>
                  <a:cubicBezTo>
                    <a:pt x="1515" y="4358"/>
                    <a:pt x="1515" y="4358"/>
                    <a:pt x="1515" y="4358"/>
                  </a:cubicBezTo>
                  <a:cubicBezTo>
                    <a:pt x="1906" y="4748"/>
                    <a:pt x="1906" y="4748"/>
                    <a:pt x="1906" y="4748"/>
                  </a:cubicBezTo>
                  <a:cubicBezTo>
                    <a:pt x="1922" y="4765"/>
                    <a:pt x="1944" y="4774"/>
                    <a:pt x="1967" y="4774"/>
                  </a:cubicBezTo>
                  <a:cubicBezTo>
                    <a:pt x="1974" y="4774"/>
                    <a:pt x="1982" y="4773"/>
                    <a:pt x="1990" y="4770"/>
                  </a:cubicBezTo>
                  <a:cubicBezTo>
                    <a:pt x="2019" y="4762"/>
                    <a:pt x="2042" y="4739"/>
                    <a:pt x="2050" y="4709"/>
                  </a:cubicBezTo>
                  <a:cubicBezTo>
                    <a:pt x="2181" y="4185"/>
                    <a:pt x="2181" y="4185"/>
                    <a:pt x="2181" y="4185"/>
                  </a:cubicBezTo>
                  <a:cubicBezTo>
                    <a:pt x="2312" y="4709"/>
                    <a:pt x="2312" y="4709"/>
                    <a:pt x="2312" y="4709"/>
                  </a:cubicBezTo>
                  <a:cubicBezTo>
                    <a:pt x="2319" y="4739"/>
                    <a:pt x="2342" y="4762"/>
                    <a:pt x="2372" y="4770"/>
                  </a:cubicBezTo>
                  <a:cubicBezTo>
                    <a:pt x="2380" y="4773"/>
                    <a:pt x="2387" y="4774"/>
                    <a:pt x="2395" y="4774"/>
                  </a:cubicBezTo>
                  <a:cubicBezTo>
                    <a:pt x="2417" y="4774"/>
                    <a:pt x="2439" y="4765"/>
                    <a:pt x="2456" y="4748"/>
                  </a:cubicBezTo>
                  <a:cubicBezTo>
                    <a:pt x="2846" y="4358"/>
                    <a:pt x="2846" y="4358"/>
                    <a:pt x="2846" y="4358"/>
                  </a:cubicBezTo>
                  <a:cubicBezTo>
                    <a:pt x="3438" y="4555"/>
                    <a:pt x="3438" y="4555"/>
                    <a:pt x="3438" y="4555"/>
                  </a:cubicBezTo>
                  <a:cubicBezTo>
                    <a:pt x="3472" y="4567"/>
                    <a:pt x="3510" y="4555"/>
                    <a:pt x="3532" y="4527"/>
                  </a:cubicBezTo>
                  <a:cubicBezTo>
                    <a:pt x="3555" y="4499"/>
                    <a:pt x="3557" y="4460"/>
                    <a:pt x="3539" y="4430"/>
                  </a:cubicBezTo>
                  <a:lnTo>
                    <a:pt x="2897" y="3359"/>
                  </a:lnTo>
                  <a:close/>
                  <a:moveTo>
                    <a:pt x="2181" y="2632"/>
                  </a:moveTo>
                  <a:cubicBezTo>
                    <a:pt x="2488" y="2632"/>
                    <a:pt x="2738" y="2882"/>
                    <a:pt x="2738" y="3189"/>
                  </a:cubicBezTo>
                  <a:cubicBezTo>
                    <a:pt x="2738" y="3496"/>
                    <a:pt x="2488" y="3746"/>
                    <a:pt x="2181" y="3746"/>
                  </a:cubicBezTo>
                  <a:cubicBezTo>
                    <a:pt x="1874" y="3746"/>
                    <a:pt x="1624" y="3496"/>
                    <a:pt x="1624" y="3189"/>
                  </a:cubicBezTo>
                  <a:cubicBezTo>
                    <a:pt x="1624" y="2882"/>
                    <a:pt x="1874" y="2632"/>
                    <a:pt x="2181" y="2632"/>
                  </a:cubicBezTo>
                  <a:close/>
                  <a:moveTo>
                    <a:pt x="1920" y="4520"/>
                  </a:moveTo>
                  <a:cubicBezTo>
                    <a:pt x="1599" y="4199"/>
                    <a:pt x="1599" y="4199"/>
                    <a:pt x="1599" y="4199"/>
                  </a:cubicBezTo>
                  <a:cubicBezTo>
                    <a:pt x="1576" y="4176"/>
                    <a:pt x="1542" y="4168"/>
                    <a:pt x="1511" y="4178"/>
                  </a:cubicBezTo>
                  <a:cubicBezTo>
                    <a:pt x="1089" y="4319"/>
                    <a:pt x="1089" y="4319"/>
                    <a:pt x="1089" y="4319"/>
                  </a:cubicBezTo>
                  <a:cubicBezTo>
                    <a:pt x="1550" y="3551"/>
                    <a:pt x="1550" y="3551"/>
                    <a:pt x="1550" y="3551"/>
                  </a:cubicBezTo>
                  <a:cubicBezTo>
                    <a:pt x="1659" y="3740"/>
                    <a:pt x="1849" y="3875"/>
                    <a:pt x="2073" y="3908"/>
                  </a:cubicBezTo>
                  <a:lnTo>
                    <a:pt x="1920" y="4520"/>
                  </a:lnTo>
                  <a:close/>
                  <a:moveTo>
                    <a:pt x="2850" y="4178"/>
                  </a:moveTo>
                  <a:cubicBezTo>
                    <a:pt x="2819" y="4168"/>
                    <a:pt x="2786" y="4176"/>
                    <a:pt x="2763" y="4199"/>
                  </a:cubicBezTo>
                  <a:cubicBezTo>
                    <a:pt x="2441" y="4520"/>
                    <a:pt x="2441" y="4520"/>
                    <a:pt x="2441" y="4520"/>
                  </a:cubicBezTo>
                  <a:cubicBezTo>
                    <a:pt x="2288" y="3908"/>
                    <a:pt x="2288" y="3908"/>
                    <a:pt x="2288" y="3908"/>
                  </a:cubicBezTo>
                  <a:cubicBezTo>
                    <a:pt x="2512" y="3875"/>
                    <a:pt x="2703" y="3740"/>
                    <a:pt x="2812" y="3551"/>
                  </a:cubicBezTo>
                  <a:cubicBezTo>
                    <a:pt x="3273" y="4319"/>
                    <a:pt x="3273" y="4319"/>
                    <a:pt x="3273" y="4319"/>
                  </a:cubicBezTo>
                  <a:lnTo>
                    <a:pt x="2850" y="4178"/>
                  </a:lnTo>
                  <a:close/>
                  <a:moveTo>
                    <a:pt x="1283" y="942"/>
                  </a:moveTo>
                  <a:cubicBezTo>
                    <a:pt x="1283" y="895"/>
                    <a:pt x="1322" y="856"/>
                    <a:pt x="1369" y="856"/>
                  </a:cubicBezTo>
                  <a:cubicBezTo>
                    <a:pt x="3082" y="856"/>
                    <a:pt x="3082" y="856"/>
                    <a:pt x="3082" y="856"/>
                  </a:cubicBezTo>
                  <a:cubicBezTo>
                    <a:pt x="3129" y="856"/>
                    <a:pt x="3168" y="895"/>
                    <a:pt x="3168" y="942"/>
                  </a:cubicBezTo>
                  <a:cubicBezTo>
                    <a:pt x="3168" y="989"/>
                    <a:pt x="3129" y="1028"/>
                    <a:pt x="3082" y="1028"/>
                  </a:cubicBezTo>
                  <a:cubicBezTo>
                    <a:pt x="1369" y="1028"/>
                    <a:pt x="1369" y="1028"/>
                    <a:pt x="1369" y="1028"/>
                  </a:cubicBezTo>
                  <a:cubicBezTo>
                    <a:pt x="1322" y="1028"/>
                    <a:pt x="1283" y="989"/>
                    <a:pt x="1283" y="942"/>
                  </a:cubicBezTo>
                  <a:close/>
                  <a:moveTo>
                    <a:pt x="1369" y="2056"/>
                  </a:moveTo>
                  <a:cubicBezTo>
                    <a:pt x="1322" y="2056"/>
                    <a:pt x="1283" y="2017"/>
                    <a:pt x="1283" y="1970"/>
                  </a:cubicBezTo>
                  <a:cubicBezTo>
                    <a:pt x="1283" y="1923"/>
                    <a:pt x="1322" y="1884"/>
                    <a:pt x="1369" y="1884"/>
                  </a:cubicBezTo>
                  <a:cubicBezTo>
                    <a:pt x="3082" y="1884"/>
                    <a:pt x="3082" y="1884"/>
                    <a:pt x="3082" y="1884"/>
                  </a:cubicBezTo>
                  <a:cubicBezTo>
                    <a:pt x="3129" y="1884"/>
                    <a:pt x="3168" y="1923"/>
                    <a:pt x="3168" y="1970"/>
                  </a:cubicBezTo>
                  <a:cubicBezTo>
                    <a:pt x="3168" y="2017"/>
                    <a:pt x="3129" y="2056"/>
                    <a:pt x="3082" y="2056"/>
                  </a:cubicBezTo>
                  <a:lnTo>
                    <a:pt x="1369" y="2056"/>
                  </a:lnTo>
                  <a:close/>
                  <a:moveTo>
                    <a:pt x="598" y="1454"/>
                  </a:moveTo>
                  <a:cubicBezTo>
                    <a:pt x="598" y="1407"/>
                    <a:pt x="637" y="1368"/>
                    <a:pt x="684" y="1368"/>
                  </a:cubicBezTo>
                  <a:cubicBezTo>
                    <a:pt x="3596" y="1368"/>
                    <a:pt x="3596" y="1368"/>
                    <a:pt x="3596" y="1368"/>
                  </a:cubicBezTo>
                  <a:cubicBezTo>
                    <a:pt x="3643" y="1368"/>
                    <a:pt x="3682" y="1407"/>
                    <a:pt x="3682" y="1454"/>
                  </a:cubicBezTo>
                  <a:cubicBezTo>
                    <a:pt x="3682" y="1501"/>
                    <a:pt x="3643" y="1540"/>
                    <a:pt x="3596" y="1540"/>
                  </a:cubicBezTo>
                  <a:cubicBezTo>
                    <a:pt x="684" y="1540"/>
                    <a:pt x="684" y="1540"/>
                    <a:pt x="684" y="1540"/>
                  </a:cubicBezTo>
                  <a:cubicBezTo>
                    <a:pt x="637" y="1540"/>
                    <a:pt x="598" y="1501"/>
                    <a:pt x="598" y="1454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36888" name="Gruppieren 36887"/>
          <p:cNvGrpSpPr/>
          <p:nvPr>
            <p:custDataLst>
              <p:tags r:id="rId6"/>
            </p:custDataLst>
          </p:nvPr>
        </p:nvGrpSpPr>
        <p:grpSpPr>
          <a:xfrm>
            <a:off x="4769429" y="1305231"/>
            <a:ext cx="2178241" cy="954107"/>
            <a:chOff x="5071872" y="188640"/>
            <a:chExt cx="2178241" cy="954107"/>
          </a:xfrm>
        </p:grpSpPr>
        <p:sp>
          <p:nvSpPr>
            <p:cNvPr id="213" name="Textfeld 212"/>
            <p:cNvSpPr txBox="1"/>
            <p:nvPr/>
          </p:nvSpPr>
          <p:spPr bwMode="gray">
            <a:xfrm>
              <a:off x="5665539" y="188640"/>
              <a:ext cx="1584574" cy="95410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r>
                <a:rPr lang="en-US" sz="1800" dirty="0" smtClean="0"/>
                <a:t>Founded in  </a:t>
              </a:r>
            </a:p>
            <a:p>
              <a:pPr>
                <a:buClr>
                  <a:schemeClr val="accent2"/>
                </a:buClr>
              </a:pPr>
              <a:r>
                <a:rPr lang="en-US" sz="1800" dirty="0" smtClean="0"/>
                <a:t>  </a:t>
              </a:r>
              <a:r>
                <a:rPr lang="en-US" sz="4400" b="1" dirty="0" smtClean="0">
                  <a:solidFill>
                    <a:schemeClr val="accent2"/>
                  </a:solidFill>
                </a:rPr>
                <a:t>1941</a:t>
              </a:r>
            </a:p>
          </p:txBody>
        </p:sp>
        <p:sp>
          <p:nvSpPr>
            <p:cNvPr id="36887" name="Freeform 41"/>
            <p:cNvSpPr>
              <a:spLocks noChangeAspect="1" noEditPoints="1"/>
            </p:cNvSpPr>
            <p:nvPr/>
          </p:nvSpPr>
          <p:spPr bwMode="auto">
            <a:xfrm>
              <a:off x="5071872" y="188736"/>
              <a:ext cx="565539" cy="828000"/>
            </a:xfrm>
            <a:custGeom>
              <a:avLst/>
              <a:gdLst>
                <a:gd name="T0" fmla="*/ 2494 w 2511"/>
                <a:gd name="T1" fmla="*/ 2180 h 3677"/>
                <a:gd name="T2" fmla="*/ 2445 w 2511"/>
                <a:gd name="T3" fmla="*/ 2157 h 3677"/>
                <a:gd name="T4" fmla="*/ 66 w 2511"/>
                <a:gd name="T5" fmla="*/ 2157 h 3677"/>
                <a:gd name="T6" fmla="*/ 17 w 2511"/>
                <a:gd name="T7" fmla="*/ 2180 h 3677"/>
                <a:gd name="T8" fmla="*/ 4 w 2511"/>
                <a:gd name="T9" fmla="*/ 2233 h 3677"/>
                <a:gd name="T10" fmla="*/ 301 w 2511"/>
                <a:gd name="T11" fmla="*/ 3627 h 3677"/>
                <a:gd name="T12" fmla="*/ 363 w 2511"/>
                <a:gd name="T13" fmla="*/ 3677 h 3677"/>
                <a:gd name="T14" fmla="*/ 2147 w 2511"/>
                <a:gd name="T15" fmla="*/ 3677 h 3677"/>
                <a:gd name="T16" fmla="*/ 2209 w 2511"/>
                <a:gd name="T17" fmla="*/ 3627 h 3677"/>
                <a:gd name="T18" fmla="*/ 2507 w 2511"/>
                <a:gd name="T19" fmla="*/ 2232 h 3677"/>
                <a:gd name="T20" fmla="*/ 2494 w 2511"/>
                <a:gd name="T21" fmla="*/ 2180 h 3677"/>
                <a:gd name="T22" fmla="*/ 2366 w 2511"/>
                <a:gd name="T23" fmla="*/ 2281 h 3677"/>
                <a:gd name="T24" fmla="*/ 2339 w 2511"/>
                <a:gd name="T25" fmla="*/ 2409 h 3677"/>
                <a:gd name="T26" fmla="*/ 171 w 2511"/>
                <a:gd name="T27" fmla="*/ 2409 h 3677"/>
                <a:gd name="T28" fmla="*/ 144 w 2511"/>
                <a:gd name="T29" fmla="*/ 2281 h 3677"/>
                <a:gd name="T30" fmla="*/ 2366 w 2511"/>
                <a:gd name="T31" fmla="*/ 2281 h 3677"/>
                <a:gd name="T32" fmla="*/ 2096 w 2511"/>
                <a:gd name="T33" fmla="*/ 3549 h 3677"/>
                <a:gd name="T34" fmla="*/ 415 w 2511"/>
                <a:gd name="T35" fmla="*/ 3549 h 3677"/>
                <a:gd name="T36" fmla="*/ 198 w 2511"/>
                <a:gd name="T37" fmla="*/ 2537 h 3677"/>
                <a:gd name="T38" fmla="*/ 2312 w 2511"/>
                <a:gd name="T39" fmla="*/ 2537 h 3677"/>
                <a:gd name="T40" fmla="*/ 2096 w 2511"/>
                <a:gd name="T41" fmla="*/ 3549 h 3677"/>
                <a:gd name="T42" fmla="*/ 1106 w 2511"/>
                <a:gd name="T43" fmla="*/ 1244 h 3677"/>
                <a:gd name="T44" fmla="*/ 426 w 2511"/>
                <a:gd name="T45" fmla="*/ 953 h 3677"/>
                <a:gd name="T46" fmla="*/ 359 w 2511"/>
                <a:gd name="T47" fmla="*/ 1010 h 3677"/>
                <a:gd name="T48" fmla="*/ 574 w 2511"/>
                <a:gd name="T49" fmla="*/ 1649 h 3677"/>
                <a:gd name="T50" fmla="*/ 1120 w 2511"/>
                <a:gd name="T51" fmla="*/ 1862 h 3677"/>
                <a:gd name="T52" fmla="*/ 1146 w 2511"/>
                <a:gd name="T53" fmla="*/ 1861 h 3677"/>
                <a:gd name="T54" fmla="*/ 1146 w 2511"/>
                <a:gd name="T55" fmla="*/ 2029 h 3677"/>
                <a:gd name="T56" fmla="*/ 1210 w 2511"/>
                <a:gd name="T57" fmla="*/ 2092 h 3677"/>
                <a:gd name="T58" fmla="*/ 1274 w 2511"/>
                <a:gd name="T59" fmla="*/ 2029 h 3677"/>
                <a:gd name="T60" fmla="*/ 1274 w 2511"/>
                <a:gd name="T61" fmla="*/ 1383 h 3677"/>
                <a:gd name="T62" fmla="*/ 1349 w 2511"/>
                <a:gd name="T63" fmla="*/ 1387 h 3677"/>
                <a:gd name="T64" fmla="*/ 1895 w 2511"/>
                <a:gd name="T65" fmla="*/ 1173 h 3677"/>
                <a:gd name="T66" fmla="*/ 2109 w 2511"/>
                <a:gd name="T67" fmla="*/ 534 h 3677"/>
                <a:gd name="T68" fmla="*/ 2043 w 2511"/>
                <a:gd name="T69" fmla="*/ 477 h 3677"/>
                <a:gd name="T70" fmla="*/ 1363 w 2511"/>
                <a:gd name="T71" fmla="*/ 768 h 3677"/>
                <a:gd name="T72" fmla="*/ 1274 w 2511"/>
                <a:gd name="T73" fmla="*/ 903 h 3677"/>
                <a:gd name="T74" fmla="*/ 1274 w 2511"/>
                <a:gd name="T75" fmla="*/ 380 h 3677"/>
                <a:gd name="T76" fmla="*/ 1210 w 2511"/>
                <a:gd name="T77" fmla="*/ 316 h 3677"/>
                <a:gd name="T78" fmla="*/ 1152 w 2511"/>
                <a:gd name="T79" fmla="*/ 353 h 3677"/>
                <a:gd name="T80" fmla="*/ 1106 w 2511"/>
                <a:gd name="T81" fmla="*/ 292 h 3677"/>
                <a:gd name="T82" fmla="*/ 426 w 2511"/>
                <a:gd name="T83" fmla="*/ 1 h 3677"/>
                <a:gd name="T84" fmla="*/ 359 w 2511"/>
                <a:gd name="T85" fmla="*/ 58 h 3677"/>
                <a:gd name="T86" fmla="*/ 574 w 2511"/>
                <a:gd name="T87" fmla="*/ 697 h 3677"/>
                <a:gd name="T88" fmla="*/ 1120 w 2511"/>
                <a:gd name="T89" fmla="*/ 911 h 3677"/>
                <a:gd name="T90" fmla="*/ 1146 w 2511"/>
                <a:gd name="T91" fmla="*/ 910 h 3677"/>
                <a:gd name="T92" fmla="*/ 1146 w 2511"/>
                <a:gd name="T93" fmla="*/ 1296 h 3677"/>
                <a:gd name="T94" fmla="*/ 1106 w 2511"/>
                <a:gd name="T95" fmla="*/ 1244 h 3677"/>
                <a:gd name="T96" fmla="*/ 664 w 2511"/>
                <a:gd name="T97" fmla="*/ 1560 h 3677"/>
                <a:gd name="T98" fmla="*/ 482 w 2511"/>
                <a:gd name="T99" fmla="*/ 1084 h 3677"/>
                <a:gd name="T100" fmla="*/ 1010 w 2511"/>
                <a:gd name="T101" fmla="*/ 1327 h 3677"/>
                <a:gd name="T102" fmla="*/ 1145 w 2511"/>
                <a:gd name="T103" fmla="*/ 1735 h 3677"/>
                <a:gd name="T104" fmla="*/ 664 w 2511"/>
                <a:gd name="T105" fmla="*/ 1560 h 3677"/>
                <a:gd name="T106" fmla="*/ 1458 w 2511"/>
                <a:gd name="T107" fmla="*/ 851 h 3677"/>
                <a:gd name="T108" fmla="*/ 1986 w 2511"/>
                <a:gd name="T109" fmla="*/ 608 h 3677"/>
                <a:gd name="T110" fmla="*/ 1804 w 2511"/>
                <a:gd name="T111" fmla="*/ 1084 h 3677"/>
                <a:gd name="T112" fmla="*/ 1323 w 2511"/>
                <a:gd name="T113" fmla="*/ 1259 h 3677"/>
                <a:gd name="T114" fmla="*/ 1458 w 2511"/>
                <a:gd name="T115" fmla="*/ 851 h 3677"/>
                <a:gd name="T116" fmla="*/ 664 w 2511"/>
                <a:gd name="T117" fmla="*/ 608 h 3677"/>
                <a:gd name="T118" fmla="*/ 482 w 2511"/>
                <a:gd name="T119" fmla="*/ 133 h 3677"/>
                <a:gd name="T120" fmla="*/ 1010 w 2511"/>
                <a:gd name="T121" fmla="*/ 375 h 3677"/>
                <a:gd name="T122" fmla="*/ 1145 w 2511"/>
                <a:gd name="T123" fmla="*/ 784 h 3677"/>
                <a:gd name="T124" fmla="*/ 664 w 2511"/>
                <a:gd name="T125" fmla="*/ 608 h 3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1" h="3677">
                  <a:moveTo>
                    <a:pt x="2494" y="2180"/>
                  </a:moveTo>
                  <a:cubicBezTo>
                    <a:pt x="2482" y="2165"/>
                    <a:pt x="2464" y="2157"/>
                    <a:pt x="2445" y="2157"/>
                  </a:cubicBezTo>
                  <a:cubicBezTo>
                    <a:pt x="66" y="2157"/>
                    <a:pt x="66" y="2157"/>
                    <a:pt x="66" y="2157"/>
                  </a:cubicBezTo>
                  <a:cubicBezTo>
                    <a:pt x="47" y="2157"/>
                    <a:pt x="29" y="2165"/>
                    <a:pt x="17" y="2180"/>
                  </a:cubicBezTo>
                  <a:cubicBezTo>
                    <a:pt x="5" y="2195"/>
                    <a:pt x="0" y="2214"/>
                    <a:pt x="4" y="2233"/>
                  </a:cubicBezTo>
                  <a:cubicBezTo>
                    <a:pt x="301" y="3627"/>
                    <a:pt x="301" y="3627"/>
                    <a:pt x="301" y="3627"/>
                  </a:cubicBezTo>
                  <a:cubicBezTo>
                    <a:pt x="308" y="3657"/>
                    <a:pt x="333" y="3677"/>
                    <a:pt x="363" y="3677"/>
                  </a:cubicBezTo>
                  <a:cubicBezTo>
                    <a:pt x="2147" y="3677"/>
                    <a:pt x="2147" y="3677"/>
                    <a:pt x="2147" y="3677"/>
                  </a:cubicBezTo>
                  <a:cubicBezTo>
                    <a:pt x="2177" y="3677"/>
                    <a:pt x="2203" y="3656"/>
                    <a:pt x="2209" y="3627"/>
                  </a:cubicBezTo>
                  <a:cubicBezTo>
                    <a:pt x="2507" y="2232"/>
                    <a:pt x="2507" y="2232"/>
                    <a:pt x="2507" y="2232"/>
                  </a:cubicBezTo>
                  <a:cubicBezTo>
                    <a:pt x="2511" y="2214"/>
                    <a:pt x="2506" y="2195"/>
                    <a:pt x="2494" y="2180"/>
                  </a:cubicBezTo>
                  <a:close/>
                  <a:moveTo>
                    <a:pt x="2366" y="2281"/>
                  </a:moveTo>
                  <a:cubicBezTo>
                    <a:pt x="2339" y="2409"/>
                    <a:pt x="2339" y="2409"/>
                    <a:pt x="2339" y="2409"/>
                  </a:cubicBezTo>
                  <a:cubicBezTo>
                    <a:pt x="171" y="2409"/>
                    <a:pt x="171" y="2409"/>
                    <a:pt x="171" y="2409"/>
                  </a:cubicBezTo>
                  <a:cubicBezTo>
                    <a:pt x="144" y="2281"/>
                    <a:pt x="144" y="2281"/>
                    <a:pt x="144" y="2281"/>
                  </a:cubicBezTo>
                  <a:lnTo>
                    <a:pt x="2366" y="2281"/>
                  </a:lnTo>
                  <a:close/>
                  <a:moveTo>
                    <a:pt x="2096" y="3549"/>
                  </a:moveTo>
                  <a:cubicBezTo>
                    <a:pt x="415" y="3549"/>
                    <a:pt x="415" y="3549"/>
                    <a:pt x="415" y="3549"/>
                  </a:cubicBezTo>
                  <a:cubicBezTo>
                    <a:pt x="198" y="2537"/>
                    <a:pt x="198" y="2537"/>
                    <a:pt x="198" y="2537"/>
                  </a:cubicBezTo>
                  <a:cubicBezTo>
                    <a:pt x="2312" y="2537"/>
                    <a:pt x="2312" y="2537"/>
                    <a:pt x="2312" y="2537"/>
                  </a:cubicBezTo>
                  <a:lnTo>
                    <a:pt x="2096" y="3549"/>
                  </a:lnTo>
                  <a:close/>
                  <a:moveTo>
                    <a:pt x="1106" y="1244"/>
                  </a:moveTo>
                  <a:cubicBezTo>
                    <a:pt x="957" y="1071"/>
                    <a:pt x="715" y="967"/>
                    <a:pt x="426" y="953"/>
                  </a:cubicBezTo>
                  <a:cubicBezTo>
                    <a:pt x="392" y="951"/>
                    <a:pt x="362" y="976"/>
                    <a:pt x="359" y="1010"/>
                  </a:cubicBezTo>
                  <a:cubicBezTo>
                    <a:pt x="336" y="1250"/>
                    <a:pt x="416" y="1489"/>
                    <a:pt x="574" y="1649"/>
                  </a:cubicBezTo>
                  <a:cubicBezTo>
                    <a:pt x="673" y="1749"/>
                    <a:pt x="846" y="1862"/>
                    <a:pt x="1120" y="1862"/>
                  </a:cubicBezTo>
                  <a:cubicBezTo>
                    <a:pt x="1128" y="1862"/>
                    <a:pt x="1138" y="1861"/>
                    <a:pt x="1146" y="1861"/>
                  </a:cubicBezTo>
                  <a:cubicBezTo>
                    <a:pt x="1146" y="2029"/>
                    <a:pt x="1146" y="2029"/>
                    <a:pt x="1146" y="2029"/>
                  </a:cubicBezTo>
                  <a:cubicBezTo>
                    <a:pt x="1146" y="2064"/>
                    <a:pt x="1175" y="2092"/>
                    <a:pt x="1210" y="2092"/>
                  </a:cubicBezTo>
                  <a:cubicBezTo>
                    <a:pt x="1245" y="2092"/>
                    <a:pt x="1274" y="2064"/>
                    <a:pt x="1274" y="2029"/>
                  </a:cubicBezTo>
                  <a:cubicBezTo>
                    <a:pt x="1274" y="1383"/>
                    <a:pt x="1274" y="1383"/>
                    <a:pt x="1274" y="1383"/>
                  </a:cubicBezTo>
                  <a:cubicBezTo>
                    <a:pt x="1298" y="1385"/>
                    <a:pt x="1325" y="1387"/>
                    <a:pt x="1349" y="1387"/>
                  </a:cubicBezTo>
                  <a:cubicBezTo>
                    <a:pt x="1623" y="1387"/>
                    <a:pt x="1796" y="1274"/>
                    <a:pt x="1895" y="1173"/>
                  </a:cubicBezTo>
                  <a:cubicBezTo>
                    <a:pt x="2053" y="1013"/>
                    <a:pt x="2133" y="774"/>
                    <a:pt x="2109" y="534"/>
                  </a:cubicBezTo>
                  <a:cubicBezTo>
                    <a:pt x="2106" y="500"/>
                    <a:pt x="2076" y="475"/>
                    <a:pt x="2043" y="477"/>
                  </a:cubicBezTo>
                  <a:cubicBezTo>
                    <a:pt x="1753" y="492"/>
                    <a:pt x="1512" y="595"/>
                    <a:pt x="1363" y="768"/>
                  </a:cubicBezTo>
                  <a:cubicBezTo>
                    <a:pt x="1327" y="810"/>
                    <a:pt x="1298" y="855"/>
                    <a:pt x="1274" y="903"/>
                  </a:cubicBezTo>
                  <a:cubicBezTo>
                    <a:pt x="1274" y="380"/>
                    <a:pt x="1274" y="380"/>
                    <a:pt x="1274" y="380"/>
                  </a:cubicBezTo>
                  <a:cubicBezTo>
                    <a:pt x="1274" y="345"/>
                    <a:pt x="1245" y="316"/>
                    <a:pt x="1210" y="316"/>
                  </a:cubicBezTo>
                  <a:cubicBezTo>
                    <a:pt x="1184" y="316"/>
                    <a:pt x="1163" y="331"/>
                    <a:pt x="1152" y="353"/>
                  </a:cubicBezTo>
                  <a:cubicBezTo>
                    <a:pt x="1138" y="332"/>
                    <a:pt x="1123" y="312"/>
                    <a:pt x="1106" y="292"/>
                  </a:cubicBezTo>
                  <a:cubicBezTo>
                    <a:pt x="957" y="120"/>
                    <a:pt x="715" y="16"/>
                    <a:pt x="426" y="1"/>
                  </a:cubicBezTo>
                  <a:cubicBezTo>
                    <a:pt x="392" y="0"/>
                    <a:pt x="362" y="25"/>
                    <a:pt x="359" y="58"/>
                  </a:cubicBezTo>
                  <a:cubicBezTo>
                    <a:pt x="336" y="299"/>
                    <a:pt x="416" y="538"/>
                    <a:pt x="574" y="697"/>
                  </a:cubicBezTo>
                  <a:cubicBezTo>
                    <a:pt x="673" y="798"/>
                    <a:pt x="846" y="911"/>
                    <a:pt x="1120" y="911"/>
                  </a:cubicBezTo>
                  <a:cubicBezTo>
                    <a:pt x="1128" y="911"/>
                    <a:pt x="1138" y="910"/>
                    <a:pt x="1146" y="910"/>
                  </a:cubicBezTo>
                  <a:cubicBezTo>
                    <a:pt x="1146" y="1296"/>
                    <a:pt x="1146" y="1296"/>
                    <a:pt x="1146" y="1296"/>
                  </a:cubicBezTo>
                  <a:cubicBezTo>
                    <a:pt x="1134" y="1278"/>
                    <a:pt x="1120" y="1260"/>
                    <a:pt x="1106" y="1244"/>
                  </a:cubicBezTo>
                  <a:close/>
                  <a:moveTo>
                    <a:pt x="664" y="1560"/>
                  </a:moveTo>
                  <a:cubicBezTo>
                    <a:pt x="546" y="1440"/>
                    <a:pt x="480" y="1266"/>
                    <a:pt x="482" y="1084"/>
                  </a:cubicBezTo>
                  <a:cubicBezTo>
                    <a:pt x="708" y="1107"/>
                    <a:pt x="894" y="1192"/>
                    <a:pt x="1010" y="1327"/>
                  </a:cubicBezTo>
                  <a:cubicBezTo>
                    <a:pt x="1103" y="1435"/>
                    <a:pt x="1150" y="1576"/>
                    <a:pt x="1145" y="1735"/>
                  </a:cubicBezTo>
                  <a:cubicBezTo>
                    <a:pt x="949" y="1741"/>
                    <a:pt x="783" y="1680"/>
                    <a:pt x="664" y="1560"/>
                  </a:cubicBezTo>
                  <a:close/>
                  <a:moveTo>
                    <a:pt x="1458" y="851"/>
                  </a:moveTo>
                  <a:cubicBezTo>
                    <a:pt x="1574" y="717"/>
                    <a:pt x="1760" y="632"/>
                    <a:pt x="1986" y="608"/>
                  </a:cubicBezTo>
                  <a:cubicBezTo>
                    <a:pt x="1988" y="790"/>
                    <a:pt x="1923" y="964"/>
                    <a:pt x="1804" y="1084"/>
                  </a:cubicBezTo>
                  <a:cubicBezTo>
                    <a:pt x="1685" y="1205"/>
                    <a:pt x="1519" y="1265"/>
                    <a:pt x="1323" y="1259"/>
                  </a:cubicBezTo>
                  <a:cubicBezTo>
                    <a:pt x="1318" y="1100"/>
                    <a:pt x="1365" y="960"/>
                    <a:pt x="1458" y="851"/>
                  </a:cubicBezTo>
                  <a:close/>
                  <a:moveTo>
                    <a:pt x="664" y="608"/>
                  </a:moveTo>
                  <a:cubicBezTo>
                    <a:pt x="546" y="489"/>
                    <a:pt x="480" y="314"/>
                    <a:pt x="482" y="133"/>
                  </a:cubicBezTo>
                  <a:cubicBezTo>
                    <a:pt x="708" y="156"/>
                    <a:pt x="894" y="241"/>
                    <a:pt x="1010" y="375"/>
                  </a:cubicBezTo>
                  <a:cubicBezTo>
                    <a:pt x="1103" y="484"/>
                    <a:pt x="1150" y="624"/>
                    <a:pt x="1145" y="784"/>
                  </a:cubicBezTo>
                  <a:cubicBezTo>
                    <a:pt x="949" y="789"/>
                    <a:pt x="783" y="729"/>
                    <a:pt x="664" y="608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grpSp>
        <p:nvGrpSpPr>
          <p:cNvPr id="25" name="Gruppieren 24"/>
          <p:cNvGrpSpPr/>
          <p:nvPr/>
        </p:nvGrpSpPr>
        <p:grpSpPr>
          <a:xfrm>
            <a:off x="973962" y="1305231"/>
            <a:ext cx="2974442" cy="1088020"/>
            <a:chOff x="1394953" y="1916832"/>
            <a:chExt cx="2974442" cy="1088020"/>
          </a:xfrm>
        </p:grpSpPr>
        <p:sp>
          <p:nvSpPr>
            <p:cNvPr id="280" name="Textfeld 279"/>
            <p:cNvSpPr txBox="1"/>
            <p:nvPr>
              <p:custDataLst>
                <p:tags r:id="rId8"/>
              </p:custDataLst>
            </p:nvPr>
          </p:nvSpPr>
          <p:spPr bwMode="gray">
            <a:xfrm>
              <a:off x="2449562" y="1916832"/>
              <a:ext cx="952500" cy="5272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buClr>
                  <a:schemeClr val="accent2"/>
                </a:buClr>
              </a:pPr>
              <a:r>
                <a:rPr lang="en-US" sz="4400" b="1" dirty="0" smtClean="0">
                  <a:solidFill>
                    <a:schemeClr val="accent2"/>
                  </a:solidFill>
                </a:rPr>
                <a:t>50</a:t>
              </a:r>
              <a:endParaRPr lang="en-US" dirty="0" smtClean="0"/>
            </a:p>
          </p:txBody>
        </p:sp>
        <p:sp>
          <p:nvSpPr>
            <p:cNvPr id="212" name="Textfeld 211"/>
            <p:cNvSpPr txBox="1"/>
            <p:nvPr/>
          </p:nvSpPr>
          <p:spPr bwMode="gray">
            <a:xfrm>
              <a:off x="2137147" y="2090756"/>
              <a:ext cx="2232248" cy="91409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buClr>
                  <a:schemeClr val="accent2"/>
                </a:buClr>
              </a:pPr>
              <a:r>
                <a:rPr lang="en-US" sz="1800" dirty="0" smtClean="0"/>
                <a:t>Top </a:t>
              </a:r>
              <a:br>
                <a:rPr lang="en-US" sz="1800" dirty="0" smtClean="0"/>
              </a:br>
              <a:r>
                <a:rPr lang="en-US" sz="1800" dirty="0" smtClean="0"/>
                <a:t>patent applicants</a:t>
              </a:r>
            </a:p>
            <a:p>
              <a:pPr>
                <a:lnSpc>
                  <a:spcPct val="110000"/>
                </a:lnSpc>
                <a:buClr>
                  <a:schemeClr val="accent2"/>
                </a:buClr>
              </a:pPr>
              <a:r>
                <a:rPr lang="en-US" dirty="0"/>
                <a:t>i</a:t>
              </a:r>
              <a:r>
                <a:rPr lang="en-US" dirty="0" smtClean="0"/>
                <a:t>n Germany</a:t>
              </a:r>
              <a:endParaRPr lang="en-US" sz="1800" dirty="0" smtClean="0"/>
            </a:p>
          </p:txBody>
        </p:sp>
        <p:sp>
          <p:nvSpPr>
            <p:cNvPr id="24" name="Freeform 24"/>
            <p:cNvSpPr>
              <a:spLocks noEditPoints="1"/>
            </p:cNvSpPr>
            <p:nvPr>
              <p:custDataLst>
                <p:tags r:id="rId9"/>
              </p:custDataLst>
            </p:nvPr>
          </p:nvSpPr>
          <p:spPr bwMode="auto">
            <a:xfrm>
              <a:off x="1394953" y="2014959"/>
              <a:ext cx="672307" cy="737394"/>
            </a:xfrm>
            <a:custGeom>
              <a:avLst/>
              <a:gdLst>
                <a:gd name="T0" fmla="*/ 370 w 436"/>
                <a:gd name="T1" fmla="*/ 175 h 478"/>
                <a:gd name="T2" fmla="*/ 276 w 436"/>
                <a:gd name="T3" fmla="*/ 112 h 478"/>
                <a:gd name="T4" fmla="*/ 241 w 436"/>
                <a:gd name="T5" fmla="*/ 3 h 478"/>
                <a:gd name="T6" fmla="*/ 167 w 436"/>
                <a:gd name="T7" fmla="*/ 90 h 478"/>
                <a:gd name="T8" fmla="*/ 68 w 436"/>
                <a:gd name="T9" fmla="*/ 39 h 478"/>
                <a:gd name="T10" fmla="*/ 31 w 436"/>
                <a:gd name="T11" fmla="*/ 109 h 478"/>
                <a:gd name="T12" fmla="*/ 83 w 436"/>
                <a:gd name="T13" fmla="*/ 247 h 478"/>
                <a:gd name="T14" fmla="*/ 3 w 436"/>
                <a:gd name="T15" fmla="*/ 386 h 478"/>
                <a:gd name="T16" fmla="*/ 137 w 436"/>
                <a:gd name="T17" fmla="*/ 477 h 478"/>
                <a:gd name="T18" fmla="*/ 148 w 436"/>
                <a:gd name="T19" fmla="*/ 474 h 478"/>
                <a:gd name="T20" fmla="*/ 189 w 436"/>
                <a:gd name="T21" fmla="*/ 379 h 478"/>
                <a:gd name="T22" fmla="*/ 256 w 436"/>
                <a:gd name="T23" fmla="*/ 322 h 478"/>
                <a:gd name="T24" fmla="*/ 287 w 436"/>
                <a:gd name="T25" fmla="*/ 324 h 478"/>
                <a:gd name="T26" fmla="*/ 352 w 436"/>
                <a:gd name="T27" fmla="*/ 367 h 478"/>
                <a:gd name="T28" fmla="*/ 435 w 436"/>
                <a:gd name="T29" fmla="*/ 211 h 478"/>
                <a:gd name="T30" fmla="*/ 255 w 436"/>
                <a:gd name="T31" fmla="*/ 67 h 478"/>
                <a:gd name="T32" fmla="*/ 207 w 436"/>
                <a:gd name="T33" fmla="*/ 68 h 478"/>
                <a:gd name="T34" fmla="*/ 63 w 436"/>
                <a:gd name="T35" fmla="*/ 188 h 478"/>
                <a:gd name="T36" fmla="*/ 78 w 436"/>
                <a:gd name="T37" fmla="*/ 191 h 478"/>
                <a:gd name="T38" fmla="*/ 53 w 436"/>
                <a:gd name="T39" fmla="*/ 160 h 478"/>
                <a:gd name="T40" fmla="*/ 68 w 436"/>
                <a:gd name="T41" fmla="*/ 140 h 478"/>
                <a:gd name="T42" fmla="*/ 93 w 436"/>
                <a:gd name="T43" fmla="*/ 148 h 478"/>
                <a:gd name="T44" fmla="*/ 47 w 436"/>
                <a:gd name="T45" fmla="*/ 104 h 478"/>
                <a:gd name="T46" fmla="*/ 112 w 436"/>
                <a:gd name="T47" fmla="*/ 115 h 478"/>
                <a:gd name="T48" fmla="*/ 121 w 436"/>
                <a:gd name="T49" fmla="*/ 102 h 478"/>
                <a:gd name="T50" fmla="*/ 84 w 436"/>
                <a:gd name="T51" fmla="*/ 54 h 478"/>
                <a:gd name="T52" fmla="*/ 94 w 436"/>
                <a:gd name="T53" fmla="*/ 204 h 478"/>
                <a:gd name="T54" fmla="*/ 138 w 436"/>
                <a:gd name="T55" fmla="*/ 459 h 478"/>
                <a:gd name="T56" fmla="*/ 174 w 436"/>
                <a:gd name="T57" fmla="*/ 389 h 478"/>
                <a:gd name="T58" fmla="*/ 178 w 436"/>
                <a:gd name="T59" fmla="*/ 367 h 478"/>
                <a:gd name="T60" fmla="*/ 92 w 436"/>
                <a:gd name="T61" fmla="*/ 317 h 478"/>
                <a:gd name="T62" fmla="*/ 136 w 436"/>
                <a:gd name="T63" fmla="*/ 198 h 478"/>
                <a:gd name="T64" fmla="*/ 174 w 436"/>
                <a:gd name="T65" fmla="*/ 108 h 478"/>
                <a:gd name="T66" fmla="*/ 168 w 436"/>
                <a:gd name="T67" fmla="*/ 180 h 478"/>
                <a:gd name="T68" fmla="*/ 184 w 436"/>
                <a:gd name="T69" fmla="*/ 184 h 478"/>
                <a:gd name="T70" fmla="*/ 236 w 436"/>
                <a:gd name="T71" fmla="*/ 71 h 478"/>
                <a:gd name="T72" fmla="*/ 204 w 436"/>
                <a:gd name="T73" fmla="*/ 192 h 478"/>
                <a:gd name="T74" fmla="*/ 220 w 436"/>
                <a:gd name="T75" fmla="*/ 195 h 478"/>
                <a:gd name="T76" fmla="*/ 258 w 436"/>
                <a:gd name="T77" fmla="*/ 98 h 478"/>
                <a:gd name="T78" fmla="*/ 243 w 436"/>
                <a:gd name="T79" fmla="*/ 239 h 478"/>
                <a:gd name="T80" fmla="*/ 294 w 436"/>
                <a:gd name="T81" fmla="*/ 204 h 478"/>
                <a:gd name="T82" fmla="*/ 278 w 436"/>
                <a:gd name="T83" fmla="*/ 240 h 478"/>
                <a:gd name="T84" fmla="*/ 253 w 436"/>
                <a:gd name="T85" fmla="*/ 300 h 478"/>
                <a:gd name="T86" fmla="*/ 216 w 436"/>
                <a:gd name="T87" fmla="*/ 333 h 478"/>
                <a:gd name="T88" fmla="*/ 296 w 436"/>
                <a:gd name="T89" fmla="*/ 242 h 478"/>
                <a:gd name="T90" fmla="*/ 279 w 436"/>
                <a:gd name="T91" fmla="*/ 187 h 478"/>
                <a:gd name="T92" fmla="*/ 352 w 436"/>
                <a:gd name="T93" fmla="*/ 192 h 478"/>
                <a:gd name="T94" fmla="*/ 284 w 436"/>
                <a:gd name="T95" fmla="*/ 269 h 478"/>
                <a:gd name="T96" fmla="*/ 370 w 436"/>
                <a:gd name="T97" fmla="*/ 19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6" h="478">
                  <a:moveTo>
                    <a:pt x="435" y="211"/>
                  </a:moveTo>
                  <a:cubicBezTo>
                    <a:pt x="435" y="209"/>
                    <a:pt x="433" y="208"/>
                    <a:pt x="431" y="207"/>
                  </a:cubicBezTo>
                  <a:cubicBezTo>
                    <a:pt x="370" y="175"/>
                    <a:pt x="370" y="175"/>
                    <a:pt x="370" y="175"/>
                  </a:cubicBezTo>
                  <a:cubicBezTo>
                    <a:pt x="367" y="173"/>
                    <a:pt x="362" y="174"/>
                    <a:pt x="360" y="178"/>
                  </a:cubicBezTo>
                  <a:cubicBezTo>
                    <a:pt x="323" y="170"/>
                    <a:pt x="290" y="145"/>
                    <a:pt x="280" y="117"/>
                  </a:cubicBezTo>
                  <a:cubicBezTo>
                    <a:pt x="279" y="115"/>
                    <a:pt x="278" y="113"/>
                    <a:pt x="276" y="112"/>
                  </a:cubicBezTo>
                  <a:cubicBezTo>
                    <a:pt x="278" y="100"/>
                    <a:pt x="274" y="92"/>
                    <a:pt x="270" y="88"/>
                  </a:cubicBezTo>
                  <a:cubicBezTo>
                    <a:pt x="271" y="87"/>
                    <a:pt x="271" y="87"/>
                    <a:pt x="271" y="86"/>
                  </a:cubicBezTo>
                  <a:cubicBezTo>
                    <a:pt x="275" y="39"/>
                    <a:pt x="258" y="10"/>
                    <a:pt x="241" y="3"/>
                  </a:cubicBezTo>
                  <a:cubicBezTo>
                    <a:pt x="234" y="0"/>
                    <a:pt x="225" y="2"/>
                    <a:pt x="216" y="8"/>
                  </a:cubicBezTo>
                  <a:cubicBezTo>
                    <a:pt x="200" y="20"/>
                    <a:pt x="191" y="42"/>
                    <a:pt x="191" y="69"/>
                  </a:cubicBezTo>
                  <a:cubicBezTo>
                    <a:pt x="180" y="73"/>
                    <a:pt x="173" y="81"/>
                    <a:pt x="167" y="90"/>
                  </a:cubicBezTo>
                  <a:cubicBezTo>
                    <a:pt x="147" y="80"/>
                    <a:pt x="127" y="65"/>
                    <a:pt x="112" y="54"/>
                  </a:cubicBezTo>
                  <a:cubicBezTo>
                    <a:pt x="103" y="48"/>
                    <a:pt x="97" y="43"/>
                    <a:pt x="92" y="40"/>
                  </a:cubicBezTo>
                  <a:cubicBezTo>
                    <a:pt x="84" y="35"/>
                    <a:pt x="75" y="35"/>
                    <a:pt x="68" y="39"/>
                  </a:cubicBezTo>
                  <a:cubicBezTo>
                    <a:pt x="64" y="41"/>
                    <a:pt x="57" y="46"/>
                    <a:pt x="55" y="58"/>
                  </a:cubicBezTo>
                  <a:cubicBezTo>
                    <a:pt x="41" y="56"/>
                    <a:pt x="34" y="64"/>
                    <a:pt x="31" y="68"/>
                  </a:cubicBezTo>
                  <a:cubicBezTo>
                    <a:pt x="23" y="79"/>
                    <a:pt x="24" y="97"/>
                    <a:pt x="31" y="109"/>
                  </a:cubicBezTo>
                  <a:cubicBezTo>
                    <a:pt x="26" y="116"/>
                    <a:pt x="23" y="123"/>
                    <a:pt x="23" y="131"/>
                  </a:cubicBezTo>
                  <a:cubicBezTo>
                    <a:pt x="22" y="142"/>
                    <a:pt x="27" y="154"/>
                    <a:pt x="38" y="166"/>
                  </a:cubicBezTo>
                  <a:cubicBezTo>
                    <a:pt x="26" y="195"/>
                    <a:pt x="41" y="222"/>
                    <a:pt x="83" y="247"/>
                  </a:cubicBezTo>
                  <a:cubicBezTo>
                    <a:pt x="80" y="267"/>
                    <a:pt x="77" y="289"/>
                    <a:pt x="77" y="310"/>
                  </a:cubicBezTo>
                  <a:cubicBezTo>
                    <a:pt x="75" y="310"/>
                    <a:pt x="73" y="311"/>
                    <a:pt x="71" y="312"/>
                  </a:cubicBezTo>
                  <a:cubicBezTo>
                    <a:pt x="3" y="386"/>
                    <a:pt x="3" y="386"/>
                    <a:pt x="3" y="386"/>
                  </a:cubicBezTo>
                  <a:cubicBezTo>
                    <a:pt x="1" y="387"/>
                    <a:pt x="0" y="390"/>
                    <a:pt x="0" y="392"/>
                  </a:cubicBezTo>
                  <a:cubicBezTo>
                    <a:pt x="1" y="395"/>
                    <a:pt x="2" y="397"/>
                    <a:pt x="4" y="398"/>
                  </a:cubicBezTo>
                  <a:cubicBezTo>
                    <a:pt x="137" y="477"/>
                    <a:pt x="137" y="477"/>
                    <a:pt x="137" y="477"/>
                  </a:cubicBezTo>
                  <a:cubicBezTo>
                    <a:pt x="138" y="478"/>
                    <a:pt x="139" y="478"/>
                    <a:pt x="141" y="478"/>
                  </a:cubicBezTo>
                  <a:cubicBezTo>
                    <a:pt x="142" y="478"/>
                    <a:pt x="142" y="478"/>
                    <a:pt x="143" y="478"/>
                  </a:cubicBezTo>
                  <a:cubicBezTo>
                    <a:pt x="145" y="477"/>
                    <a:pt x="147" y="476"/>
                    <a:pt x="148" y="474"/>
                  </a:cubicBezTo>
                  <a:cubicBezTo>
                    <a:pt x="192" y="390"/>
                    <a:pt x="192" y="390"/>
                    <a:pt x="192" y="390"/>
                  </a:cubicBezTo>
                  <a:cubicBezTo>
                    <a:pt x="194" y="386"/>
                    <a:pt x="193" y="381"/>
                    <a:pt x="189" y="379"/>
                  </a:cubicBezTo>
                  <a:cubicBezTo>
                    <a:pt x="189" y="379"/>
                    <a:pt x="189" y="379"/>
                    <a:pt x="189" y="379"/>
                  </a:cubicBezTo>
                  <a:cubicBezTo>
                    <a:pt x="190" y="378"/>
                    <a:pt x="191" y="377"/>
                    <a:pt x="192" y="376"/>
                  </a:cubicBezTo>
                  <a:cubicBezTo>
                    <a:pt x="197" y="367"/>
                    <a:pt x="212" y="356"/>
                    <a:pt x="226" y="346"/>
                  </a:cubicBezTo>
                  <a:cubicBezTo>
                    <a:pt x="237" y="339"/>
                    <a:pt x="248" y="330"/>
                    <a:pt x="256" y="322"/>
                  </a:cubicBezTo>
                  <a:cubicBezTo>
                    <a:pt x="259" y="319"/>
                    <a:pt x="261" y="316"/>
                    <a:pt x="264" y="312"/>
                  </a:cubicBezTo>
                  <a:cubicBezTo>
                    <a:pt x="284" y="320"/>
                    <a:pt x="284" y="320"/>
                    <a:pt x="284" y="320"/>
                  </a:cubicBezTo>
                  <a:cubicBezTo>
                    <a:pt x="284" y="322"/>
                    <a:pt x="286" y="323"/>
                    <a:pt x="287" y="324"/>
                  </a:cubicBezTo>
                  <a:cubicBezTo>
                    <a:pt x="346" y="365"/>
                    <a:pt x="346" y="365"/>
                    <a:pt x="346" y="365"/>
                  </a:cubicBezTo>
                  <a:cubicBezTo>
                    <a:pt x="347" y="366"/>
                    <a:pt x="349" y="367"/>
                    <a:pt x="351" y="367"/>
                  </a:cubicBezTo>
                  <a:cubicBezTo>
                    <a:pt x="351" y="367"/>
                    <a:pt x="352" y="367"/>
                    <a:pt x="352" y="367"/>
                  </a:cubicBezTo>
                  <a:cubicBezTo>
                    <a:pt x="355" y="366"/>
                    <a:pt x="357" y="365"/>
                    <a:pt x="358" y="363"/>
                  </a:cubicBezTo>
                  <a:cubicBezTo>
                    <a:pt x="435" y="217"/>
                    <a:pt x="435" y="217"/>
                    <a:pt x="435" y="217"/>
                  </a:cubicBezTo>
                  <a:cubicBezTo>
                    <a:pt x="436" y="216"/>
                    <a:pt x="436" y="213"/>
                    <a:pt x="435" y="211"/>
                  </a:cubicBezTo>
                  <a:close/>
                  <a:moveTo>
                    <a:pt x="226" y="21"/>
                  </a:moveTo>
                  <a:cubicBezTo>
                    <a:pt x="230" y="18"/>
                    <a:pt x="233" y="18"/>
                    <a:pt x="235" y="18"/>
                  </a:cubicBezTo>
                  <a:cubicBezTo>
                    <a:pt x="242" y="21"/>
                    <a:pt x="254" y="36"/>
                    <a:pt x="255" y="67"/>
                  </a:cubicBezTo>
                  <a:cubicBezTo>
                    <a:pt x="252" y="63"/>
                    <a:pt x="248" y="59"/>
                    <a:pt x="243" y="57"/>
                  </a:cubicBezTo>
                  <a:cubicBezTo>
                    <a:pt x="236" y="53"/>
                    <a:pt x="229" y="53"/>
                    <a:pt x="222" y="55"/>
                  </a:cubicBezTo>
                  <a:cubicBezTo>
                    <a:pt x="216" y="57"/>
                    <a:pt x="211" y="62"/>
                    <a:pt x="207" y="68"/>
                  </a:cubicBezTo>
                  <a:cubicBezTo>
                    <a:pt x="207" y="43"/>
                    <a:pt x="217" y="28"/>
                    <a:pt x="226" y="21"/>
                  </a:cubicBezTo>
                  <a:close/>
                  <a:moveTo>
                    <a:pt x="51" y="179"/>
                  </a:moveTo>
                  <a:cubicBezTo>
                    <a:pt x="55" y="182"/>
                    <a:pt x="59" y="186"/>
                    <a:pt x="63" y="188"/>
                  </a:cubicBezTo>
                  <a:cubicBezTo>
                    <a:pt x="67" y="192"/>
                    <a:pt x="67" y="192"/>
                    <a:pt x="67" y="192"/>
                  </a:cubicBezTo>
                  <a:cubicBezTo>
                    <a:pt x="68" y="193"/>
                    <a:pt x="70" y="194"/>
                    <a:pt x="72" y="194"/>
                  </a:cubicBezTo>
                  <a:cubicBezTo>
                    <a:pt x="74" y="194"/>
                    <a:pt x="77" y="193"/>
                    <a:pt x="78" y="191"/>
                  </a:cubicBezTo>
                  <a:cubicBezTo>
                    <a:pt x="81" y="187"/>
                    <a:pt x="81" y="182"/>
                    <a:pt x="77" y="180"/>
                  </a:cubicBezTo>
                  <a:cubicBezTo>
                    <a:pt x="73" y="176"/>
                    <a:pt x="73" y="176"/>
                    <a:pt x="73" y="176"/>
                  </a:cubicBezTo>
                  <a:cubicBezTo>
                    <a:pt x="67" y="171"/>
                    <a:pt x="58" y="164"/>
                    <a:pt x="53" y="160"/>
                  </a:cubicBezTo>
                  <a:cubicBezTo>
                    <a:pt x="43" y="149"/>
                    <a:pt x="38" y="139"/>
                    <a:pt x="39" y="132"/>
                  </a:cubicBezTo>
                  <a:cubicBezTo>
                    <a:pt x="39" y="128"/>
                    <a:pt x="40" y="124"/>
                    <a:pt x="43" y="121"/>
                  </a:cubicBezTo>
                  <a:cubicBezTo>
                    <a:pt x="50" y="126"/>
                    <a:pt x="60" y="134"/>
                    <a:pt x="68" y="140"/>
                  </a:cubicBezTo>
                  <a:cubicBezTo>
                    <a:pt x="75" y="144"/>
                    <a:pt x="80" y="148"/>
                    <a:pt x="82" y="150"/>
                  </a:cubicBezTo>
                  <a:cubicBezTo>
                    <a:pt x="83" y="151"/>
                    <a:pt x="85" y="152"/>
                    <a:pt x="87" y="152"/>
                  </a:cubicBezTo>
                  <a:cubicBezTo>
                    <a:pt x="89" y="152"/>
                    <a:pt x="92" y="150"/>
                    <a:pt x="93" y="148"/>
                  </a:cubicBezTo>
                  <a:cubicBezTo>
                    <a:pt x="96" y="145"/>
                    <a:pt x="95" y="140"/>
                    <a:pt x="92" y="137"/>
                  </a:cubicBezTo>
                  <a:cubicBezTo>
                    <a:pt x="90" y="136"/>
                    <a:pt x="84" y="132"/>
                    <a:pt x="78" y="127"/>
                  </a:cubicBezTo>
                  <a:cubicBezTo>
                    <a:pt x="68" y="119"/>
                    <a:pt x="54" y="109"/>
                    <a:pt x="47" y="104"/>
                  </a:cubicBezTo>
                  <a:cubicBezTo>
                    <a:pt x="41" y="98"/>
                    <a:pt x="40" y="83"/>
                    <a:pt x="44" y="77"/>
                  </a:cubicBezTo>
                  <a:cubicBezTo>
                    <a:pt x="45" y="75"/>
                    <a:pt x="48" y="71"/>
                    <a:pt x="58" y="75"/>
                  </a:cubicBezTo>
                  <a:cubicBezTo>
                    <a:pt x="64" y="80"/>
                    <a:pt x="98" y="106"/>
                    <a:pt x="112" y="115"/>
                  </a:cubicBezTo>
                  <a:cubicBezTo>
                    <a:pt x="113" y="116"/>
                    <a:pt x="115" y="117"/>
                    <a:pt x="116" y="117"/>
                  </a:cubicBezTo>
                  <a:cubicBezTo>
                    <a:pt x="119" y="117"/>
                    <a:pt x="121" y="115"/>
                    <a:pt x="123" y="113"/>
                  </a:cubicBezTo>
                  <a:cubicBezTo>
                    <a:pt x="125" y="109"/>
                    <a:pt x="124" y="104"/>
                    <a:pt x="121" y="102"/>
                  </a:cubicBezTo>
                  <a:cubicBezTo>
                    <a:pt x="109" y="94"/>
                    <a:pt x="80" y="72"/>
                    <a:pt x="70" y="64"/>
                  </a:cubicBezTo>
                  <a:cubicBezTo>
                    <a:pt x="71" y="59"/>
                    <a:pt x="73" y="54"/>
                    <a:pt x="75" y="53"/>
                  </a:cubicBezTo>
                  <a:cubicBezTo>
                    <a:pt x="78" y="51"/>
                    <a:pt x="82" y="53"/>
                    <a:pt x="84" y="54"/>
                  </a:cubicBezTo>
                  <a:cubicBezTo>
                    <a:pt x="88" y="57"/>
                    <a:pt x="95" y="61"/>
                    <a:pt x="102" y="67"/>
                  </a:cubicBezTo>
                  <a:cubicBezTo>
                    <a:pt x="117" y="77"/>
                    <a:pt x="136" y="91"/>
                    <a:pt x="155" y="102"/>
                  </a:cubicBezTo>
                  <a:cubicBezTo>
                    <a:pt x="128" y="122"/>
                    <a:pt x="102" y="182"/>
                    <a:pt x="94" y="204"/>
                  </a:cubicBezTo>
                  <a:cubicBezTo>
                    <a:pt x="91" y="212"/>
                    <a:pt x="89" y="221"/>
                    <a:pt x="86" y="230"/>
                  </a:cubicBezTo>
                  <a:cubicBezTo>
                    <a:pt x="58" y="213"/>
                    <a:pt x="47" y="196"/>
                    <a:pt x="51" y="179"/>
                  </a:cubicBezTo>
                  <a:close/>
                  <a:moveTo>
                    <a:pt x="138" y="459"/>
                  </a:moveTo>
                  <a:cubicBezTo>
                    <a:pt x="21" y="389"/>
                    <a:pt x="21" y="389"/>
                    <a:pt x="21" y="389"/>
                  </a:cubicBezTo>
                  <a:cubicBezTo>
                    <a:pt x="78" y="328"/>
                    <a:pt x="78" y="328"/>
                    <a:pt x="78" y="328"/>
                  </a:cubicBezTo>
                  <a:cubicBezTo>
                    <a:pt x="174" y="389"/>
                    <a:pt x="174" y="389"/>
                    <a:pt x="174" y="389"/>
                  </a:cubicBezTo>
                  <a:lnTo>
                    <a:pt x="138" y="459"/>
                  </a:lnTo>
                  <a:close/>
                  <a:moveTo>
                    <a:pt x="216" y="333"/>
                  </a:moveTo>
                  <a:cubicBezTo>
                    <a:pt x="200" y="345"/>
                    <a:pt x="185" y="356"/>
                    <a:pt x="178" y="367"/>
                  </a:cubicBezTo>
                  <a:cubicBezTo>
                    <a:pt x="177" y="369"/>
                    <a:pt x="177" y="370"/>
                    <a:pt x="177" y="371"/>
                  </a:cubicBezTo>
                  <a:cubicBezTo>
                    <a:pt x="92" y="318"/>
                    <a:pt x="92" y="318"/>
                    <a:pt x="92" y="318"/>
                  </a:cubicBezTo>
                  <a:cubicBezTo>
                    <a:pt x="92" y="317"/>
                    <a:pt x="92" y="317"/>
                    <a:pt x="92" y="317"/>
                  </a:cubicBezTo>
                  <a:cubicBezTo>
                    <a:pt x="93" y="277"/>
                    <a:pt x="100" y="235"/>
                    <a:pt x="109" y="210"/>
                  </a:cubicBezTo>
                  <a:cubicBezTo>
                    <a:pt x="117" y="186"/>
                    <a:pt x="133" y="153"/>
                    <a:pt x="149" y="132"/>
                  </a:cubicBezTo>
                  <a:cubicBezTo>
                    <a:pt x="142" y="154"/>
                    <a:pt x="136" y="179"/>
                    <a:pt x="136" y="198"/>
                  </a:cubicBezTo>
                  <a:cubicBezTo>
                    <a:pt x="136" y="203"/>
                    <a:pt x="140" y="206"/>
                    <a:pt x="144" y="206"/>
                  </a:cubicBezTo>
                  <a:cubicBezTo>
                    <a:pt x="149" y="206"/>
                    <a:pt x="152" y="203"/>
                    <a:pt x="152" y="198"/>
                  </a:cubicBezTo>
                  <a:cubicBezTo>
                    <a:pt x="152" y="171"/>
                    <a:pt x="165" y="130"/>
                    <a:pt x="174" y="108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84" y="92"/>
                    <a:pt x="190" y="84"/>
                    <a:pt x="200" y="84"/>
                  </a:cubicBezTo>
                  <a:cubicBezTo>
                    <a:pt x="191" y="110"/>
                    <a:pt x="172" y="165"/>
                    <a:pt x="168" y="180"/>
                  </a:cubicBezTo>
                  <a:cubicBezTo>
                    <a:pt x="167" y="184"/>
                    <a:pt x="169" y="188"/>
                    <a:pt x="174" y="190"/>
                  </a:cubicBezTo>
                  <a:cubicBezTo>
                    <a:pt x="174" y="190"/>
                    <a:pt x="175" y="190"/>
                    <a:pt x="176" y="190"/>
                  </a:cubicBezTo>
                  <a:cubicBezTo>
                    <a:pt x="179" y="190"/>
                    <a:pt x="183" y="187"/>
                    <a:pt x="184" y="184"/>
                  </a:cubicBezTo>
                  <a:cubicBezTo>
                    <a:pt x="188" y="167"/>
                    <a:pt x="213" y="93"/>
                    <a:pt x="219" y="79"/>
                  </a:cubicBezTo>
                  <a:cubicBezTo>
                    <a:pt x="221" y="75"/>
                    <a:pt x="224" y="71"/>
                    <a:pt x="228" y="70"/>
                  </a:cubicBezTo>
                  <a:cubicBezTo>
                    <a:pt x="230" y="69"/>
                    <a:pt x="233" y="70"/>
                    <a:pt x="236" y="71"/>
                  </a:cubicBezTo>
                  <a:cubicBezTo>
                    <a:pt x="241" y="74"/>
                    <a:pt x="244" y="77"/>
                    <a:pt x="244" y="80"/>
                  </a:cubicBezTo>
                  <a:cubicBezTo>
                    <a:pt x="244" y="81"/>
                    <a:pt x="243" y="81"/>
                    <a:pt x="243" y="82"/>
                  </a:cubicBezTo>
                  <a:cubicBezTo>
                    <a:pt x="232" y="105"/>
                    <a:pt x="212" y="154"/>
                    <a:pt x="204" y="192"/>
                  </a:cubicBezTo>
                  <a:cubicBezTo>
                    <a:pt x="203" y="196"/>
                    <a:pt x="206" y="200"/>
                    <a:pt x="210" y="201"/>
                  </a:cubicBezTo>
                  <a:cubicBezTo>
                    <a:pt x="211" y="201"/>
                    <a:pt x="211" y="201"/>
                    <a:pt x="212" y="201"/>
                  </a:cubicBezTo>
                  <a:cubicBezTo>
                    <a:pt x="215" y="201"/>
                    <a:pt x="219" y="199"/>
                    <a:pt x="220" y="195"/>
                  </a:cubicBezTo>
                  <a:cubicBezTo>
                    <a:pt x="226" y="162"/>
                    <a:pt x="243" y="121"/>
                    <a:pt x="254" y="97"/>
                  </a:cubicBezTo>
                  <a:cubicBezTo>
                    <a:pt x="254" y="97"/>
                    <a:pt x="255" y="96"/>
                    <a:pt x="256" y="96"/>
                  </a:cubicBezTo>
                  <a:cubicBezTo>
                    <a:pt x="256" y="96"/>
                    <a:pt x="257" y="97"/>
                    <a:pt x="258" y="98"/>
                  </a:cubicBezTo>
                  <a:cubicBezTo>
                    <a:pt x="261" y="101"/>
                    <a:pt x="261" y="108"/>
                    <a:pt x="260" y="115"/>
                  </a:cubicBezTo>
                  <a:cubicBezTo>
                    <a:pt x="254" y="141"/>
                    <a:pt x="239" y="226"/>
                    <a:pt x="238" y="230"/>
                  </a:cubicBezTo>
                  <a:cubicBezTo>
                    <a:pt x="237" y="234"/>
                    <a:pt x="240" y="237"/>
                    <a:pt x="243" y="239"/>
                  </a:cubicBezTo>
                  <a:cubicBezTo>
                    <a:pt x="247" y="240"/>
                    <a:pt x="251" y="238"/>
                    <a:pt x="253" y="235"/>
                  </a:cubicBezTo>
                  <a:cubicBezTo>
                    <a:pt x="257" y="227"/>
                    <a:pt x="270" y="206"/>
                    <a:pt x="283" y="202"/>
                  </a:cubicBezTo>
                  <a:cubicBezTo>
                    <a:pt x="287" y="201"/>
                    <a:pt x="291" y="202"/>
                    <a:pt x="294" y="204"/>
                  </a:cubicBezTo>
                  <a:cubicBezTo>
                    <a:pt x="296" y="205"/>
                    <a:pt x="296" y="206"/>
                    <a:pt x="296" y="206"/>
                  </a:cubicBezTo>
                  <a:cubicBezTo>
                    <a:pt x="297" y="212"/>
                    <a:pt x="288" y="225"/>
                    <a:pt x="283" y="233"/>
                  </a:cubicBezTo>
                  <a:cubicBezTo>
                    <a:pt x="281" y="235"/>
                    <a:pt x="279" y="238"/>
                    <a:pt x="278" y="240"/>
                  </a:cubicBezTo>
                  <a:cubicBezTo>
                    <a:pt x="275" y="246"/>
                    <a:pt x="272" y="254"/>
                    <a:pt x="268" y="263"/>
                  </a:cubicBezTo>
                  <a:cubicBezTo>
                    <a:pt x="264" y="274"/>
                    <a:pt x="260" y="287"/>
                    <a:pt x="254" y="298"/>
                  </a:cubicBezTo>
                  <a:cubicBezTo>
                    <a:pt x="253" y="298"/>
                    <a:pt x="253" y="299"/>
                    <a:pt x="253" y="300"/>
                  </a:cubicBezTo>
                  <a:cubicBezTo>
                    <a:pt x="253" y="300"/>
                    <a:pt x="253" y="300"/>
                    <a:pt x="253" y="300"/>
                  </a:cubicBezTo>
                  <a:cubicBezTo>
                    <a:pt x="250" y="304"/>
                    <a:pt x="248" y="308"/>
                    <a:pt x="245" y="311"/>
                  </a:cubicBezTo>
                  <a:cubicBezTo>
                    <a:pt x="238" y="318"/>
                    <a:pt x="227" y="326"/>
                    <a:pt x="216" y="333"/>
                  </a:cubicBezTo>
                  <a:close/>
                  <a:moveTo>
                    <a:pt x="284" y="269"/>
                  </a:moveTo>
                  <a:cubicBezTo>
                    <a:pt x="287" y="260"/>
                    <a:pt x="289" y="253"/>
                    <a:pt x="292" y="249"/>
                  </a:cubicBezTo>
                  <a:cubicBezTo>
                    <a:pt x="293" y="247"/>
                    <a:pt x="295" y="244"/>
                    <a:pt x="296" y="242"/>
                  </a:cubicBezTo>
                  <a:cubicBezTo>
                    <a:pt x="304" y="230"/>
                    <a:pt x="314" y="215"/>
                    <a:pt x="312" y="202"/>
                  </a:cubicBezTo>
                  <a:cubicBezTo>
                    <a:pt x="310" y="197"/>
                    <a:pt x="307" y="193"/>
                    <a:pt x="303" y="191"/>
                  </a:cubicBezTo>
                  <a:cubicBezTo>
                    <a:pt x="295" y="186"/>
                    <a:pt x="287" y="185"/>
                    <a:pt x="279" y="187"/>
                  </a:cubicBezTo>
                  <a:cubicBezTo>
                    <a:pt x="272" y="189"/>
                    <a:pt x="265" y="193"/>
                    <a:pt x="260" y="199"/>
                  </a:cubicBezTo>
                  <a:cubicBezTo>
                    <a:pt x="263" y="179"/>
                    <a:pt x="268" y="154"/>
                    <a:pt x="272" y="136"/>
                  </a:cubicBezTo>
                  <a:cubicBezTo>
                    <a:pt x="287" y="162"/>
                    <a:pt x="318" y="184"/>
                    <a:pt x="352" y="192"/>
                  </a:cubicBezTo>
                  <a:cubicBezTo>
                    <a:pt x="290" y="305"/>
                    <a:pt x="290" y="305"/>
                    <a:pt x="290" y="305"/>
                  </a:cubicBezTo>
                  <a:cubicBezTo>
                    <a:pt x="272" y="298"/>
                    <a:pt x="272" y="298"/>
                    <a:pt x="272" y="298"/>
                  </a:cubicBezTo>
                  <a:cubicBezTo>
                    <a:pt x="276" y="288"/>
                    <a:pt x="280" y="278"/>
                    <a:pt x="284" y="269"/>
                  </a:cubicBezTo>
                  <a:close/>
                  <a:moveTo>
                    <a:pt x="348" y="347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70" y="192"/>
                    <a:pt x="370" y="192"/>
                    <a:pt x="370" y="192"/>
                  </a:cubicBezTo>
                  <a:cubicBezTo>
                    <a:pt x="417" y="217"/>
                    <a:pt x="417" y="217"/>
                    <a:pt x="417" y="217"/>
                  </a:cubicBezTo>
                  <a:lnTo>
                    <a:pt x="348" y="34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4" name="Textfeld 212"/>
          <p:cNvSpPr txBox="1"/>
          <p:nvPr/>
        </p:nvSpPr>
        <p:spPr bwMode="gray">
          <a:xfrm>
            <a:off x="3193728" y="2765878"/>
            <a:ext cx="546082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buClr>
                <a:schemeClr val="accent2"/>
              </a:buClr>
            </a:pPr>
            <a:r>
              <a:rPr lang="tr-TR" sz="1800" i="1" dirty="0" err="1" smtClean="0"/>
              <a:t>Our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vision</a:t>
            </a:r>
            <a:r>
              <a:rPr lang="tr-TR" sz="1800" i="1" dirty="0" smtClean="0"/>
              <a:t> : ‘Leadership in </a:t>
            </a:r>
            <a:r>
              <a:rPr lang="tr-TR" sz="1800" i="1" dirty="0" err="1" smtClean="0"/>
              <a:t>Filtration</a:t>
            </a:r>
            <a:r>
              <a:rPr lang="tr-TR" sz="1800" i="1" dirty="0" smtClean="0"/>
              <a:t>’. </a:t>
            </a:r>
          </a:p>
          <a:p>
            <a:pPr>
              <a:buClr>
                <a:schemeClr val="accent2"/>
              </a:buClr>
            </a:pPr>
            <a:r>
              <a:rPr lang="tr-TR" sz="1800" i="1" dirty="0" err="1" smtClean="0"/>
              <a:t>Filtration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separates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the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useful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from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the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harmful</a:t>
            </a:r>
            <a:r>
              <a:rPr lang="tr-TR" sz="1800" i="1" dirty="0" smtClean="0"/>
              <a:t> – </a:t>
            </a:r>
            <a:r>
              <a:rPr lang="tr-TR" sz="1800" i="1" dirty="0" err="1" smtClean="0"/>
              <a:t>something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we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are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commited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to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working</a:t>
            </a:r>
            <a:r>
              <a:rPr lang="tr-TR" sz="1800" i="1" dirty="0" smtClean="0"/>
              <a:t> on </a:t>
            </a:r>
            <a:r>
              <a:rPr lang="tr-TR" sz="1800" i="1" dirty="0" err="1" smtClean="0"/>
              <a:t>every</a:t>
            </a:r>
            <a:r>
              <a:rPr lang="tr-TR" sz="1800" i="1" dirty="0" smtClean="0"/>
              <a:t> </a:t>
            </a:r>
            <a:r>
              <a:rPr lang="tr-TR" sz="1800" i="1" dirty="0" err="1" smtClean="0"/>
              <a:t>day</a:t>
            </a:r>
            <a:r>
              <a:rPr lang="tr-TR" sz="1800" i="1" dirty="0" smtClean="0"/>
              <a:t>. </a:t>
            </a:r>
            <a:r>
              <a:rPr lang="tr-TR" i="1" dirty="0" smtClean="0"/>
              <a:t>(</a:t>
            </a:r>
            <a:r>
              <a:rPr lang="tr-TR" i="1" dirty="0" err="1" smtClean="0"/>
              <a:t>Alfred</a:t>
            </a:r>
            <a:r>
              <a:rPr lang="tr-TR" i="1" dirty="0" smtClean="0"/>
              <a:t> Weber, CEO)</a:t>
            </a:r>
            <a:endParaRPr lang="en-US" sz="4400" b="1" i="1" dirty="0" smtClean="0">
              <a:solidFill>
                <a:schemeClr val="accent2"/>
              </a:solidFill>
            </a:endParaRPr>
          </a:p>
        </p:txBody>
      </p:sp>
      <p:grpSp>
        <p:nvGrpSpPr>
          <p:cNvPr id="48" name="Gruppieren 36892"/>
          <p:cNvGrpSpPr/>
          <p:nvPr>
            <p:custDataLst>
              <p:tags r:id="rId7"/>
            </p:custDataLst>
          </p:nvPr>
        </p:nvGrpSpPr>
        <p:grpSpPr>
          <a:xfrm>
            <a:off x="8896354" y="2914707"/>
            <a:ext cx="2520280" cy="1279627"/>
            <a:chOff x="8977907" y="3072122"/>
            <a:chExt cx="2520280" cy="1279627"/>
          </a:xfrm>
        </p:grpSpPr>
        <p:sp>
          <p:nvSpPr>
            <p:cNvPr id="49" name="Textfeld 261"/>
            <p:cNvSpPr txBox="1"/>
            <p:nvPr/>
          </p:nvSpPr>
          <p:spPr bwMode="gray">
            <a:xfrm>
              <a:off x="8977907" y="3212976"/>
              <a:ext cx="2520280" cy="113877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buClr>
                  <a:schemeClr val="accent2"/>
                </a:buClr>
              </a:pPr>
              <a:endParaRPr lang="en-US" b="1" dirty="0" smtClean="0">
                <a:solidFill>
                  <a:schemeClr val="accent2"/>
                </a:solidFill>
              </a:endParaRPr>
            </a:p>
            <a:p>
              <a:pPr>
                <a:buClr>
                  <a:schemeClr val="accent2"/>
                </a:buClr>
              </a:pPr>
              <a:r>
                <a:rPr lang="en-US" sz="5400" b="1" dirty="0" smtClean="0">
                  <a:solidFill>
                    <a:schemeClr val="accent2"/>
                  </a:solidFill>
                </a:rPr>
                <a:t>70</a:t>
              </a:r>
              <a:r>
                <a:rPr lang="en-US" sz="1600" b="1" dirty="0" smtClean="0">
                  <a:solidFill>
                    <a:schemeClr val="accent2"/>
                  </a:solidFill>
                </a:rPr>
                <a:t> </a:t>
              </a:r>
              <a:r>
                <a:rPr lang="en-US" dirty="0"/>
                <a:t>l</a:t>
              </a:r>
              <a:r>
                <a:rPr lang="en-US" sz="1800" dirty="0" smtClean="0"/>
                <a:t>ocations</a:t>
              </a:r>
            </a:p>
          </p:txBody>
        </p:sp>
        <p:sp>
          <p:nvSpPr>
            <p:cNvPr id="50" name="Freeform 46"/>
            <p:cNvSpPr>
              <a:spLocks noEditPoints="1"/>
            </p:cNvSpPr>
            <p:nvPr/>
          </p:nvSpPr>
          <p:spPr bwMode="auto">
            <a:xfrm>
              <a:off x="9769995" y="3072122"/>
              <a:ext cx="936552" cy="810339"/>
            </a:xfrm>
            <a:custGeom>
              <a:avLst/>
              <a:gdLst>
                <a:gd name="T0" fmla="*/ 14550 w 14736"/>
                <a:gd name="T1" fmla="*/ 4897 h 12749"/>
                <a:gd name="T2" fmla="*/ 11547 w 14736"/>
                <a:gd name="T3" fmla="*/ 4140 h 12749"/>
                <a:gd name="T4" fmla="*/ 11725 w 14736"/>
                <a:gd name="T5" fmla="*/ 2994 h 12749"/>
                <a:gd name="T6" fmla="*/ 8723 w 14736"/>
                <a:gd name="T7" fmla="*/ 0 h 12749"/>
                <a:gd name="T8" fmla="*/ 5721 w 14736"/>
                <a:gd name="T9" fmla="*/ 2994 h 12749"/>
                <a:gd name="T10" fmla="*/ 6041 w 14736"/>
                <a:gd name="T11" fmla="*/ 4537 h 12749"/>
                <a:gd name="T12" fmla="*/ 4637 w 14736"/>
                <a:gd name="T13" fmla="*/ 4882 h 12749"/>
                <a:gd name="T14" fmla="*/ 312 w 14736"/>
                <a:gd name="T15" fmla="*/ 3671 h 12749"/>
                <a:gd name="T16" fmla="*/ 97 w 14736"/>
                <a:gd name="T17" fmla="*/ 3712 h 12749"/>
                <a:gd name="T18" fmla="*/ 0 w 14736"/>
                <a:gd name="T19" fmla="*/ 3908 h 12749"/>
                <a:gd name="T20" fmla="*/ 0 w 14736"/>
                <a:gd name="T21" fmla="*/ 11275 h 12749"/>
                <a:gd name="T22" fmla="*/ 179 w 14736"/>
                <a:gd name="T23" fmla="*/ 11512 h 12749"/>
                <a:gd name="T24" fmla="*/ 4553 w 14736"/>
                <a:gd name="T25" fmla="*/ 12740 h 12749"/>
                <a:gd name="T26" fmla="*/ 4648 w 14736"/>
                <a:gd name="T27" fmla="*/ 12745 h 12749"/>
                <a:gd name="T28" fmla="*/ 4667 w 14736"/>
                <a:gd name="T29" fmla="*/ 12749 h 12749"/>
                <a:gd name="T30" fmla="*/ 4782 w 14736"/>
                <a:gd name="T31" fmla="*/ 12716 h 12749"/>
                <a:gd name="T32" fmla="*/ 9605 w 14736"/>
                <a:gd name="T33" fmla="*/ 11528 h 12749"/>
                <a:gd name="T34" fmla="*/ 14430 w 14736"/>
                <a:gd name="T35" fmla="*/ 12741 h 12749"/>
                <a:gd name="T36" fmla="*/ 14490 w 14736"/>
                <a:gd name="T37" fmla="*/ 12749 h 12749"/>
                <a:gd name="T38" fmla="*/ 14641 w 14736"/>
                <a:gd name="T39" fmla="*/ 12697 h 12749"/>
                <a:gd name="T40" fmla="*/ 14736 w 14736"/>
                <a:gd name="T41" fmla="*/ 12503 h 12749"/>
                <a:gd name="T42" fmla="*/ 14736 w 14736"/>
                <a:gd name="T43" fmla="*/ 5135 h 12749"/>
                <a:gd name="T44" fmla="*/ 14550 w 14736"/>
                <a:gd name="T45" fmla="*/ 4897 h 12749"/>
                <a:gd name="T46" fmla="*/ 8723 w 14736"/>
                <a:gd name="T47" fmla="*/ 491 h 12749"/>
                <a:gd name="T48" fmla="*/ 11234 w 14736"/>
                <a:gd name="T49" fmla="*/ 2994 h 12749"/>
                <a:gd name="T50" fmla="*/ 11026 w 14736"/>
                <a:gd name="T51" fmla="*/ 4139 h 12749"/>
                <a:gd name="T52" fmla="*/ 10963 w 14736"/>
                <a:gd name="T53" fmla="*/ 4246 h 12749"/>
                <a:gd name="T54" fmla="*/ 10960 w 14736"/>
                <a:gd name="T55" fmla="*/ 4312 h 12749"/>
                <a:gd name="T56" fmla="*/ 8723 w 14736"/>
                <a:gd name="T57" fmla="*/ 7144 h 12749"/>
                <a:gd name="T58" fmla="*/ 6212 w 14736"/>
                <a:gd name="T59" fmla="*/ 2994 h 12749"/>
                <a:gd name="T60" fmla="*/ 8723 w 14736"/>
                <a:gd name="T61" fmla="*/ 491 h 12749"/>
                <a:gd name="T62" fmla="*/ 8578 w 14736"/>
                <a:gd name="T63" fmla="*/ 7653 h 12749"/>
                <a:gd name="T64" fmla="*/ 8723 w 14736"/>
                <a:gd name="T65" fmla="*/ 7700 h 12749"/>
                <a:gd name="T66" fmla="*/ 8866 w 14736"/>
                <a:gd name="T67" fmla="*/ 7653 h 12749"/>
                <a:gd name="T68" fmla="*/ 9332 w 14736"/>
                <a:gd name="T69" fmla="*/ 7275 h 12749"/>
                <a:gd name="T70" fmla="*/ 9332 w 14736"/>
                <a:gd name="T71" fmla="*/ 11090 h 12749"/>
                <a:gd name="T72" fmla="*/ 4912 w 14736"/>
                <a:gd name="T73" fmla="*/ 12178 h 12749"/>
                <a:gd name="T74" fmla="*/ 4912 w 14736"/>
                <a:gd name="T75" fmla="*/ 5320 h 12749"/>
                <a:gd name="T76" fmla="*/ 6251 w 14736"/>
                <a:gd name="T77" fmla="*/ 4991 h 12749"/>
                <a:gd name="T78" fmla="*/ 8578 w 14736"/>
                <a:gd name="T79" fmla="*/ 7653 h 12749"/>
                <a:gd name="T80" fmla="*/ 492 w 14736"/>
                <a:gd name="T81" fmla="*/ 4231 h 12749"/>
                <a:gd name="T82" fmla="*/ 4420 w 14736"/>
                <a:gd name="T83" fmla="*/ 5331 h 12749"/>
                <a:gd name="T84" fmla="*/ 4420 w 14736"/>
                <a:gd name="T85" fmla="*/ 12192 h 12749"/>
                <a:gd name="T86" fmla="*/ 492 w 14736"/>
                <a:gd name="T87" fmla="*/ 11089 h 12749"/>
                <a:gd name="T88" fmla="*/ 492 w 14736"/>
                <a:gd name="T89" fmla="*/ 4231 h 12749"/>
                <a:gd name="T90" fmla="*/ 14244 w 14736"/>
                <a:gd name="T91" fmla="*/ 12188 h 12749"/>
                <a:gd name="T92" fmla="*/ 9824 w 14736"/>
                <a:gd name="T93" fmla="*/ 11077 h 12749"/>
                <a:gd name="T94" fmla="*/ 9824 w 14736"/>
                <a:gd name="T95" fmla="*/ 6815 h 12749"/>
                <a:gd name="T96" fmla="*/ 11377 w 14736"/>
                <a:gd name="T97" fmla="*/ 4604 h 12749"/>
                <a:gd name="T98" fmla="*/ 14244 w 14736"/>
                <a:gd name="T99" fmla="*/ 5327 h 12749"/>
                <a:gd name="T100" fmla="*/ 14244 w 14736"/>
                <a:gd name="T101" fmla="*/ 12188 h 12749"/>
                <a:gd name="T102" fmla="*/ 9889 w 14736"/>
                <a:gd name="T103" fmla="*/ 2986 h 12749"/>
                <a:gd name="T104" fmla="*/ 8723 w 14736"/>
                <a:gd name="T105" fmla="*/ 1819 h 12749"/>
                <a:gd name="T106" fmla="*/ 7556 w 14736"/>
                <a:gd name="T107" fmla="*/ 2986 h 12749"/>
                <a:gd name="T108" fmla="*/ 8723 w 14736"/>
                <a:gd name="T109" fmla="*/ 4152 h 12749"/>
                <a:gd name="T110" fmla="*/ 9889 w 14736"/>
                <a:gd name="T111" fmla="*/ 2986 h 12749"/>
                <a:gd name="T112" fmla="*/ 8047 w 14736"/>
                <a:gd name="T113" fmla="*/ 2986 h 12749"/>
                <a:gd name="T114" fmla="*/ 8723 w 14736"/>
                <a:gd name="T115" fmla="*/ 2311 h 12749"/>
                <a:gd name="T116" fmla="*/ 9398 w 14736"/>
                <a:gd name="T117" fmla="*/ 2986 h 12749"/>
                <a:gd name="T118" fmla="*/ 8723 w 14736"/>
                <a:gd name="T119" fmla="*/ 3661 h 12749"/>
                <a:gd name="T120" fmla="*/ 8047 w 14736"/>
                <a:gd name="T121" fmla="*/ 2986 h 12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736" h="12749">
                  <a:moveTo>
                    <a:pt x="14550" y="4897"/>
                  </a:moveTo>
                  <a:cubicBezTo>
                    <a:pt x="11547" y="4140"/>
                    <a:pt x="11547" y="4140"/>
                    <a:pt x="11547" y="4140"/>
                  </a:cubicBezTo>
                  <a:cubicBezTo>
                    <a:pt x="11659" y="3774"/>
                    <a:pt x="11725" y="3390"/>
                    <a:pt x="11725" y="2994"/>
                  </a:cubicBezTo>
                  <a:cubicBezTo>
                    <a:pt x="11725" y="1315"/>
                    <a:pt x="10406" y="0"/>
                    <a:pt x="8723" y="0"/>
                  </a:cubicBezTo>
                  <a:cubicBezTo>
                    <a:pt x="7039" y="0"/>
                    <a:pt x="5721" y="1315"/>
                    <a:pt x="5721" y="2994"/>
                  </a:cubicBezTo>
                  <a:cubicBezTo>
                    <a:pt x="5721" y="3537"/>
                    <a:pt x="5845" y="4056"/>
                    <a:pt x="6041" y="4537"/>
                  </a:cubicBezTo>
                  <a:cubicBezTo>
                    <a:pt x="4637" y="4882"/>
                    <a:pt x="4637" y="4882"/>
                    <a:pt x="4637" y="4882"/>
                  </a:cubicBezTo>
                  <a:cubicBezTo>
                    <a:pt x="312" y="3671"/>
                    <a:pt x="312" y="3671"/>
                    <a:pt x="312" y="3671"/>
                  </a:cubicBezTo>
                  <a:cubicBezTo>
                    <a:pt x="238" y="3650"/>
                    <a:pt x="158" y="3665"/>
                    <a:pt x="97" y="3712"/>
                  </a:cubicBezTo>
                  <a:cubicBezTo>
                    <a:pt x="36" y="3758"/>
                    <a:pt x="0" y="3831"/>
                    <a:pt x="0" y="3908"/>
                  </a:cubicBezTo>
                  <a:cubicBezTo>
                    <a:pt x="0" y="11275"/>
                    <a:pt x="0" y="11275"/>
                    <a:pt x="0" y="11275"/>
                  </a:cubicBezTo>
                  <a:cubicBezTo>
                    <a:pt x="0" y="11385"/>
                    <a:pt x="73" y="11482"/>
                    <a:pt x="179" y="11512"/>
                  </a:cubicBezTo>
                  <a:cubicBezTo>
                    <a:pt x="4553" y="12740"/>
                    <a:pt x="4553" y="12740"/>
                    <a:pt x="4553" y="12740"/>
                  </a:cubicBezTo>
                  <a:cubicBezTo>
                    <a:pt x="4584" y="12748"/>
                    <a:pt x="4616" y="12749"/>
                    <a:pt x="4648" y="12745"/>
                  </a:cubicBezTo>
                  <a:cubicBezTo>
                    <a:pt x="4654" y="12745"/>
                    <a:pt x="4660" y="12749"/>
                    <a:pt x="4667" y="12749"/>
                  </a:cubicBezTo>
                  <a:cubicBezTo>
                    <a:pt x="4709" y="12749"/>
                    <a:pt x="4747" y="12735"/>
                    <a:pt x="4782" y="12716"/>
                  </a:cubicBezTo>
                  <a:cubicBezTo>
                    <a:pt x="9605" y="11528"/>
                    <a:pt x="9605" y="11528"/>
                    <a:pt x="9605" y="11528"/>
                  </a:cubicBezTo>
                  <a:cubicBezTo>
                    <a:pt x="14430" y="12741"/>
                    <a:pt x="14430" y="12741"/>
                    <a:pt x="14430" y="12741"/>
                  </a:cubicBezTo>
                  <a:cubicBezTo>
                    <a:pt x="14450" y="12746"/>
                    <a:pt x="14470" y="12749"/>
                    <a:pt x="14490" y="12749"/>
                  </a:cubicBezTo>
                  <a:cubicBezTo>
                    <a:pt x="14544" y="12749"/>
                    <a:pt x="14598" y="12731"/>
                    <a:pt x="14641" y="12697"/>
                  </a:cubicBezTo>
                  <a:cubicBezTo>
                    <a:pt x="14701" y="12650"/>
                    <a:pt x="14736" y="12579"/>
                    <a:pt x="14736" y="12503"/>
                  </a:cubicBezTo>
                  <a:cubicBezTo>
                    <a:pt x="14736" y="5135"/>
                    <a:pt x="14736" y="5135"/>
                    <a:pt x="14736" y="5135"/>
                  </a:cubicBezTo>
                  <a:cubicBezTo>
                    <a:pt x="14736" y="5023"/>
                    <a:pt x="14659" y="4925"/>
                    <a:pt x="14550" y="4897"/>
                  </a:cubicBezTo>
                  <a:close/>
                  <a:moveTo>
                    <a:pt x="8723" y="491"/>
                  </a:moveTo>
                  <a:cubicBezTo>
                    <a:pt x="10131" y="491"/>
                    <a:pt x="11234" y="1590"/>
                    <a:pt x="11234" y="2994"/>
                  </a:cubicBezTo>
                  <a:cubicBezTo>
                    <a:pt x="11234" y="3389"/>
                    <a:pt x="11154" y="3773"/>
                    <a:pt x="11026" y="4139"/>
                  </a:cubicBezTo>
                  <a:cubicBezTo>
                    <a:pt x="10997" y="4169"/>
                    <a:pt x="10974" y="4203"/>
                    <a:pt x="10963" y="4246"/>
                  </a:cubicBezTo>
                  <a:cubicBezTo>
                    <a:pt x="10957" y="4268"/>
                    <a:pt x="10959" y="4290"/>
                    <a:pt x="10960" y="4312"/>
                  </a:cubicBezTo>
                  <a:cubicBezTo>
                    <a:pt x="10403" y="5705"/>
                    <a:pt x="9149" y="6801"/>
                    <a:pt x="8723" y="7144"/>
                  </a:cubicBezTo>
                  <a:cubicBezTo>
                    <a:pt x="8169" y="6698"/>
                    <a:pt x="6212" y="4982"/>
                    <a:pt x="6212" y="2994"/>
                  </a:cubicBezTo>
                  <a:cubicBezTo>
                    <a:pt x="6212" y="1590"/>
                    <a:pt x="7315" y="491"/>
                    <a:pt x="8723" y="491"/>
                  </a:cubicBezTo>
                  <a:close/>
                  <a:moveTo>
                    <a:pt x="8578" y="7653"/>
                  </a:moveTo>
                  <a:cubicBezTo>
                    <a:pt x="8621" y="7685"/>
                    <a:pt x="8672" y="7700"/>
                    <a:pt x="8723" y="7700"/>
                  </a:cubicBezTo>
                  <a:cubicBezTo>
                    <a:pt x="8773" y="7700"/>
                    <a:pt x="8823" y="7685"/>
                    <a:pt x="8866" y="7653"/>
                  </a:cubicBezTo>
                  <a:cubicBezTo>
                    <a:pt x="8894" y="7633"/>
                    <a:pt x="9076" y="7500"/>
                    <a:pt x="9332" y="7275"/>
                  </a:cubicBezTo>
                  <a:cubicBezTo>
                    <a:pt x="9332" y="11090"/>
                    <a:pt x="9332" y="11090"/>
                    <a:pt x="9332" y="11090"/>
                  </a:cubicBezTo>
                  <a:cubicBezTo>
                    <a:pt x="4912" y="12178"/>
                    <a:pt x="4912" y="12178"/>
                    <a:pt x="4912" y="12178"/>
                  </a:cubicBezTo>
                  <a:cubicBezTo>
                    <a:pt x="4912" y="5320"/>
                    <a:pt x="4912" y="5320"/>
                    <a:pt x="4912" y="5320"/>
                  </a:cubicBezTo>
                  <a:cubicBezTo>
                    <a:pt x="6251" y="4991"/>
                    <a:pt x="6251" y="4991"/>
                    <a:pt x="6251" y="4991"/>
                  </a:cubicBezTo>
                  <a:cubicBezTo>
                    <a:pt x="7054" y="6532"/>
                    <a:pt x="8494" y="7593"/>
                    <a:pt x="8578" y="7653"/>
                  </a:cubicBezTo>
                  <a:close/>
                  <a:moveTo>
                    <a:pt x="492" y="4231"/>
                  </a:moveTo>
                  <a:cubicBezTo>
                    <a:pt x="4420" y="5331"/>
                    <a:pt x="4420" y="5331"/>
                    <a:pt x="4420" y="5331"/>
                  </a:cubicBezTo>
                  <a:cubicBezTo>
                    <a:pt x="4420" y="12192"/>
                    <a:pt x="4420" y="12192"/>
                    <a:pt x="4420" y="12192"/>
                  </a:cubicBezTo>
                  <a:cubicBezTo>
                    <a:pt x="492" y="11089"/>
                    <a:pt x="492" y="11089"/>
                    <a:pt x="492" y="11089"/>
                  </a:cubicBezTo>
                  <a:lnTo>
                    <a:pt x="492" y="4231"/>
                  </a:lnTo>
                  <a:close/>
                  <a:moveTo>
                    <a:pt x="14244" y="12188"/>
                  </a:moveTo>
                  <a:cubicBezTo>
                    <a:pt x="9824" y="11077"/>
                    <a:pt x="9824" y="11077"/>
                    <a:pt x="9824" y="11077"/>
                  </a:cubicBezTo>
                  <a:cubicBezTo>
                    <a:pt x="9824" y="6815"/>
                    <a:pt x="9824" y="6815"/>
                    <a:pt x="9824" y="6815"/>
                  </a:cubicBezTo>
                  <a:cubicBezTo>
                    <a:pt x="10360" y="6276"/>
                    <a:pt x="10993" y="5508"/>
                    <a:pt x="11377" y="4604"/>
                  </a:cubicBezTo>
                  <a:cubicBezTo>
                    <a:pt x="14244" y="5327"/>
                    <a:pt x="14244" y="5327"/>
                    <a:pt x="14244" y="5327"/>
                  </a:cubicBezTo>
                  <a:lnTo>
                    <a:pt x="14244" y="12188"/>
                  </a:lnTo>
                  <a:close/>
                  <a:moveTo>
                    <a:pt x="9889" y="2986"/>
                  </a:moveTo>
                  <a:cubicBezTo>
                    <a:pt x="9889" y="2343"/>
                    <a:pt x="9366" y="1819"/>
                    <a:pt x="8723" y="1819"/>
                  </a:cubicBezTo>
                  <a:cubicBezTo>
                    <a:pt x="8079" y="1819"/>
                    <a:pt x="7556" y="2343"/>
                    <a:pt x="7556" y="2986"/>
                  </a:cubicBezTo>
                  <a:cubicBezTo>
                    <a:pt x="7556" y="3629"/>
                    <a:pt x="8079" y="4152"/>
                    <a:pt x="8723" y="4152"/>
                  </a:cubicBezTo>
                  <a:cubicBezTo>
                    <a:pt x="9366" y="4152"/>
                    <a:pt x="9889" y="3629"/>
                    <a:pt x="9889" y="2986"/>
                  </a:cubicBezTo>
                  <a:close/>
                  <a:moveTo>
                    <a:pt x="8047" y="2986"/>
                  </a:moveTo>
                  <a:cubicBezTo>
                    <a:pt x="8047" y="2614"/>
                    <a:pt x="8350" y="2311"/>
                    <a:pt x="8723" y="2311"/>
                  </a:cubicBezTo>
                  <a:cubicBezTo>
                    <a:pt x="9095" y="2311"/>
                    <a:pt x="9398" y="2614"/>
                    <a:pt x="9398" y="2986"/>
                  </a:cubicBezTo>
                  <a:cubicBezTo>
                    <a:pt x="9398" y="3358"/>
                    <a:pt x="9095" y="3661"/>
                    <a:pt x="8723" y="3661"/>
                  </a:cubicBezTo>
                  <a:cubicBezTo>
                    <a:pt x="8350" y="3661"/>
                    <a:pt x="8047" y="3358"/>
                    <a:pt x="8047" y="2986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pic>
        <p:nvPicPr>
          <p:cNvPr id="52227" name="Picture 3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7362" y="4554646"/>
            <a:ext cx="4361707" cy="105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37895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368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3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6" dur="2000"/>
                                        <p:tgtEl>
                                          <p:spTgt spid="368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368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368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6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5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tr-TR" dirty="0" smtClean="0"/>
              <a:t>2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52971" y="3278015"/>
            <a:ext cx="10296000" cy="123110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Current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trends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affecting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independent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aftermarket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usines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tr-TR" dirty="0" err="1" smtClean="0"/>
              <a:t>from</a:t>
            </a:r>
            <a:r>
              <a:rPr lang="tr-TR" dirty="0" smtClean="0"/>
              <a:t> </a:t>
            </a:r>
            <a:r>
              <a:rPr lang="tr-TR" dirty="0" err="1" smtClean="0"/>
              <a:t>commercial</a:t>
            </a:r>
            <a:r>
              <a:rPr lang="tr-TR" dirty="0" smtClean="0"/>
              <a:t> </a:t>
            </a:r>
            <a:r>
              <a:rPr lang="tr-TR" dirty="0" err="1" smtClean="0"/>
              <a:t>perspectiv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7467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76883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03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4163746"/>
              </p:ext>
            </p:extLst>
          </p:nvPr>
        </p:nvGraphicFramePr>
        <p:xfrm>
          <a:off x="552971" y="1340768"/>
          <a:ext cx="10801200" cy="4521600"/>
        </p:xfrm>
        <a:graphic>
          <a:graphicData uri="http://schemas.openxmlformats.org/drawingml/2006/table">
            <a:tbl>
              <a:tblPr firstRow="1" bandRow="1">
                <a:tableStyleId>{14157335-EB13-44B1-876C-26414CB51497}</a:tableStyleId>
              </a:tblPr>
              <a:tblGrid>
                <a:gridCol w="2700300"/>
                <a:gridCol w="2700300"/>
                <a:gridCol w="2700300"/>
                <a:gridCol w="2700300"/>
              </a:tblGrid>
              <a:tr h="3213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noProof="0" dirty="0" smtClean="0"/>
                        <a:t>Value</a:t>
                      </a:r>
                      <a:r>
                        <a:rPr lang="tr-TR" sz="1600" baseline="0" noProof="0" dirty="0" smtClean="0"/>
                        <a:t> </a:t>
                      </a:r>
                      <a:r>
                        <a:rPr lang="tr-TR" sz="1600" baseline="0" noProof="0" dirty="0" err="1" smtClean="0"/>
                        <a:t>Chain</a:t>
                      </a:r>
                      <a:endParaRPr lang="en-US" sz="1600" b="1" noProof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tr-TR" sz="1600" noProof="0" dirty="0" smtClean="0"/>
                        <a:t>Product</a:t>
                      </a:r>
                      <a:endParaRPr lang="en-US" sz="16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600" noProof="0" dirty="0" err="1" smtClean="0"/>
                        <a:t>Logistics</a:t>
                      </a:r>
                      <a:endParaRPr kumimoji="0" lang="en-US" sz="16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indent="0" algn="l"/>
                      <a:r>
                        <a:rPr lang="tr-TR" sz="1600" noProof="0" dirty="0" err="1" smtClean="0"/>
                        <a:t>Technology</a:t>
                      </a:r>
                      <a:endParaRPr lang="en-US" sz="1600" b="1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</a:tr>
              <a:tr h="321302">
                <a:tc>
                  <a:txBody>
                    <a:bodyPr/>
                    <a:lstStyle/>
                    <a:p>
                      <a:pPr marL="0" indent="0" algn="l"/>
                      <a:r>
                        <a:rPr lang="de-DE" sz="1400" dirty="0" err="1" smtClean="0">
                          <a:latin typeface="+mn-lt"/>
                        </a:rPr>
                        <a:t>Blurre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border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between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endParaRPr lang="tr-TR" sz="1400" dirty="0" smtClean="0">
                        <a:latin typeface="+mn-lt"/>
                      </a:endParaRPr>
                    </a:p>
                    <a:p>
                      <a:pPr marL="0" indent="0" algn="l"/>
                      <a:r>
                        <a:rPr lang="de-DE" sz="1400" dirty="0" smtClean="0">
                          <a:latin typeface="+mn-lt"/>
                        </a:rPr>
                        <a:t>OES </a:t>
                      </a:r>
                      <a:r>
                        <a:rPr lang="de-DE" sz="1400" dirty="0" err="1" smtClean="0">
                          <a:latin typeface="+mn-lt"/>
                        </a:rPr>
                        <a:t>and</a:t>
                      </a:r>
                      <a:r>
                        <a:rPr lang="de-DE" sz="1400" dirty="0" smtClean="0">
                          <a:latin typeface="+mn-lt"/>
                        </a:rPr>
                        <a:t> IAM</a:t>
                      </a: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>
                          <a:latin typeface="+mn-lt"/>
                        </a:rPr>
                        <a:t>Spare </a:t>
                      </a:r>
                      <a:r>
                        <a:rPr lang="de-DE" sz="1400" dirty="0" err="1" smtClean="0">
                          <a:latin typeface="+mn-lt"/>
                        </a:rPr>
                        <a:t>part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become</a:t>
                      </a:r>
                      <a:r>
                        <a:rPr lang="de-DE" sz="1400" dirty="0" smtClean="0">
                          <a:latin typeface="+mn-lt"/>
                        </a:rPr>
                        <a:t> a </a:t>
                      </a:r>
                      <a:r>
                        <a:rPr lang="de-DE" sz="1400" dirty="0" err="1" smtClean="0">
                          <a:latin typeface="+mn-lt"/>
                        </a:rPr>
                        <a:t>commodity</a:t>
                      </a:r>
                      <a:endParaRPr lang="de-DE" sz="1400" dirty="0" smtClean="0">
                        <a:latin typeface="+mn-lt"/>
                      </a:endParaRPr>
                    </a:p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="0" noProof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>
                          <a:latin typeface="+mn-lt"/>
                        </a:rPr>
                        <a:t>Customer </a:t>
                      </a:r>
                      <a:r>
                        <a:rPr lang="de-DE" sz="1400" dirty="0" err="1" smtClean="0">
                          <a:latin typeface="+mn-lt"/>
                        </a:rPr>
                        <a:t>expect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tailor</a:t>
                      </a:r>
                      <a:r>
                        <a:rPr lang="de-DE" sz="1400" dirty="0" smtClean="0">
                          <a:latin typeface="+mn-lt"/>
                        </a:rPr>
                        <a:t>-made </a:t>
                      </a:r>
                      <a:r>
                        <a:rPr lang="de-DE" sz="1400" dirty="0" err="1" smtClean="0">
                          <a:latin typeface="+mn-lt"/>
                        </a:rPr>
                        <a:t>solutions</a:t>
                      </a:r>
                      <a:endParaRPr lang="de-DE" sz="1400" dirty="0" smtClean="0">
                        <a:latin typeface="+mn-lt"/>
                      </a:endParaRPr>
                    </a:p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/>
                        <a:t>Car </a:t>
                      </a:r>
                      <a:r>
                        <a:rPr lang="de-DE" sz="1400" dirty="0" err="1" smtClean="0"/>
                        <a:t>repair</a:t>
                      </a:r>
                      <a:r>
                        <a:rPr lang="de-DE" sz="1400" dirty="0" smtClean="0"/>
                        <a:t> will </a:t>
                      </a:r>
                      <a:r>
                        <a:rPr lang="de-DE" sz="1400" dirty="0" err="1" smtClean="0"/>
                        <a:t>become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more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complex</a:t>
                      </a:r>
                      <a:r>
                        <a:rPr lang="de-DE" sz="1400" dirty="0" smtClean="0"/>
                        <a:t> (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software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vs.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mechanical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parts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) </a:t>
                      </a:r>
                      <a:r>
                        <a:rPr lang="tr-TR" sz="1400" dirty="0" err="1" smtClean="0">
                          <a:sym typeface="Wingdings" panose="05000000000000000000" pitchFamily="2" charset="2"/>
                        </a:rPr>
                        <a:t>needs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investment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into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workshop</a:t>
                      </a:r>
                      <a:r>
                        <a:rPr lang="de-DE" sz="1400" dirty="0" smtClean="0">
                          <a:sym typeface="Wingdings" panose="05000000000000000000" pitchFamily="2" charset="2"/>
                        </a:rPr>
                        <a:t> </a:t>
                      </a:r>
                      <a:r>
                        <a:rPr lang="de-DE" sz="1400" dirty="0" err="1" smtClean="0">
                          <a:sym typeface="Wingdings" panose="05000000000000000000" pitchFamily="2" charset="2"/>
                        </a:rPr>
                        <a:t>infrastructure</a:t>
                      </a:r>
                      <a:endParaRPr lang="de-DE" sz="1400" dirty="0" smtClean="0"/>
                    </a:p>
                  </a:txBody>
                  <a:tcPr marL="90000" marR="90000" marT="72000" marB="72000"/>
                </a:tc>
              </a:tr>
              <a:tr h="321302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 smtClean="0">
                          <a:latin typeface="+mn-lt"/>
                        </a:rPr>
                        <a:t>Rising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mportanc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of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endParaRPr lang="tr-TR" sz="1400" dirty="0" smtClean="0">
                        <a:latin typeface="+mn-lt"/>
                      </a:endParaRPr>
                    </a:p>
                    <a:p>
                      <a:pPr algn="l"/>
                      <a:r>
                        <a:rPr lang="de-DE" sz="1400" dirty="0" smtClean="0">
                          <a:latin typeface="+mn-lt"/>
                        </a:rPr>
                        <a:t>E-Commerce</a:t>
                      </a:r>
                      <a:endParaRPr lang="de-DE" sz="1400" dirty="0">
                        <a:latin typeface="+mn-lt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>
                          <a:latin typeface="+mn-lt"/>
                        </a:rPr>
                        <a:t>Increase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product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segmentation</a:t>
                      </a:r>
                      <a:r>
                        <a:rPr lang="de-DE" sz="1400" dirty="0" smtClean="0">
                          <a:latin typeface="+mn-lt"/>
                        </a:rPr>
                        <a:t> (</a:t>
                      </a:r>
                      <a:r>
                        <a:rPr lang="de-DE" sz="1400" dirty="0" err="1" smtClean="0">
                          <a:latin typeface="+mn-lt"/>
                        </a:rPr>
                        <a:t>good</a:t>
                      </a:r>
                      <a:r>
                        <a:rPr lang="de-DE" sz="1400" dirty="0" smtClean="0">
                          <a:latin typeface="+mn-lt"/>
                        </a:rPr>
                        <a:t>/</a:t>
                      </a:r>
                      <a:r>
                        <a:rPr lang="de-DE" sz="1400" dirty="0" err="1" smtClean="0">
                          <a:latin typeface="+mn-lt"/>
                        </a:rPr>
                        <a:t>better</a:t>
                      </a:r>
                      <a:r>
                        <a:rPr lang="de-DE" sz="1400" dirty="0" smtClean="0">
                          <a:latin typeface="+mn-lt"/>
                        </a:rPr>
                        <a:t>/</a:t>
                      </a:r>
                      <a:r>
                        <a:rPr lang="de-DE" sz="1400" dirty="0" err="1" smtClean="0">
                          <a:latin typeface="+mn-lt"/>
                        </a:rPr>
                        <a:t>best</a:t>
                      </a:r>
                      <a:r>
                        <a:rPr lang="de-DE" sz="1400" dirty="0" smtClean="0">
                          <a:latin typeface="+mn-lt"/>
                        </a:rPr>
                        <a:t>)</a:t>
                      </a: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>
                          <a:latin typeface="+mn-lt"/>
                        </a:rPr>
                        <a:t>Supplier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an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distributor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ar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heavily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nvesting</a:t>
                      </a:r>
                      <a:r>
                        <a:rPr lang="de-DE" sz="1400" dirty="0" smtClean="0">
                          <a:latin typeface="+mn-lt"/>
                        </a:rPr>
                        <a:t> in </a:t>
                      </a:r>
                      <a:r>
                        <a:rPr lang="de-DE" sz="1400" dirty="0" err="1" smtClean="0">
                          <a:latin typeface="+mn-lt"/>
                        </a:rPr>
                        <a:t>infrastructur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/>
                        <a:t>E-</a:t>
                      </a:r>
                      <a:r>
                        <a:rPr lang="de-DE" sz="1400" dirty="0" err="1" smtClean="0"/>
                        <a:t>call</a:t>
                      </a:r>
                      <a:r>
                        <a:rPr lang="de-DE" sz="1400" dirty="0" smtClean="0"/>
                        <a:t>, </a:t>
                      </a:r>
                      <a:r>
                        <a:rPr lang="de-DE" sz="1400" dirty="0" err="1" smtClean="0"/>
                        <a:t>connected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car</a:t>
                      </a:r>
                      <a:r>
                        <a:rPr lang="de-DE" sz="1400" dirty="0" smtClean="0"/>
                        <a:t>, </a:t>
                      </a:r>
                      <a:r>
                        <a:rPr lang="de-DE" sz="1400" dirty="0" err="1" smtClean="0"/>
                        <a:t>service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data</a:t>
                      </a:r>
                      <a:endParaRPr lang="de-DE" sz="1400" dirty="0" smtClean="0"/>
                    </a:p>
                  </a:txBody>
                  <a:tcPr marL="90000" marR="90000" marT="72000" marB="72000"/>
                </a:tc>
              </a:tr>
              <a:tr h="3213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400" dirty="0" err="1" smtClean="0">
                          <a:latin typeface="+mn-lt"/>
                        </a:rPr>
                        <a:t>Increase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transparency</a:t>
                      </a:r>
                      <a:r>
                        <a:rPr lang="de-DE" sz="1400" dirty="0" smtClean="0">
                          <a:latin typeface="+mn-lt"/>
                        </a:rPr>
                        <a:t> for </a:t>
                      </a:r>
                      <a:r>
                        <a:rPr lang="de-DE" sz="1400" dirty="0" err="1" smtClean="0">
                          <a:latin typeface="+mn-lt"/>
                        </a:rPr>
                        <a:t>workshop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an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car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owner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endParaRPr lang="en-US" sz="1400" b="0" noProof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>
                          <a:latin typeface="+mn-lt"/>
                        </a:rPr>
                        <a:t>Multi-brand </a:t>
                      </a:r>
                      <a:r>
                        <a:rPr lang="de-DE" sz="1400" dirty="0" err="1" smtClean="0">
                          <a:latin typeface="+mn-lt"/>
                        </a:rPr>
                        <a:t>sales</a:t>
                      </a:r>
                      <a:endParaRPr lang="de-DE" sz="1400" dirty="0" smtClean="0">
                        <a:latin typeface="+mn-lt"/>
                      </a:endParaRPr>
                    </a:p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="0" noProof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>
                          <a:latin typeface="+mn-lt"/>
                        </a:rPr>
                        <a:t>Parts </a:t>
                      </a:r>
                      <a:r>
                        <a:rPr lang="de-DE" sz="1400" dirty="0" err="1" smtClean="0">
                          <a:latin typeface="+mn-lt"/>
                        </a:rPr>
                        <a:t>availability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s</a:t>
                      </a:r>
                      <a:r>
                        <a:rPr lang="de-DE" sz="1400" dirty="0" smtClean="0">
                          <a:latin typeface="+mn-lt"/>
                        </a:rPr>
                        <a:t> a </a:t>
                      </a:r>
                      <a:r>
                        <a:rPr lang="de-DE" sz="1400" dirty="0" err="1" smtClean="0">
                          <a:latin typeface="+mn-lt"/>
                        </a:rPr>
                        <a:t>major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business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enabler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</a:p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smtClean="0"/>
                        <a:t>Multi-</a:t>
                      </a:r>
                      <a:r>
                        <a:rPr lang="de-DE" sz="1400" dirty="0" err="1" smtClean="0"/>
                        <a:t>channel</a:t>
                      </a:r>
                      <a:r>
                        <a:rPr lang="de-DE" sz="1400" dirty="0" smtClean="0"/>
                        <a:t> </a:t>
                      </a:r>
                      <a:r>
                        <a:rPr lang="tr-TR" sz="1400" dirty="0" smtClean="0"/>
                        <a:t>c</a:t>
                      </a:r>
                      <a:r>
                        <a:rPr lang="de-DE" sz="1400" dirty="0" err="1" smtClean="0"/>
                        <a:t>ommunication</a:t>
                      </a:r>
                      <a:r>
                        <a:rPr lang="de-DE" sz="1400" dirty="0" smtClean="0"/>
                        <a:t/>
                      </a:r>
                      <a:br>
                        <a:rPr lang="de-DE" sz="1400" dirty="0" smtClean="0"/>
                      </a:br>
                      <a:r>
                        <a:rPr lang="de-DE" sz="1400" dirty="0" smtClean="0"/>
                        <a:t>(E-Mail, Skype, </a:t>
                      </a:r>
                      <a:r>
                        <a:rPr lang="de-DE" sz="1400" dirty="0" err="1" smtClean="0"/>
                        <a:t>Social</a:t>
                      </a:r>
                      <a:r>
                        <a:rPr lang="de-DE" sz="1400" dirty="0" smtClean="0"/>
                        <a:t>-Media, VOIP, etc.)</a:t>
                      </a:r>
                    </a:p>
                  </a:txBody>
                  <a:tcPr marL="90000" marR="90000" marT="72000" marB="72000"/>
                </a:tc>
              </a:tr>
              <a:tr h="321302">
                <a:tc>
                  <a:txBody>
                    <a:bodyPr/>
                    <a:lstStyle/>
                    <a:p>
                      <a:pPr algn="l"/>
                      <a:r>
                        <a:rPr lang="de-DE" sz="1400" dirty="0" smtClean="0">
                          <a:latin typeface="+mn-lt"/>
                        </a:rPr>
                        <a:t>Margin </a:t>
                      </a:r>
                      <a:r>
                        <a:rPr lang="de-DE" sz="1400" dirty="0" err="1" smtClean="0">
                          <a:latin typeface="+mn-lt"/>
                        </a:rPr>
                        <a:t>pressur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esp</a:t>
                      </a:r>
                      <a:r>
                        <a:rPr lang="de-DE" sz="1400" dirty="0" smtClean="0">
                          <a:latin typeface="+mn-lt"/>
                        </a:rPr>
                        <a:t>. on 2nd </a:t>
                      </a:r>
                      <a:r>
                        <a:rPr lang="de-DE" sz="1400" dirty="0" err="1" smtClean="0">
                          <a:latin typeface="+mn-lt"/>
                        </a:rPr>
                        <a:t>trad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level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and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ndustry</a:t>
                      </a:r>
                      <a:endParaRPr lang="de-DE" sz="1400" dirty="0">
                        <a:latin typeface="+mn-lt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>
                          <a:latin typeface="+mn-lt"/>
                        </a:rPr>
                        <a:t>Know</a:t>
                      </a:r>
                      <a:r>
                        <a:rPr lang="de-DE" sz="1400" dirty="0" smtClean="0">
                          <a:latin typeface="+mn-lt"/>
                        </a:rPr>
                        <a:t>-</a:t>
                      </a:r>
                      <a:r>
                        <a:rPr lang="tr-TR" sz="1400" dirty="0" smtClean="0">
                          <a:latin typeface="+mn-lt"/>
                        </a:rPr>
                        <a:t>H</a:t>
                      </a:r>
                      <a:r>
                        <a:rPr lang="de-DE" sz="1400" dirty="0" err="1" smtClean="0">
                          <a:latin typeface="+mn-lt"/>
                        </a:rPr>
                        <a:t>ow</a:t>
                      </a:r>
                      <a:r>
                        <a:rPr lang="de-DE" sz="1400" dirty="0" smtClean="0">
                          <a:latin typeface="+mn-lt"/>
                        </a:rPr>
                        <a:t> will </a:t>
                      </a:r>
                      <a:r>
                        <a:rPr lang="de-DE" sz="1400" dirty="0" err="1" smtClean="0">
                          <a:latin typeface="+mn-lt"/>
                        </a:rPr>
                        <a:t>becom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mor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mportant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than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th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part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itself</a:t>
                      </a:r>
                      <a:endParaRPr lang="de-DE" sz="1400" dirty="0" smtClean="0">
                        <a:latin typeface="+mn-lt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>
                          <a:latin typeface="+mn-lt"/>
                        </a:rPr>
                        <a:t>Increase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of</a:t>
                      </a:r>
                      <a:r>
                        <a:rPr lang="de-DE" sz="1400" dirty="0" smtClean="0">
                          <a:latin typeface="+mn-lt"/>
                        </a:rPr>
                        <a:t> </a:t>
                      </a:r>
                      <a:r>
                        <a:rPr lang="de-DE" sz="1400" dirty="0" err="1" smtClean="0">
                          <a:latin typeface="+mn-lt"/>
                        </a:rPr>
                        <a:t>drop</a:t>
                      </a:r>
                      <a:r>
                        <a:rPr lang="de-DE" sz="1400" dirty="0" smtClean="0">
                          <a:latin typeface="+mn-lt"/>
                        </a:rPr>
                        <a:t>-off </a:t>
                      </a:r>
                      <a:r>
                        <a:rPr lang="de-DE" sz="1400" dirty="0" err="1" smtClean="0">
                          <a:latin typeface="+mn-lt"/>
                        </a:rPr>
                        <a:t>locations</a:t>
                      </a:r>
                      <a:endParaRPr lang="de-DE" sz="1400" dirty="0" smtClean="0">
                        <a:latin typeface="+mn-lt"/>
                      </a:endParaRPr>
                    </a:p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endParaRPr lang="en-US" sz="1400" b="0" noProof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lvl="1" indent="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</a:pPr>
                      <a:r>
                        <a:rPr lang="de-DE" sz="1400" dirty="0" err="1" smtClean="0"/>
                        <a:t>Digitalisation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of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processes</a:t>
                      </a:r>
                      <a:r>
                        <a:rPr lang="de-DE" sz="1400" dirty="0" smtClean="0"/>
                        <a:t> </a:t>
                      </a:r>
                      <a:endParaRPr lang="en-US" sz="1400" b="0" noProof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</a:tr>
              <a:tr h="321302">
                <a:tc>
                  <a:txBody>
                    <a:bodyPr/>
                    <a:lstStyle/>
                    <a:p>
                      <a:pPr algn="l"/>
                      <a:r>
                        <a:rPr lang="de-DE" sz="1400" dirty="0" err="1" smtClean="0"/>
                        <a:t>Vertical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integration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of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market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players</a:t>
                      </a:r>
                      <a:r>
                        <a:rPr lang="de-DE" sz="1400" dirty="0" smtClean="0"/>
                        <a:t> </a:t>
                      </a:r>
                      <a:endParaRPr lang="de-DE" sz="1400" dirty="0">
                        <a:latin typeface="+mn-lt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tr-T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pulation</a:t>
                      </a:r>
                      <a:r>
                        <a:rPr lang="tr-T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cames</a:t>
                      </a:r>
                      <a:r>
                        <a:rPr lang="tr-T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re</a:t>
                      </a:r>
                      <a:r>
                        <a:rPr lang="tr-T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alth</a:t>
                      </a:r>
                      <a:r>
                        <a:rPr lang="tr-TR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tr-TR" sz="14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cious</a:t>
                      </a:r>
                      <a:endParaRPr lang="de-DE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/>
                        <a:t>Increased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technical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complexity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of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cars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leads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to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higher</a:t>
                      </a:r>
                      <a:r>
                        <a:rPr lang="de-DE" sz="1400" dirty="0" smtClean="0"/>
                        <a:t> # </a:t>
                      </a:r>
                      <a:r>
                        <a:rPr lang="de-DE" sz="1400" dirty="0" err="1" smtClean="0"/>
                        <a:t>of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SKU‘s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to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fulfill</a:t>
                      </a:r>
                      <a:r>
                        <a:rPr lang="de-DE" sz="1400" dirty="0" smtClean="0"/>
                        <a:t>  </a:t>
                      </a:r>
                      <a:r>
                        <a:rPr lang="de-DE" sz="1400" dirty="0" err="1" smtClean="0"/>
                        <a:t>market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rqmnts</a:t>
                      </a:r>
                      <a:endParaRPr lang="de-DE" sz="1400" dirty="0" smtClean="0"/>
                    </a:p>
                  </a:txBody>
                  <a:tcPr marL="90000" marR="90000" marT="72000" marB="72000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de-DE" sz="1400" dirty="0" err="1" smtClean="0"/>
                        <a:t>Electric</a:t>
                      </a:r>
                      <a:r>
                        <a:rPr lang="de-DE" sz="1400" dirty="0" smtClean="0"/>
                        <a:t> </a:t>
                      </a:r>
                      <a:r>
                        <a:rPr lang="tr-TR" sz="1400" dirty="0" smtClean="0"/>
                        <a:t>c</a:t>
                      </a:r>
                      <a:r>
                        <a:rPr lang="de-DE" sz="1400" dirty="0" err="1" smtClean="0"/>
                        <a:t>ar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and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respective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infrastructure</a:t>
                      </a:r>
                      <a:r>
                        <a:rPr lang="de-DE" sz="1400" dirty="0" smtClean="0"/>
                        <a:t>/</a:t>
                      </a:r>
                      <a:r>
                        <a:rPr lang="de-DE" sz="1400" dirty="0" err="1" smtClean="0"/>
                        <a:t>business</a:t>
                      </a:r>
                      <a:r>
                        <a:rPr lang="de-DE" sz="1400" dirty="0" smtClean="0"/>
                        <a:t> </a:t>
                      </a:r>
                      <a:r>
                        <a:rPr lang="de-DE" sz="1400" dirty="0" err="1" smtClean="0"/>
                        <a:t>models</a:t>
                      </a:r>
                      <a:endParaRPr lang="de-DE" sz="1400" dirty="0" smtClean="0"/>
                    </a:p>
                    <a:p>
                      <a:pPr marL="180000" lvl="1" indent="-180000" algn="l" defTabSz="914400" rtl="0" eaLnBrk="1" latinLnBrk="0" hangingPunct="1">
                        <a:buClr>
                          <a:schemeClr val="accent2"/>
                        </a:buClr>
                        <a:buSzPct val="100000"/>
                        <a:buFont typeface="Wingdings" panose="05000000000000000000" pitchFamily="2" charset="2"/>
                        <a:buChar char="§"/>
                      </a:pPr>
                      <a:endParaRPr lang="en-US" sz="1400" b="0" noProof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0000" marR="90000" marT="72000" marB="72000"/>
                </a:tc>
              </a:tr>
            </a:tbl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tr-TR" dirty="0" smtClean="0"/>
              <a:t>Main hot </a:t>
            </a:r>
            <a:r>
              <a:rPr lang="tr-TR" dirty="0" err="1" smtClean="0"/>
              <a:t>topic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tr-TR" dirty="0" err="1" smtClean="0"/>
              <a:t>Trends</a:t>
            </a:r>
            <a:r>
              <a:rPr lang="tr-TR" dirty="0" smtClean="0"/>
              <a:t> </a:t>
            </a:r>
            <a:r>
              <a:rPr lang="tr-TR" dirty="0" err="1" smtClean="0"/>
              <a:t>Affecting</a:t>
            </a:r>
            <a:r>
              <a:rPr lang="tr-TR" dirty="0" smtClean="0"/>
              <a:t> </a:t>
            </a:r>
            <a:r>
              <a:rPr lang="tr-TR" dirty="0" err="1" smtClean="0"/>
              <a:t>Independent</a:t>
            </a:r>
            <a:r>
              <a:rPr lang="tr-TR" dirty="0" smtClean="0"/>
              <a:t> </a:t>
            </a:r>
            <a:r>
              <a:rPr lang="tr-TR" dirty="0" err="1" smtClean="0"/>
              <a:t>Aftermarket</a:t>
            </a:r>
            <a:endParaRPr lang="en-US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481234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tr-TR" dirty="0" smtClean="0"/>
              <a:t>3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52971" y="3278015"/>
            <a:ext cx="10296000" cy="1231106"/>
          </a:xfrm>
        </p:spPr>
        <p:txBody>
          <a:bodyPr/>
          <a:lstStyle/>
          <a:p>
            <a:pPr>
              <a:spcAft>
                <a:spcPct val="0"/>
              </a:spcAft>
            </a:pP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roache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d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marketing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29550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50395" y="4185592"/>
            <a:ext cx="3243730" cy="1764084"/>
          </a:xfrm>
          <a:prstGeom prst="rect">
            <a:avLst/>
          </a:prstGeom>
          <a:solidFill>
            <a:srgbClr val="E0E0E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0000" lvl="1" indent="-160000">
              <a:buSzPct val="100000"/>
            </a:pPr>
            <a:r>
              <a:rPr lang="tr-TR" dirty="0" err="1" smtClean="0">
                <a:latin typeface="Arial" panose="020B0604020202020204" pitchFamily="34" charset="0"/>
              </a:rPr>
              <a:t>Competence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and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experience</a:t>
            </a:r>
            <a:r>
              <a:rPr lang="tr-TR" dirty="0" smtClean="0">
                <a:latin typeface="Arial" panose="020B0604020202020204" pitchFamily="34" charset="0"/>
              </a:rPr>
              <a:t> of a </a:t>
            </a:r>
            <a:r>
              <a:rPr lang="tr-TR" dirty="0" err="1" smtClean="0">
                <a:latin typeface="Arial" panose="020B0604020202020204" pitchFamily="34" charset="0"/>
              </a:rPr>
              <a:t>leading</a:t>
            </a:r>
            <a:r>
              <a:rPr lang="tr-TR" dirty="0" smtClean="0">
                <a:latin typeface="Arial" panose="020B0604020202020204" pitchFamily="34" charset="0"/>
              </a:rPr>
              <a:t> OE </a:t>
            </a:r>
            <a:r>
              <a:rPr lang="tr-TR" dirty="0" err="1" smtClean="0">
                <a:latin typeface="Arial" panose="020B0604020202020204" pitchFamily="34" charset="0"/>
              </a:rPr>
              <a:t>manufacturer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smtClean="0">
                <a:latin typeface="Arial" panose="020B0604020202020204" pitchFamily="34" charset="0"/>
              </a:rPr>
              <a:t>Technical </a:t>
            </a:r>
            <a:r>
              <a:rPr lang="tr-TR" dirty="0" err="1" smtClean="0">
                <a:latin typeface="Arial" panose="020B0604020202020204" pitchFamily="34" charset="0"/>
              </a:rPr>
              <a:t>solution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which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meet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customer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requirements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err="1" smtClean="0">
                <a:latin typeface="Arial" panose="020B0604020202020204" pitchFamily="34" charset="0"/>
              </a:rPr>
              <a:t>Innovative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product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with</a:t>
            </a:r>
            <a:r>
              <a:rPr lang="tr-TR" dirty="0" smtClean="0">
                <a:latin typeface="Arial" panose="020B0604020202020204" pitchFamily="34" charset="0"/>
              </a:rPr>
              <a:t> an </a:t>
            </a:r>
            <a:r>
              <a:rPr lang="tr-TR" dirty="0" err="1" smtClean="0">
                <a:latin typeface="Arial" panose="020B0604020202020204" pitchFamily="34" charset="0"/>
              </a:rPr>
              <a:t>excellent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value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proposition</a:t>
            </a:r>
            <a:endParaRPr lang="tr-TR" dirty="0">
              <a:latin typeface="Arial" panose="020B0604020202020204" pitchFamily="34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597542" y="4185592"/>
            <a:ext cx="3253021" cy="1764084"/>
          </a:xfrm>
          <a:prstGeom prst="rect">
            <a:avLst/>
          </a:prstGeom>
          <a:solidFill>
            <a:srgbClr val="E0E0E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0000" lvl="1" indent="-160000">
              <a:buSzPct val="100000"/>
            </a:pPr>
            <a:r>
              <a:rPr lang="tr-TR" dirty="0" smtClean="0">
                <a:latin typeface="Arial" panose="020B0604020202020204" pitchFamily="34" charset="0"/>
              </a:rPr>
              <a:t>Professional </a:t>
            </a:r>
            <a:r>
              <a:rPr lang="tr-TR" dirty="0" err="1" smtClean="0">
                <a:latin typeface="Arial" panose="020B0604020202020204" pitchFamily="34" charset="0"/>
              </a:rPr>
              <a:t>supply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chain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management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err="1" smtClean="0">
                <a:latin typeface="Arial" panose="020B0604020202020204" pitchFamily="34" charset="0"/>
              </a:rPr>
              <a:t>Fast</a:t>
            </a:r>
            <a:r>
              <a:rPr lang="tr-TR" dirty="0" smtClean="0">
                <a:latin typeface="Arial" panose="020B0604020202020204" pitchFamily="34" charset="0"/>
              </a:rPr>
              <a:t>, </a:t>
            </a:r>
            <a:r>
              <a:rPr lang="tr-TR" dirty="0" err="1" smtClean="0">
                <a:latin typeface="Arial" panose="020B0604020202020204" pitchFamily="34" charset="0"/>
              </a:rPr>
              <a:t>accurate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and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efficient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logistic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operations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err="1" smtClean="0">
                <a:latin typeface="Arial" panose="020B0604020202020204" pitchFamily="34" charset="0"/>
              </a:rPr>
              <a:t>Excellent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reliability</a:t>
            </a:r>
            <a:r>
              <a:rPr lang="tr-TR" dirty="0" smtClean="0">
                <a:latin typeface="Arial" panose="020B0604020202020204" pitchFamily="34" charset="0"/>
              </a:rPr>
              <a:t> – </a:t>
            </a:r>
            <a:r>
              <a:rPr lang="tr-TR" dirty="0" err="1" smtClean="0">
                <a:latin typeface="Arial" panose="020B0604020202020204" pitchFamily="34" charset="0"/>
              </a:rPr>
              <a:t>excellent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delivery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performance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1" name="Rectangle 3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141157" y="4185592"/>
            <a:ext cx="3108956" cy="1764084"/>
          </a:xfrm>
          <a:prstGeom prst="rect">
            <a:avLst/>
          </a:prstGeom>
          <a:solidFill>
            <a:srgbClr val="E0E0E0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60000" lvl="1" indent="-160000">
              <a:buSzPct val="100000"/>
            </a:pPr>
            <a:r>
              <a:rPr lang="tr-TR" dirty="0" err="1" smtClean="0">
                <a:latin typeface="Arial" panose="020B0604020202020204" pitchFamily="34" charset="0"/>
              </a:rPr>
              <a:t>Dedicated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sale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team</a:t>
            </a:r>
            <a:endParaRPr lang="tr-TR" dirty="0" smtClean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smtClean="0">
                <a:latin typeface="Arial" panose="020B0604020202020204" pitchFamily="34" charset="0"/>
              </a:rPr>
              <a:t>Product </a:t>
            </a:r>
            <a:r>
              <a:rPr lang="tr-TR" dirty="0" err="1" smtClean="0">
                <a:latin typeface="Arial" panose="020B0604020202020204" pitchFamily="34" charset="0"/>
              </a:rPr>
              <a:t>training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and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technical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support</a:t>
            </a:r>
            <a:endParaRPr lang="tr-TR" dirty="0">
              <a:latin typeface="Arial" panose="020B0604020202020204" pitchFamily="34" charset="0"/>
            </a:endParaRPr>
          </a:p>
          <a:p>
            <a:pPr marL="160000" lvl="1" indent="-160000">
              <a:buSzPct val="100000"/>
            </a:pPr>
            <a:r>
              <a:rPr lang="tr-TR" dirty="0" smtClean="0">
                <a:latin typeface="Arial" panose="020B0604020202020204" pitchFamily="34" charset="0"/>
              </a:rPr>
              <a:t>Marketing </a:t>
            </a:r>
            <a:r>
              <a:rPr lang="tr-TR" dirty="0" err="1" smtClean="0">
                <a:latin typeface="Arial" panose="020B0604020202020204" pitchFamily="34" charset="0"/>
              </a:rPr>
              <a:t>and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sales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promotion</a:t>
            </a:r>
            <a:r>
              <a:rPr lang="tr-TR" dirty="0" smtClean="0">
                <a:latin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</a:rPr>
              <a:t>support</a:t>
            </a:r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15" name="Line 10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550395" y="4185592"/>
            <a:ext cx="3243730" cy="0"/>
          </a:xfrm>
          <a:prstGeom prst="line">
            <a:avLst/>
          </a:prstGeom>
          <a:noFill/>
          <a:ln w="9525" cap="sq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sz="1600" b="1" dirty="0">
              <a:latin typeface="Arial" panose="020B0604020202020204" pitchFamily="34" charset="0"/>
            </a:endParaRPr>
          </a:p>
        </p:txBody>
      </p:sp>
      <p:sp>
        <p:nvSpPr>
          <p:cNvPr id="16" name="Line 10"/>
          <p:cNvSpPr>
            <a:spLocks noChangeShapeType="1"/>
          </p:cNvSpPr>
          <p:nvPr>
            <p:custDataLst>
              <p:tags r:id="rId6"/>
            </p:custDataLst>
          </p:nvPr>
        </p:nvSpPr>
        <p:spPr bwMode="gray">
          <a:xfrm>
            <a:off x="4141157" y="4185592"/>
            <a:ext cx="3108956" cy="0"/>
          </a:xfrm>
          <a:prstGeom prst="line">
            <a:avLst/>
          </a:prstGeom>
          <a:noFill/>
          <a:ln w="9525" cap="sq">
            <a:solidFill>
              <a:schemeClr val="accent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/>
          <a:lstStyle/>
          <a:p>
            <a:endParaRPr lang="en-US" sz="1600" b="1" dirty="0">
              <a:latin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 bwMode="gray"/>
        <p:txBody>
          <a:bodyPr/>
          <a:lstStyle/>
          <a:p>
            <a:r>
              <a:rPr lang="tr-TR" dirty="0" err="1" smtClean="0"/>
              <a:t>Innovation</a:t>
            </a:r>
            <a:r>
              <a:rPr lang="tr-TR" dirty="0" smtClean="0"/>
              <a:t> in </a:t>
            </a:r>
            <a:r>
              <a:rPr lang="tr-TR" dirty="0"/>
              <a:t>Solutions x Service x </a:t>
            </a:r>
            <a:r>
              <a:rPr lang="tr-TR" dirty="0" err="1"/>
              <a:t>Supply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pproache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rade</a:t>
            </a:r>
            <a:r>
              <a:rPr lang="tr-TR" dirty="0" smtClean="0">
                <a:latin typeface="Arial" panose="020B0604020202020204" pitchFamily="34" charset="0"/>
                <a:cs typeface="Arial" panose="020B0604020202020204" pitchFamily="34" charset="0"/>
              </a:rPr>
              <a:t> marketing </a:t>
            </a:r>
            <a:r>
              <a:rPr lang="tr-TR" dirty="0" err="1" smtClean="0"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endParaRPr lang="en-US" dirty="0"/>
          </a:p>
        </p:txBody>
      </p:sp>
      <p:pic>
        <p:nvPicPr>
          <p:cNvPr id="56322" name="Picture 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395" y="1632505"/>
            <a:ext cx="3241154" cy="256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3" name="Picture 3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1363" y="1645205"/>
            <a:ext cx="3168750" cy="2541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6324" name="Picture 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7542" y="1619212"/>
            <a:ext cx="3250446" cy="2541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61199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Innovative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approaches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sales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trade</a:t>
            </a:r>
            <a:r>
              <a:rPr lang="tr-TR" dirty="0">
                <a:latin typeface="Arial" panose="020B0604020202020204" pitchFamily="34" charset="0"/>
                <a:cs typeface="Arial" panose="020B0604020202020204" pitchFamily="34" charset="0"/>
              </a:rPr>
              <a:t> marketing </a:t>
            </a:r>
            <a:r>
              <a:rPr lang="tr-TR" dirty="0" err="1">
                <a:latin typeface="Arial" panose="020B0604020202020204" pitchFamily="34" charset="0"/>
                <a:cs typeface="Arial" panose="020B0604020202020204" pitchFamily="34" charset="0"/>
              </a:rPr>
              <a:t>strategies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552971" y="1484784"/>
            <a:ext cx="111612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To ensure a profitable </a:t>
            </a:r>
            <a:r>
              <a:rPr lang="tr-TR" b="1" dirty="0" smtClean="0"/>
              <a:t>IAM </a:t>
            </a:r>
            <a:r>
              <a:rPr lang="en-US" b="1" dirty="0" smtClean="0"/>
              <a:t>business</a:t>
            </a:r>
            <a:r>
              <a:rPr lang="en-US" b="1" dirty="0"/>
              <a:t>, in spite of the increasing competitive pressure, </a:t>
            </a:r>
            <a:endParaRPr lang="tr-TR" b="1" dirty="0" smtClean="0"/>
          </a:p>
          <a:p>
            <a:r>
              <a:rPr lang="en-US" b="1" dirty="0" smtClean="0"/>
              <a:t>it </a:t>
            </a:r>
            <a:r>
              <a:rPr lang="en-US" b="1" dirty="0"/>
              <a:t>is important to: </a:t>
            </a:r>
            <a:endParaRPr lang="en-US" dirty="0"/>
          </a:p>
        </p:txBody>
      </p:sp>
      <p:pic>
        <p:nvPicPr>
          <p:cNvPr id="5529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971" y="2348880"/>
            <a:ext cx="3086100" cy="175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3721323" y="2357115"/>
            <a:ext cx="79928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/>
              <a:t>Generate sales volume growth by 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Competitive </a:t>
            </a:r>
            <a:r>
              <a:rPr lang="tr-TR" dirty="0" err="1" smtClean="0"/>
              <a:t>offer</a:t>
            </a:r>
            <a:r>
              <a:rPr lang="tr-TR" dirty="0" smtClean="0"/>
              <a:t> – </a:t>
            </a:r>
            <a:r>
              <a:rPr lang="tr-TR" dirty="0" err="1" smtClean="0"/>
              <a:t>brand</a:t>
            </a:r>
            <a:r>
              <a:rPr lang="tr-TR" dirty="0" smtClean="0"/>
              <a:t> </a:t>
            </a:r>
            <a:r>
              <a:rPr lang="tr-TR" dirty="0" err="1" smtClean="0"/>
              <a:t>positioning</a:t>
            </a:r>
            <a:r>
              <a:rPr lang="tr-TR" dirty="0" smtClean="0"/>
              <a:t> </a:t>
            </a:r>
            <a:r>
              <a:rPr lang="tr-TR" dirty="0" err="1" smtClean="0"/>
              <a:t>with</a:t>
            </a:r>
            <a:r>
              <a:rPr lang="tr-TR" dirty="0" smtClean="0"/>
              <a:t> </a:t>
            </a:r>
            <a:r>
              <a:rPr lang="tr-TR" dirty="0" err="1" smtClean="0"/>
              <a:t>reasonable</a:t>
            </a:r>
            <a:r>
              <a:rPr lang="tr-TR" dirty="0" smtClean="0"/>
              <a:t> </a:t>
            </a:r>
            <a:r>
              <a:rPr lang="tr-TR" dirty="0" err="1" smtClean="0"/>
              <a:t>pricing</a:t>
            </a:r>
            <a:r>
              <a:rPr lang="tr-TR" dirty="0" smtClean="0"/>
              <a:t> </a:t>
            </a:r>
            <a:r>
              <a:rPr lang="tr-TR" dirty="0" err="1" smtClean="0"/>
              <a:t>strategy</a:t>
            </a:r>
            <a:endParaRPr lang="tr-TR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tr-TR" dirty="0" smtClean="0"/>
              <a:t>Complete </a:t>
            </a:r>
            <a:r>
              <a:rPr lang="tr-TR" dirty="0" err="1" smtClean="0"/>
              <a:t>product</a:t>
            </a:r>
            <a:r>
              <a:rPr lang="tr-TR" dirty="0" smtClean="0"/>
              <a:t> </a:t>
            </a:r>
            <a:r>
              <a:rPr lang="tr-TR" dirty="0" err="1" smtClean="0"/>
              <a:t>range</a:t>
            </a:r>
            <a:endParaRPr lang="tr-TR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tr-TR" dirty="0" smtClean="0"/>
              <a:t>Multi </a:t>
            </a:r>
            <a:r>
              <a:rPr lang="tr-TR" dirty="0" err="1" smtClean="0"/>
              <a:t>branding</a:t>
            </a:r>
            <a:r>
              <a:rPr lang="tr-TR" dirty="0" smtClean="0"/>
              <a:t> in </a:t>
            </a:r>
            <a:r>
              <a:rPr lang="tr-TR" dirty="0" err="1" smtClean="0"/>
              <a:t>both</a:t>
            </a:r>
            <a:r>
              <a:rPr lang="tr-TR" dirty="0" smtClean="0"/>
              <a:t> </a:t>
            </a:r>
            <a:r>
              <a:rPr lang="tr-TR" dirty="0" err="1" smtClean="0"/>
              <a:t>premium</a:t>
            </a:r>
            <a:r>
              <a:rPr lang="tr-TR" dirty="0" smtClean="0"/>
              <a:t> </a:t>
            </a:r>
            <a:r>
              <a:rPr lang="tr-TR" dirty="0" err="1" smtClean="0"/>
              <a:t>and</a:t>
            </a:r>
            <a:r>
              <a:rPr lang="tr-TR" dirty="0" smtClean="0"/>
              <a:t> </a:t>
            </a:r>
            <a:r>
              <a:rPr lang="tr-TR" dirty="0" err="1" smtClean="0"/>
              <a:t>economy</a:t>
            </a:r>
            <a:r>
              <a:rPr lang="tr-TR" dirty="0" smtClean="0"/>
              <a:t> </a:t>
            </a:r>
            <a:r>
              <a:rPr lang="tr-TR" dirty="0" err="1" smtClean="0"/>
              <a:t>segments</a:t>
            </a:r>
            <a:endParaRPr lang="tr-TR" dirty="0" smtClean="0"/>
          </a:p>
        </p:txBody>
      </p:sp>
      <p:pic>
        <p:nvPicPr>
          <p:cNvPr id="5530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7867" y="4249479"/>
            <a:ext cx="298132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353171" y="4290565"/>
            <a:ext cx="6096000" cy="1477328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dirty="0"/>
              <a:t>Fulfil customer expectation </a:t>
            </a:r>
            <a:endParaRPr lang="en-US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Implementation </a:t>
            </a:r>
            <a:r>
              <a:rPr lang="en-US" dirty="0"/>
              <a:t>off new products in a short time frame </a:t>
            </a:r>
            <a:endParaRPr lang="tr-TR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tr-TR" dirty="0" err="1" smtClean="0"/>
              <a:t>Listening</a:t>
            </a:r>
            <a:r>
              <a:rPr lang="tr-TR" dirty="0" smtClean="0"/>
              <a:t> </a:t>
            </a:r>
            <a:r>
              <a:rPr lang="tr-TR" dirty="0" err="1" smtClean="0"/>
              <a:t>to</a:t>
            </a:r>
            <a:r>
              <a:rPr lang="tr-TR" dirty="0" smtClean="0"/>
              <a:t> </a:t>
            </a:r>
            <a:r>
              <a:rPr lang="tr-TR" dirty="0" err="1"/>
              <a:t>v</a:t>
            </a:r>
            <a:r>
              <a:rPr lang="tr-TR" dirty="0" err="1" smtClean="0"/>
              <a:t>oice</a:t>
            </a:r>
            <a:r>
              <a:rPr lang="tr-TR" dirty="0" smtClean="0"/>
              <a:t> of </a:t>
            </a:r>
            <a:r>
              <a:rPr lang="tr-TR" dirty="0" err="1" smtClean="0"/>
              <a:t>customer</a:t>
            </a:r>
            <a:endParaRPr lang="tr-TR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smtClean="0"/>
              <a:t>Outstanding </a:t>
            </a:r>
            <a:r>
              <a:rPr lang="en-US" dirty="0"/>
              <a:t>logistic and delivery performance </a:t>
            </a:r>
            <a:endParaRPr lang="tr-TR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tr-TR" dirty="0" err="1" smtClean="0"/>
              <a:t>Strong</a:t>
            </a:r>
            <a:r>
              <a:rPr lang="tr-TR" dirty="0" smtClean="0"/>
              <a:t> </a:t>
            </a:r>
            <a:r>
              <a:rPr lang="en-US" dirty="0" smtClean="0"/>
              <a:t>marketing </a:t>
            </a:r>
            <a:r>
              <a:rPr lang="en-US" dirty="0"/>
              <a:t>support </a:t>
            </a:r>
            <a:endParaRPr lang="tr-TR" dirty="0" smtClean="0"/>
          </a:p>
        </p:txBody>
      </p:sp>
    </p:spTree>
    <p:extLst>
      <p:ext uri="{BB962C8B-B14F-4D97-AF65-F5344CB8AC3E}">
        <p14:creationId xmlns:p14="http://schemas.microsoft.com/office/powerpoint/2010/main" val="1424670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9245cb48-36f6-4855-a0c3-19564cc8b6b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Thema 3"/>
  <p:tag name="EE4P_AGENDAWIZARD_PROPERTIES" val="51.12504/279.894/130.6956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79.894/15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b176cbb-33b6-43b1-961c-ba080392e8c7_Topic"/>
  <p:tag name="EE4P_AGENDAWIZARD_CONTENT" val="/Thema 2"/>
  <p:tag name="EE4P_AGENDAWIZARD_PROPERTIES" val="51.12504/170.3798/130.6956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3b176cbb-33b6-43b1-961c-ba080392e8c7_ItemNo"/>
  <p:tag name="EE4P_AGENDAWIZARD_CONTENT" val="/2"/>
  <p:tag name="EE4P_AGENDAWIZARD_PROPERTIES" val="31.12504/170.3798/15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Thema 1"/>
  <p:tag name="EE4P_AGENDAWIZARD_PROPERTIES" val="51.12504/133.875/130.6956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1"/>
  <p:tag name="EE4P_AGENDAWIZARD_PROPERTIES" val="31.12504/133.875/15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Topic"/>
  <p:tag name="EE4P_AGENDAWIZARD_CONTENT" val="/Thema 3"/>
  <p:tag name="EE4P_AGENDAWIZARD_PROPERTIES" val="51.12504/279.894/130.6956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_ItemNo"/>
  <p:tag name="EE4P_AGENDAWIZARD_CONTENT" val="/3"/>
  <p:tag name="EE4P_AGENDAWIZARD_PROPERTIES" val="31.12504/279.894/15/31.5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1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RETC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NN+HUMMEL">
  <a:themeElements>
    <a:clrScheme name="Mann + Hummel">
      <a:dk1>
        <a:sysClr val="windowText" lastClr="000000"/>
      </a:dk1>
      <a:lt1>
        <a:sysClr val="window" lastClr="FFFFFF"/>
      </a:lt1>
      <a:dk2>
        <a:srgbClr val="000000"/>
      </a:dk2>
      <a:lt2>
        <a:srgbClr val="E0E0E0"/>
      </a:lt2>
      <a:accent1>
        <a:srgbClr val="00732D"/>
      </a:accent1>
      <a:accent2>
        <a:srgbClr val="3CA014"/>
      </a:accent2>
      <a:accent3>
        <a:srgbClr val="EB690F"/>
      </a:accent3>
      <a:accent4>
        <a:srgbClr val="BE001E"/>
      </a:accent4>
      <a:accent5>
        <a:srgbClr val="666666"/>
      </a:accent5>
      <a:accent6>
        <a:srgbClr val="CCCCCC"/>
      </a:accent6>
      <a:hlink>
        <a:srgbClr val="00732D"/>
      </a:hlink>
      <a:folHlink>
        <a:srgbClr val="00732D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2"/>
        </a:solidFill>
        <a:ln w="6350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8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rgbClr val="3CA01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 marL="180000" indent="-180000">
          <a:buClr>
            <a:schemeClr val="accent2"/>
          </a:buClr>
          <a:buFont typeface="Wingdings" panose="05000000000000000000" pitchFamily="2" charset="2"/>
          <a:buChar char="§"/>
          <a:defRPr sz="1800" dirty="0" err="1" smtClean="0"/>
        </a:defPPr>
      </a:lstStyle>
    </a:txDef>
  </a:objectDefaults>
  <a:extraClrSchemeLst/>
  <a:custClrLst>
    <a:custClr name="M+H Green">
      <a:srgbClr val="00732D"/>
    </a:custClr>
    <a:custClr name="M+H Light-green">
      <a:srgbClr val="3CA014"/>
    </a:custClr>
    <a:custClr name="M+H Orange">
      <a:srgbClr val="EB690F"/>
    </a:custClr>
    <a:custClr name="M+H Red">
      <a:srgbClr val="BE001E"/>
    </a:custClr>
    <a:custClr name="Black">
      <a:srgbClr val="000000"/>
    </a:custClr>
    <a:custClr name="Grey">
      <a:srgbClr val="666666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80% M+H Green">
      <a:srgbClr val="358F5C"/>
    </a:custClr>
    <a:custClr name="80% M+H Light-green">
      <a:srgbClr val="63B343"/>
    </a:custClr>
    <a:custClr name="80% M+H Orange">
      <a:srgbClr val="EF873F"/>
    </a:custClr>
    <a:custClr name="80% M+H Red">
      <a:srgbClr val="CB334B"/>
    </a:custClr>
    <a:custClr name="80% Black">
      <a:srgbClr val="333333"/>
    </a:custClr>
    <a:custClr name="80% Grey">
      <a:srgbClr val="858585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60% M+H Green">
      <a:srgbClr val="67AB85"/>
    </a:custClr>
    <a:custClr name="60% M+H Light-green">
      <a:srgbClr val="8AC672"/>
    </a:custClr>
    <a:custClr name="60% M+H Orange">
      <a:srgbClr val="F3A56F"/>
    </a:custClr>
    <a:custClr name="60% M+H Red">
      <a:srgbClr val="D86978"/>
    </a:custClr>
    <a:custClr name="60% Black">
      <a:srgbClr val="666666"/>
    </a:custClr>
    <a:custClr name="60% Grey">
      <a:srgbClr val="A3A3A3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40% M+H Green">
      <a:srgbClr val="9AC7AE"/>
    </a:custClr>
    <a:custClr name="40% M+H Light-green">
      <a:srgbClr val="B1D9A1"/>
    </a:custClr>
    <a:custClr name="40% M+H Orange">
      <a:srgbClr val="F7C39F"/>
    </a:custClr>
    <a:custClr name="40% M+H Red">
      <a:srgbClr val="E599A5"/>
    </a:custClr>
    <a:custClr name="40% Black">
      <a:srgbClr val="999999"/>
    </a:custClr>
    <a:custClr name="40% Grey">
      <a:srgbClr val="C2C2C2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 name="20% M+H Green">
      <a:srgbClr val="CCE3D6"/>
    </a:custClr>
    <a:custClr name="20% M+H Light-green">
      <a:srgbClr val="D8ECD0"/>
    </a:custClr>
    <a:custClr name="20% M+H Orange">
      <a:srgbClr val="FBE1CF"/>
    </a:custClr>
    <a:custClr name="20% M+H Red">
      <a:srgbClr val="F2CCD2"/>
    </a:custClr>
    <a:custClr name="20% Black">
      <a:srgbClr val="CCCCCC"/>
    </a:custClr>
    <a:custClr name="20% Grey">
      <a:srgbClr val="E0E0E0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</a:custClrLst>
</a:theme>
</file>

<file path=ppt/theme/theme2.xml><?xml version="1.0" encoding="utf-8"?>
<a:theme xmlns:a="http://schemas.openxmlformats.org/drawingml/2006/main" name="Larissa">
  <a:themeElements>
    <a:clrScheme name="Mann+Hummel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32D"/>
      </a:accent1>
      <a:accent2>
        <a:srgbClr val="EB690F"/>
      </a:accent2>
      <a:accent3>
        <a:srgbClr val="000000"/>
      </a:accent3>
      <a:accent4>
        <a:srgbClr val="BE001E"/>
      </a:accent4>
      <a:accent5>
        <a:srgbClr val="666666"/>
      </a:accent5>
      <a:accent6>
        <a:srgbClr val="3CA014"/>
      </a:accent6>
      <a:hlink>
        <a:srgbClr val="00732D"/>
      </a:hlink>
      <a:folHlink>
        <a:srgbClr val="3CA014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Larissa">
  <a:themeElements>
    <a:clrScheme name="Mann+Hummel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32D"/>
      </a:accent1>
      <a:accent2>
        <a:srgbClr val="EB690F"/>
      </a:accent2>
      <a:accent3>
        <a:srgbClr val="000000"/>
      </a:accent3>
      <a:accent4>
        <a:srgbClr val="BE001E"/>
      </a:accent4>
      <a:accent5>
        <a:srgbClr val="666666"/>
      </a:accent5>
      <a:accent6>
        <a:srgbClr val="3CA014"/>
      </a:accent6>
      <a:hlink>
        <a:srgbClr val="00732D"/>
      </a:hlink>
      <a:folHlink>
        <a:srgbClr val="3CA014"/>
      </a:folHlink>
    </a:clrScheme>
    <a:fontScheme name="Sonepa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6350"/>
      </a:spPr>
      <a:bodyPr rtlCol="0" anchor="ctr"/>
      <a:lstStyle>
        <a:defPPr algn="ctr">
          <a:defRPr sz="11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marL="180000" indent="-180000">
          <a:buClr>
            <a:schemeClr val="accent6"/>
          </a:buClr>
          <a:buFont typeface="Wingdings" panose="05000000000000000000" pitchFamily="2" charset="2"/>
          <a:buChar char="§"/>
          <a:defRPr sz="1100" dirty="0" err="1" smtClean="0"/>
        </a:defPPr>
      </a:lst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27</TotalTime>
  <Words>919</Words>
  <Application>Microsoft Office PowerPoint</Application>
  <PresentationFormat>Custom</PresentationFormat>
  <Paragraphs>191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21" baseType="lpstr">
      <vt:lpstr>MANN+HUMMEL</vt:lpstr>
      <vt:lpstr>think-cell Slide</vt:lpstr>
      <vt:lpstr>Worksheet</vt:lpstr>
      <vt:lpstr>MANN+HUMMEL Importance of Innovative Approaches in Independent Aftermarket for Sales and Trade Marketing </vt:lpstr>
      <vt:lpstr>Table of content</vt:lpstr>
      <vt:lpstr>The MANN+HUMMEL Group</vt:lpstr>
      <vt:lpstr>The MANN+HUMMEL Group</vt:lpstr>
      <vt:lpstr>Current trends affecting the independent aftermarket business</vt:lpstr>
      <vt:lpstr>Trends Affecting Independent Aftermarket</vt:lpstr>
      <vt:lpstr>Innovative approaches in sales and trade marketing strategies</vt:lpstr>
      <vt:lpstr>Innovative approaches in sales and trade marketing strategies</vt:lpstr>
      <vt:lpstr>Innovative approaches in sales and trade marketing strategies</vt:lpstr>
      <vt:lpstr>A Good Practice : Innovative Cabin Filter (Frecious Plus)</vt:lpstr>
      <vt:lpstr>FreciousPlus – Status quo</vt:lpstr>
      <vt:lpstr>FreciousPlus – Target group</vt:lpstr>
      <vt:lpstr>FreciousPlus – The solution</vt:lpstr>
      <vt:lpstr>FreciousPlus – The solution</vt:lpstr>
      <vt:lpstr>FreciousPlus – The design</vt:lpstr>
      <vt:lpstr>FreciousPlus – The new look</vt:lpstr>
      <vt:lpstr>FreciousPlus – Additional benefits</vt:lpstr>
      <vt:lpstr>PowerPoint Presentation</vt:lpstr>
    </vt:vector>
  </TitlesOfParts>
  <Company>Mann+Hummel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ster Subtitle in next line</dc:title>
  <dc:creator>Joshat, Gero</dc:creator>
  <dc:description>optimiert für Powerpoint 2010</dc:description>
  <cp:lastModifiedBy>Özyapici, Onur</cp:lastModifiedBy>
  <cp:revision>330</cp:revision>
  <dcterms:created xsi:type="dcterms:W3CDTF">2016-01-15T09:08:17Z</dcterms:created>
  <dcterms:modified xsi:type="dcterms:W3CDTF">2017-05-23T17:20:49Z</dcterms:modified>
</cp:coreProperties>
</file>